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theme/themeOverride4.xml" ContentType="application/vnd.openxmlformats-officedocument.themeOverride+xml"/>
  <Override PartName="/ppt/drawings/drawing2.xml" ContentType="application/vnd.openxmlformats-officedocument.drawingml.chartshapes+xml"/>
  <Override PartName="/ppt/charts/chart5.xml" ContentType="application/vnd.openxmlformats-officedocument.drawingml.chart+xml"/>
  <Override PartName="/ppt/theme/themeOverride5.xml" ContentType="application/vnd.openxmlformats-officedocument.themeOverride+xml"/>
  <Override PartName="/ppt/drawings/drawing3.xml" ContentType="application/vnd.openxmlformats-officedocument.drawingml.chartshapes+xml"/>
  <Override PartName="/ppt/charts/chart6.xml" ContentType="application/vnd.openxmlformats-officedocument.drawingml.chart+xml"/>
  <Override PartName="/ppt/theme/themeOverride6.xml" ContentType="application/vnd.openxmlformats-officedocument.themeOverride+xml"/>
  <Override PartName="/ppt/drawings/drawing4.xml" ContentType="application/vnd.openxmlformats-officedocument.drawingml.chartshape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drawings/drawing5.xml" ContentType="application/vnd.openxmlformats-officedocument.drawingml.chartshape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56" r:id="rId2"/>
    <p:sldMasterId id="2147484714" r:id="rId3"/>
    <p:sldMasterId id="2147484726" r:id="rId4"/>
  </p:sldMasterIdLst>
  <p:notesMasterIdLst>
    <p:notesMasterId r:id="rId37"/>
  </p:notesMasterIdLst>
  <p:handoutMasterIdLst>
    <p:handoutMasterId r:id="rId38"/>
  </p:handoutMasterIdLst>
  <p:sldIdLst>
    <p:sldId id="478" r:id="rId5"/>
    <p:sldId id="561" r:id="rId6"/>
    <p:sldId id="554" r:id="rId7"/>
    <p:sldId id="547" r:id="rId8"/>
    <p:sldId id="550" r:id="rId9"/>
    <p:sldId id="548" r:id="rId10"/>
    <p:sldId id="483" r:id="rId11"/>
    <p:sldId id="527" r:id="rId12"/>
    <p:sldId id="534" r:id="rId13"/>
    <p:sldId id="560" r:id="rId14"/>
    <p:sldId id="551" r:id="rId15"/>
    <p:sldId id="555" r:id="rId16"/>
    <p:sldId id="557" r:id="rId17"/>
    <p:sldId id="553" r:id="rId18"/>
    <p:sldId id="562" r:id="rId19"/>
    <p:sldId id="573" r:id="rId20"/>
    <p:sldId id="558" r:id="rId21"/>
    <p:sldId id="563" r:id="rId22"/>
    <p:sldId id="564" r:id="rId23"/>
    <p:sldId id="565" r:id="rId24"/>
    <p:sldId id="566" r:id="rId25"/>
    <p:sldId id="572" r:id="rId26"/>
    <p:sldId id="571" r:id="rId27"/>
    <p:sldId id="568" r:id="rId28"/>
    <p:sldId id="569" r:id="rId29"/>
    <p:sldId id="574" r:id="rId30"/>
    <p:sldId id="575" r:id="rId31"/>
    <p:sldId id="567" r:id="rId32"/>
    <p:sldId id="576" r:id="rId33"/>
    <p:sldId id="552" r:id="rId34"/>
    <p:sldId id="570" r:id="rId35"/>
    <p:sldId id="577" r:id="rId36"/>
  </p:sldIdLst>
  <p:sldSz cx="9144000" cy="6858000" type="screen4x3"/>
  <p:notesSz cx="7099300" cy="10234613"/>
  <p:defaultTextStyle>
    <a:defPPr>
      <a:defRPr lang="it-IT"/>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1F357B"/>
    <a:srgbClr val="F07E20"/>
    <a:srgbClr val="157608"/>
    <a:srgbClr val="188509"/>
    <a:srgbClr val="1B9A0A"/>
    <a:srgbClr val="136907"/>
    <a:srgbClr val="105A06"/>
    <a:srgbClr val="407D3B"/>
    <a:srgbClr val="466A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956" autoAdjust="0"/>
    <p:restoredTop sz="94803" autoAdjust="0"/>
  </p:normalViewPr>
  <p:slideViewPr>
    <p:cSldViewPr>
      <p:cViewPr>
        <p:scale>
          <a:sx n="70" d="100"/>
          <a:sy n="70" d="100"/>
        </p:scale>
        <p:origin x="-162" y="-5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notesViewPr>
    <p:cSldViewPr>
      <p:cViewPr varScale="1">
        <p:scale>
          <a:sx n="50" d="100"/>
          <a:sy n="50" d="100"/>
        </p:scale>
        <p:origin x="-1908" y="-114"/>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2" Type="http://schemas.openxmlformats.org/officeDocument/2006/relationships/oleObject" Target="file:///C:\Documents%20and%20Settings\smaneran\My%20Documents\Downloads\2012sfra.xls"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oleObject" Target="file:///C:\Users\epellegrino\Desktop\commercial%20meeting\PERUGIA\BNR%20-%20Monetary%20and%20financial%20statistics%20-%20Aggregate%20Indicators%20for%20Credit%20Institutions.xls"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file:///C:\Documents%20and%20Settings\smaneran\My%20Documents\Downloads\2012sfra.xls"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Documents%20and%20Settings\smaneran\My%20Documents\Downloads\IFMDL.xls"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file:///C:\Documents%20and%20Settings\smaneran\My%20Documents\Downloads\2012sfra.xls"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Book1"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Book1"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1" Type="http://schemas.openxmlformats.org/officeDocument/2006/relationships/oleObject" Target="file:///C:\Users\epellegrino\Desktop\commercial%20meeting\PERUGIA\Book1.xls"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epellegrino\Desktop\commercial%20meeting\PERUGIA\BNR%20-%20Exchange%20Rate%20on%20Forex%20Market%20-%20monthly%20values.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100"/>
            </a:pPr>
            <a:r>
              <a:rPr lang="en-US" dirty="0"/>
              <a:t>Market share by country of origin of bank </a:t>
            </a:r>
            <a:r>
              <a:rPr lang="en-US" dirty="0" smtClean="0"/>
              <a:t>SHAREHOLDER CAPITAL</a:t>
            </a:r>
            <a:endParaRPr lang="en-US" dirty="0"/>
          </a:p>
        </c:rich>
      </c:tx>
      <c:overlay val="0"/>
    </c:title>
    <c:autoTitleDeleted val="0"/>
    <c:plotArea>
      <c:layout>
        <c:manualLayout>
          <c:layoutTarget val="inner"/>
          <c:xMode val="edge"/>
          <c:yMode val="edge"/>
          <c:x val="0"/>
          <c:y val="0.35766177934654741"/>
          <c:w val="0.7015311679790025"/>
          <c:h val="0.4838145986062089"/>
        </c:manualLayout>
      </c:layout>
      <c:pieChart>
        <c:varyColors val="1"/>
        <c:ser>
          <c:idx val="0"/>
          <c:order val="0"/>
          <c:tx>
            <c:strRef>
              <c:f>'3.4'!$N$78</c:f>
              <c:strCache>
                <c:ptCount val="1"/>
                <c:pt idx="0">
                  <c:v>Market share by country of origin of bank shareholder capital</c:v>
                </c:pt>
              </c:strCache>
            </c:strRef>
          </c:tx>
          <c:dPt>
            <c:idx val="0"/>
            <c:bubble3D val="0"/>
            <c:spPr>
              <a:solidFill>
                <a:srgbClr val="005800"/>
              </a:solidFill>
            </c:spPr>
          </c:dPt>
          <c:dPt>
            <c:idx val="1"/>
            <c:bubble3D val="0"/>
            <c:spPr>
              <a:solidFill>
                <a:srgbClr val="000000"/>
              </a:solidFill>
            </c:spPr>
          </c:dPt>
          <c:dPt>
            <c:idx val="2"/>
            <c:bubble3D val="0"/>
            <c:spPr>
              <a:solidFill>
                <a:srgbClr val="FF5200"/>
              </a:solidFill>
            </c:spPr>
          </c:dPt>
          <c:dPt>
            <c:idx val="3"/>
            <c:bubble3D val="0"/>
            <c:spPr>
              <a:solidFill>
                <a:srgbClr val="666666"/>
              </a:solidFill>
            </c:spPr>
          </c:dPt>
          <c:dPt>
            <c:idx val="4"/>
            <c:bubble3D val="0"/>
            <c:spPr>
              <a:solidFill>
                <a:srgbClr val="66FF66"/>
              </a:solidFill>
            </c:spPr>
          </c:dPt>
          <c:dPt>
            <c:idx val="5"/>
            <c:bubble3D val="0"/>
            <c:spPr>
              <a:solidFill>
                <a:srgbClr val="B1910B"/>
              </a:solidFill>
            </c:spPr>
          </c:dPt>
          <c:dPt>
            <c:idx val="6"/>
            <c:bubble3D val="0"/>
            <c:spPr>
              <a:solidFill>
                <a:srgbClr val="CCCCCC"/>
              </a:solidFill>
            </c:spPr>
          </c:dPt>
          <c:dPt>
            <c:idx val="7"/>
            <c:bubble3D val="0"/>
            <c:spPr>
              <a:solidFill>
                <a:srgbClr val="33CCFF"/>
              </a:solidFill>
            </c:spPr>
          </c:dPt>
          <c:dPt>
            <c:idx val="8"/>
            <c:bubble3D val="0"/>
            <c:spPr>
              <a:solidFill>
                <a:srgbClr val="0A2972"/>
              </a:solidFill>
            </c:spPr>
          </c:dPt>
          <c:dPt>
            <c:idx val="9"/>
            <c:bubble3D val="0"/>
            <c:spPr>
              <a:solidFill>
                <a:srgbClr val="99CC00"/>
              </a:solidFill>
            </c:spPr>
          </c:dPt>
          <c:dLbls>
            <c:dLbl>
              <c:idx val="0"/>
              <c:tx>
                <c:rich>
                  <a:bodyPr/>
                  <a:lstStyle/>
                  <a:p>
                    <a:r>
                      <a:rPr lang="en-US" b="1" i="0" baseline="0">
                        <a:solidFill>
                          <a:schemeClr val="bg1"/>
                        </a:solidFill>
                      </a:rPr>
                      <a:t>Austria 38%</a:t>
                    </a:r>
                  </a:p>
                </c:rich>
              </c:tx>
              <c:dLblPos val="bestFit"/>
              <c:showLegendKey val="0"/>
              <c:showVal val="0"/>
              <c:showCatName val="1"/>
              <c:showSerName val="0"/>
              <c:showPercent val="0"/>
              <c:showBubbleSize val="0"/>
            </c:dLbl>
            <c:dLbl>
              <c:idx val="1"/>
              <c:spPr/>
              <c:txPr>
                <a:bodyPr/>
                <a:lstStyle/>
                <a:p>
                  <a:pPr>
                    <a:defRPr b="1" i="0" baseline="0">
                      <a:solidFill>
                        <a:schemeClr val="bg1"/>
                      </a:solidFill>
                    </a:defRPr>
                  </a:pPr>
                  <a:endParaRPr lang="it-IT"/>
                </a:p>
              </c:txPr>
              <c:dLblPos val="bestFit"/>
              <c:showLegendKey val="0"/>
              <c:showVal val="0"/>
              <c:showCatName val="1"/>
              <c:showSerName val="0"/>
              <c:showPercent val="0"/>
              <c:showBubbleSize val="0"/>
            </c:dLbl>
            <c:dLbl>
              <c:idx val="3"/>
              <c:spPr/>
              <c:txPr>
                <a:bodyPr/>
                <a:lstStyle/>
                <a:p>
                  <a:pPr>
                    <a:defRPr b="1" i="0" baseline="0">
                      <a:solidFill>
                        <a:schemeClr val="bg1"/>
                      </a:solidFill>
                    </a:defRPr>
                  </a:pPr>
                  <a:endParaRPr lang="it-IT"/>
                </a:p>
              </c:txPr>
              <c:dLblPos val="bestFit"/>
              <c:showLegendKey val="0"/>
              <c:showVal val="0"/>
              <c:showCatName val="1"/>
              <c:showSerName val="0"/>
              <c:showPercent val="0"/>
              <c:showBubbleSize val="0"/>
            </c:dLbl>
            <c:dLbl>
              <c:idx val="4"/>
              <c:layout>
                <c:manualLayout>
                  <c:x val="6.6939575645756463E-2"/>
                  <c:y val="6.868994211910727E-2"/>
                </c:manualLayout>
              </c:layout>
              <c:dLblPos val="bestFit"/>
              <c:showLegendKey val="0"/>
              <c:showVal val="0"/>
              <c:showCatName val="1"/>
              <c:showSerName val="0"/>
              <c:showPercent val="0"/>
              <c:showBubbleSize val="0"/>
            </c:dLbl>
            <c:dLbl>
              <c:idx val="5"/>
              <c:tx>
                <c:rich>
                  <a:bodyPr/>
                  <a:lstStyle/>
                  <a:p>
                    <a:r>
                      <a:rPr lang="en-US" b="1" dirty="0"/>
                      <a:t>Italy 2.5%</a:t>
                    </a:r>
                  </a:p>
                </c:rich>
              </c:tx>
              <c:dLblPos val="bestFit"/>
              <c:showLegendKey val="0"/>
              <c:showVal val="0"/>
              <c:showCatName val="1"/>
              <c:showSerName val="0"/>
              <c:showPercent val="0"/>
              <c:showBubbleSize val="0"/>
            </c:dLbl>
            <c:dLbl>
              <c:idx val="6"/>
              <c:delete val="1"/>
            </c:dLbl>
            <c:dLbl>
              <c:idx val="7"/>
              <c:delete val="1"/>
            </c:dLbl>
            <c:dLbl>
              <c:idx val="8"/>
              <c:delete val="1"/>
            </c:dLbl>
            <c:dLbl>
              <c:idx val="9"/>
              <c:delete val="1"/>
            </c:dLbl>
            <c:dLblPos val="bestFit"/>
            <c:showLegendKey val="0"/>
            <c:showVal val="0"/>
            <c:showCatName val="1"/>
            <c:showSerName val="0"/>
            <c:showPercent val="0"/>
            <c:showBubbleSize val="0"/>
            <c:showLeaderLines val="0"/>
          </c:dLbls>
          <c:cat>
            <c:strRef>
              <c:f>'3.4'!$M$79:$M$88</c:f>
              <c:strCache>
                <c:ptCount val="10"/>
                <c:pt idx="0">
                  <c:v>Austria 38%</c:v>
                </c:pt>
                <c:pt idx="1">
                  <c:v>Romania 18.8%</c:v>
                </c:pt>
                <c:pt idx="2">
                  <c:v>France 13.4%</c:v>
                </c:pt>
                <c:pt idx="3">
                  <c:v>Greece 12.1%</c:v>
                </c:pt>
                <c:pt idx="4">
                  <c:v>The Netherlands 9.2%</c:v>
                </c:pt>
                <c:pt idx="5">
                  <c:v>Italy 2.5%</c:v>
                </c:pt>
                <c:pt idx="6">
                  <c:v>Others 2.4%</c:v>
                </c:pt>
                <c:pt idx="7">
                  <c:v>Hungary 1.5%</c:v>
                </c:pt>
                <c:pt idx="8">
                  <c:v>Cyprus 1.4%</c:v>
                </c:pt>
                <c:pt idx="9">
                  <c:v>Portugal 0.7%</c:v>
                </c:pt>
              </c:strCache>
            </c:strRef>
          </c:cat>
          <c:val>
            <c:numRef>
              <c:f>'3.4'!$N$79:$N$88</c:f>
              <c:numCache>
                <c:formatCode>0.0</c:formatCode>
                <c:ptCount val="10"/>
                <c:pt idx="0">
                  <c:v>38.01</c:v>
                </c:pt>
                <c:pt idx="1">
                  <c:v>18.8</c:v>
                </c:pt>
                <c:pt idx="2">
                  <c:v>13.41</c:v>
                </c:pt>
                <c:pt idx="3">
                  <c:v>12.08</c:v>
                </c:pt>
                <c:pt idx="4">
                  <c:v>9.2000000000000011</c:v>
                </c:pt>
                <c:pt idx="5">
                  <c:v>2.5299999999999998</c:v>
                </c:pt>
                <c:pt idx="6">
                  <c:v>2.4099999999999997</c:v>
                </c:pt>
                <c:pt idx="7">
                  <c:v>1.5</c:v>
                </c:pt>
                <c:pt idx="8">
                  <c:v>1.3800000000000001</c:v>
                </c:pt>
                <c:pt idx="9">
                  <c:v>0.6800000000000006</c:v>
                </c:pt>
              </c:numCache>
            </c:numRef>
          </c:val>
        </c:ser>
        <c:dLbls>
          <c:showLegendKey val="0"/>
          <c:showVal val="0"/>
          <c:showCatName val="0"/>
          <c:showSerName val="0"/>
          <c:showPercent val="0"/>
          <c:showBubbleSize val="0"/>
          <c:showLeaderLines val="0"/>
        </c:dLbls>
        <c:firstSliceAng val="0"/>
      </c:pieChart>
    </c:plotArea>
    <c:legend>
      <c:legendPos val="r"/>
      <c:layout>
        <c:manualLayout>
          <c:xMode val="edge"/>
          <c:yMode val="edge"/>
          <c:x val="0.647760875049051"/>
          <c:y val="0.16848005014788908"/>
          <c:w val="0.35087098492068058"/>
          <c:h val="0.83050466862078165"/>
        </c:manualLayout>
      </c:layout>
      <c:overlay val="0"/>
      <c:txPr>
        <a:bodyPr/>
        <a:lstStyle/>
        <a:p>
          <a:pPr>
            <a:defRPr sz="900" baseline="0"/>
          </a:pPr>
          <a:endParaRPr lang="it-IT"/>
        </a:p>
      </c:txPr>
    </c:legend>
    <c:plotVisOnly val="1"/>
    <c:dispBlanksAs val="gap"/>
    <c:showDLblsOverMax val="0"/>
  </c:chart>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77377169959019"/>
          <c:y val="5.1400554097404488E-2"/>
          <c:w val="0.85967067274485565"/>
          <c:h val="0.66579469233012745"/>
        </c:manualLayout>
      </c:layout>
      <c:lineChart>
        <c:grouping val="standard"/>
        <c:varyColors val="0"/>
        <c:ser>
          <c:idx val="0"/>
          <c:order val="0"/>
          <c:tx>
            <c:strRef>
              <c:f>Sheet1!$O$6:$O$8</c:f>
              <c:strCache>
                <c:ptCount val="1"/>
                <c:pt idx="0">
                  <c:v>Credit Risk Ratio (%) IAICT_RRC</c:v>
                </c:pt>
              </c:strCache>
            </c:strRef>
          </c:tx>
          <c:spPr>
            <a:ln>
              <a:solidFill>
                <a:srgbClr val="FF0000"/>
              </a:solidFill>
            </a:ln>
          </c:spPr>
          <c:marker>
            <c:symbol val="none"/>
          </c:marker>
          <c:cat>
            <c:numRef>
              <c:f>Sheet1!$A$9:$A$27</c:f>
              <c:numCache>
                <c:formatCode>mmm\.\ yyyy</c:formatCode>
                <c:ptCount val="19"/>
                <c:pt idx="0">
                  <c:v>41061</c:v>
                </c:pt>
                <c:pt idx="1">
                  <c:v>40969</c:v>
                </c:pt>
                <c:pt idx="2">
                  <c:v>40878</c:v>
                </c:pt>
                <c:pt idx="3">
                  <c:v>40787</c:v>
                </c:pt>
                <c:pt idx="4">
                  <c:v>40695</c:v>
                </c:pt>
                <c:pt idx="5">
                  <c:v>40603</c:v>
                </c:pt>
                <c:pt idx="6">
                  <c:v>40513</c:v>
                </c:pt>
                <c:pt idx="7">
                  <c:v>40422</c:v>
                </c:pt>
                <c:pt idx="8">
                  <c:v>40330</c:v>
                </c:pt>
                <c:pt idx="9">
                  <c:v>40238</c:v>
                </c:pt>
                <c:pt idx="10">
                  <c:v>40148</c:v>
                </c:pt>
                <c:pt idx="11">
                  <c:v>40057</c:v>
                </c:pt>
                <c:pt idx="12">
                  <c:v>39965</c:v>
                </c:pt>
                <c:pt idx="13">
                  <c:v>39873</c:v>
                </c:pt>
                <c:pt idx="14">
                  <c:v>39783</c:v>
                </c:pt>
                <c:pt idx="15">
                  <c:v>39692</c:v>
                </c:pt>
                <c:pt idx="16">
                  <c:v>39600</c:v>
                </c:pt>
                <c:pt idx="17">
                  <c:v>39508</c:v>
                </c:pt>
                <c:pt idx="18">
                  <c:v>39417</c:v>
                </c:pt>
              </c:numCache>
            </c:numRef>
          </c:cat>
          <c:val>
            <c:numRef>
              <c:f>Sheet1!$O$9:$O$27</c:f>
              <c:numCache>
                <c:formatCode>#,##0.00;\-#,##0.00;0.00</c:formatCode>
                <c:ptCount val="19"/>
                <c:pt idx="0">
                  <c:v>26.06</c:v>
                </c:pt>
                <c:pt idx="1">
                  <c:v>25.56</c:v>
                </c:pt>
                <c:pt idx="2">
                  <c:v>23.279999999999987</c:v>
                </c:pt>
                <c:pt idx="3">
                  <c:v>23.03</c:v>
                </c:pt>
                <c:pt idx="4">
                  <c:v>21.886169791</c:v>
                </c:pt>
                <c:pt idx="5">
                  <c:v>22.003297894999989</c:v>
                </c:pt>
                <c:pt idx="6">
                  <c:v>20.817363126000028</c:v>
                </c:pt>
                <c:pt idx="7">
                  <c:v>20.239999999999988</c:v>
                </c:pt>
                <c:pt idx="8">
                  <c:v>17.809999999999999</c:v>
                </c:pt>
                <c:pt idx="9">
                  <c:v>17.170000000000005</c:v>
                </c:pt>
                <c:pt idx="10">
                  <c:v>15.29</c:v>
                </c:pt>
                <c:pt idx="11">
                  <c:v>14.18</c:v>
                </c:pt>
                <c:pt idx="12">
                  <c:v>11.76</c:v>
                </c:pt>
                <c:pt idx="13">
                  <c:v>9.4</c:v>
                </c:pt>
                <c:pt idx="14">
                  <c:v>6.52</c:v>
                </c:pt>
                <c:pt idx="15">
                  <c:v>5.28</c:v>
                </c:pt>
                <c:pt idx="16">
                  <c:v>4.71</c:v>
                </c:pt>
                <c:pt idx="17">
                  <c:v>4.42</c:v>
                </c:pt>
                <c:pt idx="18">
                  <c:v>4</c:v>
                </c:pt>
              </c:numCache>
            </c:numRef>
          </c:val>
          <c:smooth val="0"/>
        </c:ser>
        <c:ser>
          <c:idx val="1"/>
          <c:order val="1"/>
          <c:tx>
            <c:strRef>
              <c:f>Sheet1!$P$6:$P$8</c:f>
              <c:strCache>
                <c:ptCount val="1"/>
                <c:pt idx="0">
                  <c:v>Non-performing Loans Ratio (%) IAICT_RCN</c:v>
                </c:pt>
              </c:strCache>
            </c:strRef>
          </c:tx>
          <c:marker>
            <c:symbol val="none"/>
          </c:marker>
          <c:cat>
            <c:numRef>
              <c:f>Sheet1!$A$9:$A$27</c:f>
              <c:numCache>
                <c:formatCode>mmm\.\ yyyy</c:formatCode>
                <c:ptCount val="19"/>
                <c:pt idx="0">
                  <c:v>41061</c:v>
                </c:pt>
                <c:pt idx="1">
                  <c:v>40969</c:v>
                </c:pt>
                <c:pt idx="2">
                  <c:v>40878</c:v>
                </c:pt>
                <c:pt idx="3">
                  <c:v>40787</c:v>
                </c:pt>
                <c:pt idx="4">
                  <c:v>40695</c:v>
                </c:pt>
                <c:pt idx="5">
                  <c:v>40603</c:v>
                </c:pt>
                <c:pt idx="6">
                  <c:v>40513</c:v>
                </c:pt>
                <c:pt idx="7">
                  <c:v>40422</c:v>
                </c:pt>
                <c:pt idx="8">
                  <c:v>40330</c:v>
                </c:pt>
                <c:pt idx="9">
                  <c:v>40238</c:v>
                </c:pt>
                <c:pt idx="10">
                  <c:v>40148</c:v>
                </c:pt>
                <c:pt idx="11">
                  <c:v>40057</c:v>
                </c:pt>
                <c:pt idx="12">
                  <c:v>39965</c:v>
                </c:pt>
                <c:pt idx="13">
                  <c:v>39873</c:v>
                </c:pt>
                <c:pt idx="14">
                  <c:v>39783</c:v>
                </c:pt>
                <c:pt idx="15">
                  <c:v>39692</c:v>
                </c:pt>
                <c:pt idx="16">
                  <c:v>39600</c:v>
                </c:pt>
                <c:pt idx="17">
                  <c:v>39508</c:v>
                </c:pt>
                <c:pt idx="18">
                  <c:v>39417</c:v>
                </c:pt>
              </c:numCache>
            </c:numRef>
          </c:cat>
          <c:val>
            <c:numRef>
              <c:f>Sheet1!$P$9:$P$27</c:f>
              <c:numCache>
                <c:formatCode>#,##0.00;\-#,##0.00;0.00</c:formatCode>
                <c:ptCount val="19"/>
                <c:pt idx="0">
                  <c:v>16.760000000000002</c:v>
                </c:pt>
                <c:pt idx="1">
                  <c:v>15.88</c:v>
                </c:pt>
                <c:pt idx="2">
                  <c:v>14.33</c:v>
                </c:pt>
                <c:pt idx="3">
                  <c:v>14.18</c:v>
                </c:pt>
                <c:pt idx="4">
                  <c:v>13.350000000000007</c:v>
                </c:pt>
                <c:pt idx="5">
                  <c:v>12.713702999000002</c:v>
                </c:pt>
                <c:pt idx="6">
                  <c:v>11.853863498000004</c:v>
                </c:pt>
                <c:pt idx="7">
                  <c:v>11.67</c:v>
                </c:pt>
                <c:pt idx="8">
                  <c:v>10.200000000000001</c:v>
                </c:pt>
                <c:pt idx="9">
                  <c:v>9.11</c:v>
                </c:pt>
                <c:pt idx="10">
                  <c:v>7.89</c:v>
                </c:pt>
                <c:pt idx="11">
                  <c:v>6.46</c:v>
                </c:pt>
                <c:pt idx="12" formatCode="General">
                  <c:v>0</c:v>
                </c:pt>
                <c:pt idx="13" formatCode="General">
                  <c:v>0</c:v>
                </c:pt>
                <c:pt idx="14" formatCode="General">
                  <c:v>0</c:v>
                </c:pt>
                <c:pt idx="15" formatCode="General">
                  <c:v>0</c:v>
                </c:pt>
                <c:pt idx="16" formatCode="General">
                  <c:v>0</c:v>
                </c:pt>
                <c:pt idx="17" formatCode="General">
                  <c:v>0</c:v>
                </c:pt>
                <c:pt idx="18" formatCode="General">
                  <c:v>0</c:v>
                </c:pt>
              </c:numCache>
            </c:numRef>
          </c:val>
          <c:smooth val="0"/>
        </c:ser>
        <c:dLbls>
          <c:showLegendKey val="0"/>
          <c:showVal val="0"/>
          <c:showCatName val="0"/>
          <c:showSerName val="0"/>
          <c:showPercent val="0"/>
          <c:showBubbleSize val="0"/>
        </c:dLbls>
        <c:marker val="1"/>
        <c:smooth val="0"/>
        <c:axId val="50473984"/>
        <c:axId val="50475776"/>
      </c:lineChart>
      <c:dateAx>
        <c:axId val="50473984"/>
        <c:scaling>
          <c:orientation val="minMax"/>
        </c:scaling>
        <c:delete val="0"/>
        <c:axPos val="b"/>
        <c:numFmt formatCode="mmm\.\ yyyy" sourceLinked="1"/>
        <c:majorTickMark val="out"/>
        <c:minorTickMark val="none"/>
        <c:tickLblPos val="nextTo"/>
        <c:crossAx val="50475776"/>
        <c:crosses val="autoZero"/>
        <c:auto val="1"/>
        <c:lblOffset val="100"/>
        <c:baseTimeUnit val="months"/>
      </c:dateAx>
      <c:valAx>
        <c:axId val="50475776"/>
        <c:scaling>
          <c:orientation val="minMax"/>
        </c:scaling>
        <c:delete val="0"/>
        <c:axPos val="l"/>
        <c:majorGridlines/>
        <c:numFmt formatCode="#,##0.00;\-#,##0.00;0.00" sourceLinked="1"/>
        <c:majorTickMark val="out"/>
        <c:minorTickMark val="none"/>
        <c:tickLblPos val="nextTo"/>
        <c:crossAx val="50473984"/>
        <c:crosses val="autoZero"/>
        <c:crossBetween val="between"/>
      </c:valAx>
    </c:plotArea>
    <c:legend>
      <c:legendPos val="r"/>
      <c:layout>
        <c:manualLayout>
          <c:xMode val="edge"/>
          <c:yMode val="edge"/>
          <c:x val="0.10196491228070176"/>
          <c:y val="5.4787839020122568E-2"/>
          <c:w val="0.33897076023391898"/>
          <c:h val="0.27931321084864436"/>
        </c:manualLayout>
      </c:layout>
      <c:overlay val="0"/>
      <c:txPr>
        <a:bodyPr/>
        <a:lstStyle/>
        <a:p>
          <a:pPr>
            <a:defRPr sz="1400" b="1" i="0" baseline="0"/>
          </a:pPr>
          <a:endParaRPr lang="it-IT"/>
        </a:p>
      </c:txPr>
    </c:legend>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7391815875064782E-2"/>
          <c:y val="0.1398512012921462"/>
          <c:w val="0.90633351158973996"/>
          <c:h val="0.71160461629107985"/>
        </c:manualLayout>
      </c:layout>
      <c:lineChart>
        <c:grouping val="standard"/>
        <c:varyColors val="0"/>
        <c:ser>
          <c:idx val="0"/>
          <c:order val="0"/>
          <c:tx>
            <c:strRef>
              <c:f>'3.24'!$B$5</c:f>
              <c:strCache>
                <c:ptCount val="1"/>
                <c:pt idx="0">
                  <c:v>RON private credit - real dynamic</c:v>
                </c:pt>
              </c:strCache>
            </c:strRef>
          </c:tx>
          <c:spPr>
            <a:ln>
              <a:solidFill>
                <a:srgbClr val="666666"/>
              </a:solidFill>
            </a:ln>
          </c:spPr>
          <c:marker>
            <c:symbol val="none"/>
          </c:marker>
          <c:cat>
            <c:numRef>
              <c:f>'3.24'!$A$6:$A$51</c:f>
              <c:numCache>
                <c:formatCode>[$-409]mmm\-yy;@</c:formatCode>
                <c:ptCount val="46"/>
                <c:pt idx="0">
                  <c:v>39692</c:v>
                </c:pt>
                <c:pt idx="1">
                  <c:v>39722</c:v>
                </c:pt>
                <c:pt idx="2">
                  <c:v>39753</c:v>
                </c:pt>
                <c:pt idx="3">
                  <c:v>39783</c:v>
                </c:pt>
                <c:pt idx="4">
                  <c:v>39814</c:v>
                </c:pt>
                <c:pt idx="5">
                  <c:v>39845</c:v>
                </c:pt>
                <c:pt idx="6">
                  <c:v>39873</c:v>
                </c:pt>
                <c:pt idx="7">
                  <c:v>39904</c:v>
                </c:pt>
                <c:pt idx="8">
                  <c:v>39934</c:v>
                </c:pt>
                <c:pt idx="9">
                  <c:v>39965</c:v>
                </c:pt>
                <c:pt idx="10">
                  <c:v>39995</c:v>
                </c:pt>
                <c:pt idx="11">
                  <c:v>40026</c:v>
                </c:pt>
                <c:pt idx="12">
                  <c:v>40057</c:v>
                </c:pt>
                <c:pt idx="13">
                  <c:v>40087</c:v>
                </c:pt>
                <c:pt idx="14">
                  <c:v>40118</c:v>
                </c:pt>
                <c:pt idx="15">
                  <c:v>40148</c:v>
                </c:pt>
                <c:pt idx="16">
                  <c:v>40179</c:v>
                </c:pt>
                <c:pt idx="17">
                  <c:v>40210</c:v>
                </c:pt>
                <c:pt idx="18">
                  <c:v>40238</c:v>
                </c:pt>
                <c:pt idx="19">
                  <c:v>40269</c:v>
                </c:pt>
                <c:pt idx="20">
                  <c:v>40299</c:v>
                </c:pt>
                <c:pt idx="21">
                  <c:v>40330</c:v>
                </c:pt>
                <c:pt idx="22">
                  <c:v>40360</c:v>
                </c:pt>
                <c:pt idx="23">
                  <c:v>40391</c:v>
                </c:pt>
                <c:pt idx="24">
                  <c:v>40422</c:v>
                </c:pt>
                <c:pt idx="25">
                  <c:v>40452</c:v>
                </c:pt>
                <c:pt idx="26">
                  <c:v>40483</c:v>
                </c:pt>
                <c:pt idx="27">
                  <c:v>40513</c:v>
                </c:pt>
                <c:pt idx="28">
                  <c:v>40544</c:v>
                </c:pt>
                <c:pt idx="29">
                  <c:v>40575</c:v>
                </c:pt>
                <c:pt idx="30">
                  <c:v>40603</c:v>
                </c:pt>
                <c:pt idx="31">
                  <c:v>40634</c:v>
                </c:pt>
                <c:pt idx="32">
                  <c:v>40664</c:v>
                </c:pt>
                <c:pt idx="33">
                  <c:v>40695</c:v>
                </c:pt>
                <c:pt idx="34">
                  <c:v>40725</c:v>
                </c:pt>
                <c:pt idx="35">
                  <c:v>40756</c:v>
                </c:pt>
                <c:pt idx="36">
                  <c:v>40787</c:v>
                </c:pt>
                <c:pt idx="37">
                  <c:v>40817</c:v>
                </c:pt>
                <c:pt idx="38">
                  <c:v>40848</c:v>
                </c:pt>
                <c:pt idx="39">
                  <c:v>40878</c:v>
                </c:pt>
                <c:pt idx="40">
                  <c:v>40909</c:v>
                </c:pt>
                <c:pt idx="41">
                  <c:v>40940</c:v>
                </c:pt>
                <c:pt idx="42">
                  <c:v>40969</c:v>
                </c:pt>
                <c:pt idx="43">
                  <c:v>41000</c:v>
                </c:pt>
                <c:pt idx="44">
                  <c:v>41030</c:v>
                </c:pt>
                <c:pt idx="45">
                  <c:v>41061</c:v>
                </c:pt>
              </c:numCache>
            </c:numRef>
          </c:cat>
          <c:val>
            <c:numRef>
              <c:f>'3.24'!$B$5:$B$51</c:f>
              <c:numCache>
                <c:formatCode>#,##0.0_ ;\-#,##0.0\ </c:formatCode>
                <c:ptCount val="47"/>
                <c:pt idx="0" formatCode="General">
                  <c:v>0</c:v>
                </c:pt>
                <c:pt idx="1">
                  <c:v>26.919999999999987</c:v>
                </c:pt>
                <c:pt idx="2">
                  <c:v>23.58</c:v>
                </c:pt>
                <c:pt idx="3">
                  <c:v>20.87</c:v>
                </c:pt>
                <c:pt idx="4">
                  <c:v>16.21</c:v>
                </c:pt>
                <c:pt idx="5">
                  <c:v>13.19</c:v>
                </c:pt>
                <c:pt idx="6">
                  <c:v>9.7000000000000011</c:v>
                </c:pt>
                <c:pt idx="7">
                  <c:v>5</c:v>
                </c:pt>
                <c:pt idx="8">
                  <c:v>1.31</c:v>
                </c:pt>
                <c:pt idx="9">
                  <c:v>-1.36</c:v>
                </c:pt>
                <c:pt idx="10">
                  <c:v>-4.49</c:v>
                </c:pt>
                <c:pt idx="11">
                  <c:v>-7.21</c:v>
                </c:pt>
                <c:pt idx="12">
                  <c:v>-9.01</c:v>
                </c:pt>
                <c:pt idx="13">
                  <c:v>-10.48</c:v>
                </c:pt>
                <c:pt idx="14">
                  <c:v>-10.9</c:v>
                </c:pt>
                <c:pt idx="15">
                  <c:v>-10.69</c:v>
                </c:pt>
                <c:pt idx="16">
                  <c:v>-9.01</c:v>
                </c:pt>
                <c:pt idx="17">
                  <c:v>-8.91</c:v>
                </c:pt>
                <c:pt idx="18">
                  <c:v>-9.15</c:v>
                </c:pt>
                <c:pt idx="19">
                  <c:v>-8.77</c:v>
                </c:pt>
                <c:pt idx="20">
                  <c:v>-9.2343713395272999</c:v>
                </c:pt>
                <c:pt idx="21">
                  <c:v>-8.7330530672443789</c:v>
                </c:pt>
                <c:pt idx="22">
                  <c:v>-7.1103679569097356</c:v>
                </c:pt>
                <c:pt idx="23">
                  <c:v>-8.2066155252662298</c:v>
                </c:pt>
                <c:pt idx="24">
                  <c:v>-8.8973169822908389</c:v>
                </c:pt>
                <c:pt idx="25">
                  <c:v>-9.7948131691796831</c:v>
                </c:pt>
                <c:pt idx="26">
                  <c:v>-9.9771337135130977</c:v>
                </c:pt>
                <c:pt idx="27">
                  <c:v>-10.51619468525125</c:v>
                </c:pt>
                <c:pt idx="28">
                  <c:v>-10.106673556589223</c:v>
                </c:pt>
                <c:pt idx="29">
                  <c:v>-10.453487721216241</c:v>
                </c:pt>
                <c:pt idx="30">
                  <c:v>-10.044910249426692</c:v>
                </c:pt>
                <c:pt idx="31">
                  <c:v>-9.6783807276837699</c:v>
                </c:pt>
                <c:pt idx="32">
                  <c:v>-7.7617392298972705</c:v>
                </c:pt>
                <c:pt idx="33">
                  <c:v>-7.3880279767329355</c:v>
                </c:pt>
                <c:pt idx="34">
                  <c:v>-6.4896359274458764</c:v>
                </c:pt>
                <c:pt idx="35">
                  <c:v>-2.9045001314651557</c:v>
                </c:pt>
                <c:pt idx="36">
                  <c:v>-1.6654111581627973</c:v>
                </c:pt>
                <c:pt idx="37">
                  <c:v>7.3107305890999896E-2</c:v>
                </c:pt>
                <c:pt idx="38">
                  <c:v>0.59075294810730683</c:v>
                </c:pt>
                <c:pt idx="39">
                  <c:v>2.3093475027762054</c:v>
                </c:pt>
                <c:pt idx="40">
                  <c:v>2.3451565290376664</c:v>
                </c:pt>
                <c:pt idx="41">
                  <c:v>2.1551644784350259</c:v>
                </c:pt>
                <c:pt idx="42">
                  <c:v>1.7522515210727962</c:v>
                </c:pt>
                <c:pt idx="43">
                  <c:v>3.2373462889232485</c:v>
                </c:pt>
                <c:pt idx="44">
                  <c:v>1.4395637608916019</c:v>
                </c:pt>
                <c:pt idx="45">
                  <c:v>1.2801567196061121</c:v>
                </c:pt>
                <c:pt idx="46">
                  <c:v>2.0732137587175243</c:v>
                </c:pt>
              </c:numCache>
            </c:numRef>
          </c:val>
          <c:smooth val="0"/>
        </c:ser>
        <c:ser>
          <c:idx val="1"/>
          <c:order val="1"/>
          <c:tx>
            <c:strRef>
              <c:f>'3.24'!$C$5</c:f>
              <c:strCache>
                <c:ptCount val="1"/>
                <c:pt idx="0">
                  <c:v>FX private credit - real dynamic</c:v>
                </c:pt>
              </c:strCache>
            </c:strRef>
          </c:tx>
          <c:spPr>
            <a:ln>
              <a:solidFill>
                <a:srgbClr val="FF0000"/>
              </a:solidFill>
            </a:ln>
          </c:spPr>
          <c:marker>
            <c:symbol val="none"/>
          </c:marker>
          <c:cat>
            <c:numRef>
              <c:f>'3.24'!$A$6:$A$51</c:f>
              <c:numCache>
                <c:formatCode>[$-409]mmm\-yy;@</c:formatCode>
                <c:ptCount val="46"/>
                <c:pt idx="0">
                  <c:v>39692</c:v>
                </c:pt>
                <c:pt idx="1">
                  <c:v>39722</c:v>
                </c:pt>
                <c:pt idx="2">
                  <c:v>39753</c:v>
                </c:pt>
                <c:pt idx="3">
                  <c:v>39783</c:v>
                </c:pt>
                <c:pt idx="4">
                  <c:v>39814</c:v>
                </c:pt>
                <c:pt idx="5">
                  <c:v>39845</c:v>
                </c:pt>
                <c:pt idx="6">
                  <c:v>39873</c:v>
                </c:pt>
                <c:pt idx="7">
                  <c:v>39904</c:v>
                </c:pt>
                <c:pt idx="8">
                  <c:v>39934</c:v>
                </c:pt>
                <c:pt idx="9">
                  <c:v>39965</c:v>
                </c:pt>
                <c:pt idx="10">
                  <c:v>39995</c:v>
                </c:pt>
                <c:pt idx="11">
                  <c:v>40026</c:v>
                </c:pt>
                <c:pt idx="12">
                  <c:v>40057</c:v>
                </c:pt>
                <c:pt idx="13">
                  <c:v>40087</c:v>
                </c:pt>
                <c:pt idx="14">
                  <c:v>40118</c:v>
                </c:pt>
                <c:pt idx="15">
                  <c:v>40148</c:v>
                </c:pt>
                <c:pt idx="16">
                  <c:v>40179</c:v>
                </c:pt>
                <c:pt idx="17">
                  <c:v>40210</c:v>
                </c:pt>
                <c:pt idx="18">
                  <c:v>40238</c:v>
                </c:pt>
                <c:pt idx="19">
                  <c:v>40269</c:v>
                </c:pt>
                <c:pt idx="20">
                  <c:v>40299</c:v>
                </c:pt>
                <c:pt idx="21">
                  <c:v>40330</c:v>
                </c:pt>
                <c:pt idx="22">
                  <c:v>40360</c:v>
                </c:pt>
                <c:pt idx="23">
                  <c:v>40391</c:v>
                </c:pt>
                <c:pt idx="24">
                  <c:v>40422</c:v>
                </c:pt>
                <c:pt idx="25">
                  <c:v>40452</c:v>
                </c:pt>
                <c:pt idx="26">
                  <c:v>40483</c:v>
                </c:pt>
                <c:pt idx="27">
                  <c:v>40513</c:v>
                </c:pt>
                <c:pt idx="28">
                  <c:v>40544</c:v>
                </c:pt>
                <c:pt idx="29">
                  <c:v>40575</c:v>
                </c:pt>
                <c:pt idx="30">
                  <c:v>40603</c:v>
                </c:pt>
                <c:pt idx="31">
                  <c:v>40634</c:v>
                </c:pt>
                <c:pt idx="32">
                  <c:v>40664</c:v>
                </c:pt>
                <c:pt idx="33">
                  <c:v>40695</c:v>
                </c:pt>
                <c:pt idx="34">
                  <c:v>40725</c:v>
                </c:pt>
                <c:pt idx="35">
                  <c:v>40756</c:v>
                </c:pt>
                <c:pt idx="36">
                  <c:v>40787</c:v>
                </c:pt>
                <c:pt idx="37">
                  <c:v>40817</c:v>
                </c:pt>
                <c:pt idx="38">
                  <c:v>40848</c:v>
                </c:pt>
                <c:pt idx="39">
                  <c:v>40878</c:v>
                </c:pt>
                <c:pt idx="40">
                  <c:v>40909</c:v>
                </c:pt>
                <c:pt idx="41">
                  <c:v>40940</c:v>
                </c:pt>
                <c:pt idx="42">
                  <c:v>40969</c:v>
                </c:pt>
                <c:pt idx="43">
                  <c:v>41000</c:v>
                </c:pt>
                <c:pt idx="44">
                  <c:v>41030</c:v>
                </c:pt>
                <c:pt idx="45">
                  <c:v>41061</c:v>
                </c:pt>
              </c:numCache>
            </c:numRef>
          </c:cat>
          <c:val>
            <c:numRef>
              <c:f>'3.24'!$C$5:$C$51</c:f>
              <c:numCache>
                <c:formatCode>#,##0.0_ ;\-#,##0.0\ </c:formatCode>
                <c:ptCount val="47"/>
                <c:pt idx="0" formatCode="General">
                  <c:v>0</c:v>
                </c:pt>
                <c:pt idx="1">
                  <c:v>52.760000000000012</c:v>
                </c:pt>
                <c:pt idx="2">
                  <c:v>45.47</c:v>
                </c:pt>
                <c:pt idx="3">
                  <c:v>37.220000000000013</c:v>
                </c:pt>
                <c:pt idx="4">
                  <c:v>33.760000000000012</c:v>
                </c:pt>
                <c:pt idx="5">
                  <c:v>35.370000000000005</c:v>
                </c:pt>
                <c:pt idx="6">
                  <c:v>32.54</c:v>
                </c:pt>
                <c:pt idx="7">
                  <c:v>23.830000000000005</c:v>
                </c:pt>
                <c:pt idx="8">
                  <c:v>20.25</c:v>
                </c:pt>
                <c:pt idx="9">
                  <c:v>18.34</c:v>
                </c:pt>
                <c:pt idx="10">
                  <c:v>12.74</c:v>
                </c:pt>
                <c:pt idx="11">
                  <c:v>16.130000000000031</c:v>
                </c:pt>
                <c:pt idx="12">
                  <c:v>13.17</c:v>
                </c:pt>
                <c:pt idx="13">
                  <c:v>3.9699999999999998</c:v>
                </c:pt>
                <c:pt idx="14">
                  <c:v>8.59</c:v>
                </c:pt>
                <c:pt idx="15">
                  <c:v>5.4300000000000024</c:v>
                </c:pt>
                <c:pt idx="16">
                  <c:v>0.28000000000000008</c:v>
                </c:pt>
                <c:pt idx="17">
                  <c:v>-7.78</c:v>
                </c:pt>
                <c:pt idx="18">
                  <c:v>-7</c:v>
                </c:pt>
                <c:pt idx="19">
                  <c:v>-3.32</c:v>
                </c:pt>
                <c:pt idx="20">
                  <c:v>-0.70148120708013562</c:v>
                </c:pt>
                <c:pt idx="21">
                  <c:v>2.2104232647425217</c:v>
                </c:pt>
                <c:pt idx="22">
                  <c:v>8.2480937951677689</c:v>
                </c:pt>
                <c:pt idx="23">
                  <c:v>1.3378235368220857</c:v>
                </c:pt>
                <c:pt idx="24">
                  <c:v>1.2173811703572994</c:v>
                </c:pt>
                <c:pt idx="25">
                  <c:v>1.578900401660932</c:v>
                </c:pt>
                <c:pt idx="26">
                  <c:v>-1.2567976535298986</c:v>
                </c:pt>
                <c:pt idx="27">
                  <c:v>0.44457134948936528</c:v>
                </c:pt>
                <c:pt idx="28">
                  <c:v>1.6945782481034115</c:v>
                </c:pt>
                <c:pt idx="29">
                  <c:v>2.8223398486332911</c:v>
                </c:pt>
                <c:pt idx="30">
                  <c:v>0.71416942314861864</c:v>
                </c:pt>
                <c:pt idx="31">
                  <c:v>-2.4349389908271775</c:v>
                </c:pt>
                <c:pt idx="32">
                  <c:v>-4.4041567126482555</c:v>
                </c:pt>
                <c:pt idx="33">
                  <c:v>-4.6265467205886495</c:v>
                </c:pt>
                <c:pt idx="34">
                  <c:v>-5.8659373936446713</c:v>
                </c:pt>
                <c:pt idx="35">
                  <c:v>1.2574487420267531</c:v>
                </c:pt>
                <c:pt idx="36">
                  <c:v>0.42385128368225478</c:v>
                </c:pt>
                <c:pt idx="37">
                  <c:v>4.6604201951247584</c:v>
                </c:pt>
                <c:pt idx="38">
                  <c:v>4.7622398647957285</c:v>
                </c:pt>
                <c:pt idx="39">
                  <c:v>5.0959122411866247</c:v>
                </c:pt>
                <c:pt idx="40">
                  <c:v>3.8952242316583749</c:v>
                </c:pt>
                <c:pt idx="41">
                  <c:v>5.5308814669912607</c:v>
                </c:pt>
                <c:pt idx="42">
                  <c:v>6.7947492720745544</c:v>
                </c:pt>
                <c:pt idx="43">
                  <c:v>9.9977951300954402</c:v>
                </c:pt>
                <c:pt idx="44">
                  <c:v>11.8631730267567</c:v>
                </c:pt>
                <c:pt idx="45">
                  <c:v>11.164524181984946</c:v>
                </c:pt>
                <c:pt idx="46">
                  <c:v>5.3947111085283375</c:v>
                </c:pt>
              </c:numCache>
            </c:numRef>
          </c:val>
          <c:smooth val="0"/>
        </c:ser>
        <c:ser>
          <c:idx val="2"/>
          <c:order val="2"/>
          <c:tx>
            <c:strRef>
              <c:f>'3.24'!$D$5</c:f>
              <c:strCache>
                <c:ptCount val="1"/>
                <c:pt idx="0">
                  <c:v>Total private credit dyanmic</c:v>
                </c:pt>
              </c:strCache>
            </c:strRef>
          </c:tx>
          <c:spPr>
            <a:ln>
              <a:solidFill>
                <a:srgbClr val="005800"/>
              </a:solidFill>
            </a:ln>
          </c:spPr>
          <c:marker>
            <c:symbol val="none"/>
          </c:marker>
          <c:cat>
            <c:numRef>
              <c:f>'3.24'!$A$6:$A$51</c:f>
              <c:numCache>
                <c:formatCode>[$-409]mmm\-yy;@</c:formatCode>
                <c:ptCount val="46"/>
                <c:pt idx="0">
                  <c:v>39692</c:v>
                </c:pt>
                <c:pt idx="1">
                  <c:v>39722</c:v>
                </c:pt>
                <c:pt idx="2">
                  <c:v>39753</c:v>
                </c:pt>
                <c:pt idx="3">
                  <c:v>39783</c:v>
                </c:pt>
                <c:pt idx="4">
                  <c:v>39814</c:v>
                </c:pt>
                <c:pt idx="5">
                  <c:v>39845</c:v>
                </c:pt>
                <c:pt idx="6">
                  <c:v>39873</c:v>
                </c:pt>
                <c:pt idx="7">
                  <c:v>39904</c:v>
                </c:pt>
                <c:pt idx="8">
                  <c:v>39934</c:v>
                </c:pt>
                <c:pt idx="9">
                  <c:v>39965</c:v>
                </c:pt>
                <c:pt idx="10">
                  <c:v>39995</c:v>
                </c:pt>
                <c:pt idx="11">
                  <c:v>40026</c:v>
                </c:pt>
                <c:pt idx="12">
                  <c:v>40057</c:v>
                </c:pt>
                <c:pt idx="13">
                  <c:v>40087</c:v>
                </c:pt>
                <c:pt idx="14">
                  <c:v>40118</c:v>
                </c:pt>
                <c:pt idx="15">
                  <c:v>40148</c:v>
                </c:pt>
                <c:pt idx="16">
                  <c:v>40179</c:v>
                </c:pt>
                <c:pt idx="17">
                  <c:v>40210</c:v>
                </c:pt>
                <c:pt idx="18">
                  <c:v>40238</c:v>
                </c:pt>
                <c:pt idx="19">
                  <c:v>40269</c:v>
                </c:pt>
                <c:pt idx="20">
                  <c:v>40299</c:v>
                </c:pt>
                <c:pt idx="21">
                  <c:v>40330</c:v>
                </c:pt>
                <c:pt idx="22">
                  <c:v>40360</c:v>
                </c:pt>
                <c:pt idx="23">
                  <c:v>40391</c:v>
                </c:pt>
                <c:pt idx="24">
                  <c:v>40422</c:v>
                </c:pt>
                <c:pt idx="25">
                  <c:v>40452</c:v>
                </c:pt>
                <c:pt idx="26">
                  <c:v>40483</c:v>
                </c:pt>
                <c:pt idx="27">
                  <c:v>40513</c:v>
                </c:pt>
                <c:pt idx="28">
                  <c:v>40544</c:v>
                </c:pt>
                <c:pt idx="29">
                  <c:v>40575</c:v>
                </c:pt>
                <c:pt idx="30">
                  <c:v>40603</c:v>
                </c:pt>
                <c:pt idx="31">
                  <c:v>40634</c:v>
                </c:pt>
                <c:pt idx="32">
                  <c:v>40664</c:v>
                </c:pt>
                <c:pt idx="33">
                  <c:v>40695</c:v>
                </c:pt>
                <c:pt idx="34">
                  <c:v>40725</c:v>
                </c:pt>
                <c:pt idx="35">
                  <c:v>40756</c:v>
                </c:pt>
                <c:pt idx="36">
                  <c:v>40787</c:v>
                </c:pt>
                <c:pt idx="37">
                  <c:v>40817</c:v>
                </c:pt>
                <c:pt idx="38">
                  <c:v>40848</c:v>
                </c:pt>
                <c:pt idx="39">
                  <c:v>40878</c:v>
                </c:pt>
                <c:pt idx="40">
                  <c:v>40909</c:v>
                </c:pt>
                <c:pt idx="41">
                  <c:v>40940</c:v>
                </c:pt>
                <c:pt idx="42">
                  <c:v>40969</c:v>
                </c:pt>
                <c:pt idx="43">
                  <c:v>41000</c:v>
                </c:pt>
                <c:pt idx="44">
                  <c:v>41030</c:v>
                </c:pt>
                <c:pt idx="45">
                  <c:v>41061</c:v>
                </c:pt>
              </c:numCache>
            </c:numRef>
          </c:cat>
          <c:val>
            <c:numRef>
              <c:f>'3.24'!$D$5:$D$51</c:f>
              <c:numCache>
                <c:formatCode>#,##0.0_ ;\-#,##0.0\ </c:formatCode>
                <c:ptCount val="47"/>
                <c:pt idx="0" formatCode="General">
                  <c:v>0</c:v>
                </c:pt>
                <c:pt idx="1">
                  <c:v>40.21</c:v>
                </c:pt>
                <c:pt idx="2">
                  <c:v>34.85</c:v>
                </c:pt>
                <c:pt idx="3">
                  <c:v>29.54</c:v>
                </c:pt>
                <c:pt idx="4">
                  <c:v>25.74</c:v>
                </c:pt>
                <c:pt idx="5">
                  <c:v>25.4</c:v>
                </c:pt>
                <c:pt idx="6">
                  <c:v>22.24</c:v>
                </c:pt>
                <c:pt idx="7">
                  <c:v>15.350000000000017</c:v>
                </c:pt>
                <c:pt idx="8">
                  <c:v>11.66</c:v>
                </c:pt>
                <c:pt idx="9">
                  <c:v>9.3500000000000068</c:v>
                </c:pt>
                <c:pt idx="10">
                  <c:v>5</c:v>
                </c:pt>
                <c:pt idx="11">
                  <c:v>5.42</c:v>
                </c:pt>
                <c:pt idx="12">
                  <c:v>3.08</c:v>
                </c:pt>
                <c:pt idx="13">
                  <c:v>-2.38</c:v>
                </c:pt>
                <c:pt idx="14">
                  <c:v>-8.0000000000000043E-2</c:v>
                </c:pt>
                <c:pt idx="15">
                  <c:v>-1.6300000000000001</c:v>
                </c:pt>
                <c:pt idx="16">
                  <c:v>-3.65</c:v>
                </c:pt>
                <c:pt idx="17">
                  <c:v>-8.24</c:v>
                </c:pt>
                <c:pt idx="18">
                  <c:v>-7.87</c:v>
                </c:pt>
                <c:pt idx="19">
                  <c:v>-5.55</c:v>
                </c:pt>
                <c:pt idx="20">
                  <c:v>-4.2159357019660506</c:v>
                </c:pt>
                <c:pt idx="21">
                  <c:v>-2.2930253499969711</c:v>
                </c:pt>
                <c:pt idx="22">
                  <c:v>1.9723816690568194</c:v>
                </c:pt>
                <c:pt idx="23">
                  <c:v>-2.5167081197576904</c:v>
                </c:pt>
                <c:pt idx="24">
                  <c:v>-2.842318805200037</c:v>
                </c:pt>
                <c:pt idx="25">
                  <c:v>-3.0040381008174681</c:v>
                </c:pt>
                <c:pt idx="26">
                  <c:v>-4.7144642098970255</c:v>
                </c:pt>
                <c:pt idx="27">
                  <c:v>-3.91604359668414</c:v>
                </c:pt>
                <c:pt idx="28">
                  <c:v>-3.0116427878116525</c:v>
                </c:pt>
                <c:pt idx="29">
                  <c:v>-2.5255001525946041</c:v>
                </c:pt>
                <c:pt idx="30">
                  <c:v>-3.5807576040756146</c:v>
                </c:pt>
                <c:pt idx="31">
                  <c:v>-5.302331214100704</c:v>
                </c:pt>
                <c:pt idx="32">
                  <c:v>-5.7145951539519757</c:v>
                </c:pt>
                <c:pt idx="33">
                  <c:v>-5.6880466387020476</c:v>
                </c:pt>
                <c:pt idx="34">
                  <c:v>-6.0980906052816497</c:v>
                </c:pt>
                <c:pt idx="35">
                  <c:v>-0.32525323470147777</c:v>
                </c:pt>
                <c:pt idx="36">
                  <c:v>-0.36244828136121143</c:v>
                </c:pt>
                <c:pt idx="37">
                  <c:v>2.9414119413894202</c:v>
                </c:pt>
                <c:pt idx="38">
                  <c:v>3.1995721864194997</c:v>
                </c:pt>
                <c:pt idx="39">
                  <c:v>4.063461036293873</c:v>
                </c:pt>
                <c:pt idx="40">
                  <c:v>3.3222926543278626</c:v>
                </c:pt>
                <c:pt idx="41">
                  <c:v>4.2816569714306745</c:v>
                </c:pt>
                <c:pt idx="42">
                  <c:v>4.9167803305768558</c:v>
                </c:pt>
                <c:pt idx="43">
                  <c:v>7.445269629317834</c:v>
                </c:pt>
                <c:pt idx="44">
                  <c:v>7.8832498593542724</c:v>
                </c:pt>
                <c:pt idx="45">
                  <c:v>7.4335079399070736</c:v>
                </c:pt>
                <c:pt idx="46">
                  <c:v>4.1635377536783986</c:v>
                </c:pt>
              </c:numCache>
            </c:numRef>
          </c:val>
          <c:smooth val="0"/>
        </c:ser>
        <c:dLbls>
          <c:showLegendKey val="0"/>
          <c:showVal val="0"/>
          <c:showCatName val="0"/>
          <c:showSerName val="0"/>
          <c:showPercent val="0"/>
          <c:showBubbleSize val="0"/>
        </c:dLbls>
        <c:marker val="1"/>
        <c:smooth val="0"/>
        <c:axId val="128276736"/>
        <c:axId val="128278528"/>
      </c:lineChart>
      <c:dateAx>
        <c:axId val="128276736"/>
        <c:scaling>
          <c:orientation val="minMax"/>
        </c:scaling>
        <c:delete val="0"/>
        <c:axPos val="b"/>
        <c:numFmt formatCode="[$-409]mmm\-yy;@" sourceLinked="1"/>
        <c:majorTickMark val="out"/>
        <c:minorTickMark val="none"/>
        <c:tickLblPos val="nextTo"/>
        <c:txPr>
          <a:bodyPr rot="5400000" vert="horz"/>
          <a:lstStyle/>
          <a:p>
            <a:pPr>
              <a:defRPr sz="1400" b="1" i="0" baseline="0"/>
            </a:pPr>
            <a:endParaRPr lang="it-IT"/>
          </a:p>
        </c:txPr>
        <c:crossAx val="128278528"/>
        <c:crosses val="autoZero"/>
        <c:auto val="1"/>
        <c:lblOffset val="100"/>
        <c:baseTimeUnit val="months"/>
        <c:majorUnit val="6"/>
        <c:majorTimeUnit val="months"/>
        <c:minorUnit val="3"/>
        <c:minorTimeUnit val="months"/>
      </c:dateAx>
      <c:valAx>
        <c:axId val="128278528"/>
        <c:scaling>
          <c:orientation val="minMax"/>
        </c:scaling>
        <c:delete val="0"/>
        <c:axPos val="l"/>
        <c:majorGridlines/>
        <c:numFmt formatCode="General" sourceLinked="1"/>
        <c:majorTickMark val="out"/>
        <c:minorTickMark val="none"/>
        <c:tickLblPos val="nextTo"/>
        <c:crossAx val="128276736"/>
        <c:crosses val="autoZero"/>
        <c:crossBetween val="between"/>
      </c:valAx>
    </c:plotArea>
    <c:legend>
      <c:legendPos val="r"/>
      <c:layout>
        <c:manualLayout>
          <c:xMode val="edge"/>
          <c:yMode val="edge"/>
          <c:x val="0.48867189080306772"/>
          <c:y val="3.1174843529174295E-2"/>
          <c:w val="0.49021728193722774"/>
          <c:h val="0.32862157472699138"/>
        </c:manualLayout>
      </c:layout>
      <c:overlay val="0"/>
      <c:txPr>
        <a:bodyPr/>
        <a:lstStyle/>
        <a:p>
          <a:pPr>
            <a:defRPr sz="1400" b="1" i="0" baseline="0"/>
          </a:pPr>
          <a:endParaRPr lang="it-IT"/>
        </a:p>
      </c:txPr>
    </c:legend>
    <c:plotVisOnly val="1"/>
    <c:dispBlanksAs val="gap"/>
    <c:showDLblsOverMax val="0"/>
  </c:chart>
  <c:spPr>
    <a:ln>
      <a:solidFill>
        <a:schemeClr val="bg1">
          <a:lumMod val="50000"/>
        </a:schemeClr>
      </a:solid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9506866788216784E-2"/>
          <c:y val="0.11861333655768502"/>
          <c:w val="0.92582951152828785"/>
          <c:h val="0.77206783451422589"/>
        </c:manualLayout>
      </c:layout>
      <c:areaChart>
        <c:grouping val="standard"/>
        <c:varyColors val="0"/>
        <c:ser>
          <c:idx val="1"/>
          <c:order val="0"/>
          <c:tx>
            <c:strRef>
              <c:f>Sheet1!$AJ$8</c:f>
              <c:strCache>
                <c:ptCount val="1"/>
                <c:pt idx="0">
                  <c:v>Total credit, RON bln.</c:v>
                </c:pt>
              </c:strCache>
            </c:strRef>
          </c:tx>
          <c:spPr>
            <a:solidFill>
              <a:srgbClr val="00B0F0"/>
            </a:solidFill>
            <a:ln w="25400">
              <a:noFill/>
            </a:ln>
          </c:spPr>
          <c:cat>
            <c:numRef>
              <c:f>Sheet1!$A$9:$A$76</c:f>
              <c:numCache>
                <c:formatCode>mmm\.\ yyyy</c:formatCode>
                <c:ptCount val="68"/>
                <c:pt idx="0">
                  <c:v>41122</c:v>
                </c:pt>
                <c:pt idx="1">
                  <c:v>41091</c:v>
                </c:pt>
                <c:pt idx="2">
                  <c:v>41061</c:v>
                </c:pt>
                <c:pt idx="3">
                  <c:v>41030</c:v>
                </c:pt>
                <c:pt idx="4">
                  <c:v>41000</c:v>
                </c:pt>
                <c:pt idx="5">
                  <c:v>40969</c:v>
                </c:pt>
                <c:pt idx="6">
                  <c:v>40940</c:v>
                </c:pt>
                <c:pt idx="7">
                  <c:v>40909</c:v>
                </c:pt>
                <c:pt idx="8">
                  <c:v>40878</c:v>
                </c:pt>
                <c:pt idx="9">
                  <c:v>40848</c:v>
                </c:pt>
                <c:pt idx="10">
                  <c:v>40817</c:v>
                </c:pt>
                <c:pt idx="11">
                  <c:v>40787</c:v>
                </c:pt>
                <c:pt idx="12">
                  <c:v>40756</c:v>
                </c:pt>
                <c:pt idx="13">
                  <c:v>40725</c:v>
                </c:pt>
                <c:pt idx="14">
                  <c:v>40695</c:v>
                </c:pt>
                <c:pt idx="15">
                  <c:v>40664</c:v>
                </c:pt>
                <c:pt idx="16">
                  <c:v>40634</c:v>
                </c:pt>
                <c:pt idx="17">
                  <c:v>40603</c:v>
                </c:pt>
                <c:pt idx="18">
                  <c:v>40575</c:v>
                </c:pt>
                <c:pt idx="19">
                  <c:v>40544</c:v>
                </c:pt>
                <c:pt idx="20">
                  <c:v>40513</c:v>
                </c:pt>
                <c:pt idx="21">
                  <c:v>40483</c:v>
                </c:pt>
                <c:pt idx="22">
                  <c:v>40452</c:v>
                </c:pt>
                <c:pt idx="23">
                  <c:v>40422</c:v>
                </c:pt>
                <c:pt idx="24">
                  <c:v>40391</c:v>
                </c:pt>
                <c:pt idx="25">
                  <c:v>40360</c:v>
                </c:pt>
                <c:pt idx="26">
                  <c:v>40330</c:v>
                </c:pt>
                <c:pt idx="27">
                  <c:v>40299</c:v>
                </c:pt>
                <c:pt idx="28">
                  <c:v>40269</c:v>
                </c:pt>
                <c:pt idx="29">
                  <c:v>40238</c:v>
                </c:pt>
                <c:pt idx="30">
                  <c:v>40210</c:v>
                </c:pt>
                <c:pt idx="31">
                  <c:v>40179</c:v>
                </c:pt>
                <c:pt idx="32">
                  <c:v>40148</c:v>
                </c:pt>
                <c:pt idx="33">
                  <c:v>40118</c:v>
                </c:pt>
                <c:pt idx="34">
                  <c:v>40087</c:v>
                </c:pt>
                <c:pt idx="35">
                  <c:v>40057</c:v>
                </c:pt>
                <c:pt idx="36">
                  <c:v>40026</c:v>
                </c:pt>
                <c:pt idx="37">
                  <c:v>39995</c:v>
                </c:pt>
                <c:pt idx="38">
                  <c:v>39965</c:v>
                </c:pt>
                <c:pt idx="39">
                  <c:v>39934</c:v>
                </c:pt>
                <c:pt idx="40">
                  <c:v>39904</c:v>
                </c:pt>
                <c:pt idx="41">
                  <c:v>39873</c:v>
                </c:pt>
                <c:pt idx="42">
                  <c:v>39845</c:v>
                </c:pt>
                <c:pt idx="43">
                  <c:v>39814</c:v>
                </c:pt>
                <c:pt idx="44">
                  <c:v>39783</c:v>
                </c:pt>
                <c:pt idx="45">
                  <c:v>39753</c:v>
                </c:pt>
                <c:pt idx="46">
                  <c:v>39722</c:v>
                </c:pt>
                <c:pt idx="47">
                  <c:v>39692</c:v>
                </c:pt>
                <c:pt idx="48">
                  <c:v>39661</c:v>
                </c:pt>
                <c:pt idx="49">
                  <c:v>39630</c:v>
                </c:pt>
                <c:pt idx="50">
                  <c:v>39600</c:v>
                </c:pt>
                <c:pt idx="51">
                  <c:v>39569</c:v>
                </c:pt>
                <c:pt idx="52">
                  <c:v>39539</c:v>
                </c:pt>
                <c:pt idx="53">
                  <c:v>39508</c:v>
                </c:pt>
                <c:pt idx="54">
                  <c:v>39479</c:v>
                </c:pt>
                <c:pt idx="55">
                  <c:v>39448</c:v>
                </c:pt>
                <c:pt idx="56">
                  <c:v>39417</c:v>
                </c:pt>
                <c:pt idx="57">
                  <c:v>39387</c:v>
                </c:pt>
                <c:pt idx="58">
                  <c:v>39356</c:v>
                </c:pt>
                <c:pt idx="59">
                  <c:v>39326</c:v>
                </c:pt>
                <c:pt idx="60">
                  <c:v>39295</c:v>
                </c:pt>
                <c:pt idx="61">
                  <c:v>39264</c:v>
                </c:pt>
                <c:pt idx="62">
                  <c:v>39234</c:v>
                </c:pt>
                <c:pt idx="63">
                  <c:v>39203</c:v>
                </c:pt>
                <c:pt idx="64">
                  <c:v>39173</c:v>
                </c:pt>
                <c:pt idx="65">
                  <c:v>39142</c:v>
                </c:pt>
                <c:pt idx="66">
                  <c:v>39114</c:v>
                </c:pt>
                <c:pt idx="67">
                  <c:v>39083</c:v>
                </c:pt>
              </c:numCache>
            </c:numRef>
          </c:cat>
          <c:val>
            <c:numRef>
              <c:f>Sheet1!$AJ$9:$AJ$76</c:f>
              <c:numCache>
                <c:formatCode>0.00</c:formatCode>
                <c:ptCount val="68"/>
                <c:pt idx="0">
                  <c:v>276.51371909999926</c:v>
                </c:pt>
                <c:pt idx="1">
                  <c:v>280.40961639999995</c:v>
                </c:pt>
                <c:pt idx="2">
                  <c:v>266.83660389999994</c:v>
                </c:pt>
                <c:pt idx="3">
                  <c:v>266.68788290000032</c:v>
                </c:pt>
                <c:pt idx="4">
                  <c:v>265.81900899999999</c:v>
                </c:pt>
                <c:pt idx="5">
                  <c:v>261.27773969999993</c:v>
                </c:pt>
                <c:pt idx="6">
                  <c:v>252.5353709</c:v>
                </c:pt>
                <c:pt idx="7">
                  <c:v>254.4649234</c:v>
                </c:pt>
                <c:pt idx="8">
                  <c:v>265.57599619999996</c:v>
                </c:pt>
                <c:pt idx="9">
                  <c:v>255.7407303</c:v>
                </c:pt>
                <c:pt idx="10">
                  <c:v>255.99252790000028</c:v>
                </c:pt>
                <c:pt idx="11">
                  <c:v>256.9883035999992</c:v>
                </c:pt>
                <c:pt idx="12">
                  <c:v>247.08998099999999</c:v>
                </c:pt>
                <c:pt idx="13">
                  <c:v>255.23695909999998</c:v>
                </c:pt>
                <c:pt idx="14">
                  <c:v>260.70366589999998</c:v>
                </c:pt>
                <c:pt idx="15">
                  <c:v>244.67073209999998</c:v>
                </c:pt>
                <c:pt idx="16">
                  <c:v>244.99950309999969</c:v>
                </c:pt>
                <c:pt idx="17">
                  <c:v>244.24696639999999</c:v>
                </c:pt>
                <c:pt idx="18">
                  <c:v>253.19190199999997</c:v>
                </c:pt>
                <c:pt idx="19">
                  <c:v>268.10329439999998</c:v>
                </c:pt>
                <c:pt idx="20">
                  <c:v>271.05504109999998</c:v>
                </c:pt>
                <c:pt idx="21">
                  <c:v>264.07162789999995</c:v>
                </c:pt>
                <c:pt idx="22">
                  <c:v>263.98044819999996</c:v>
                </c:pt>
                <c:pt idx="23">
                  <c:v>263.93417169999969</c:v>
                </c:pt>
                <c:pt idx="24">
                  <c:v>264.50256420000005</c:v>
                </c:pt>
                <c:pt idx="25">
                  <c:v>262.05928680000056</c:v>
                </c:pt>
                <c:pt idx="26">
                  <c:v>260.32281989999996</c:v>
                </c:pt>
                <c:pt idx="27">
                  <c:v>258.06127969999994</c:v>
                </c:pt>
                <c:pt idx="28">
                  <c:v>260.65519920000003</c:v>
                </c:pt>
                <c:pt idx="29">
                  <c:v>278.96124730000003</c:v>
                </c:pt>
                <c:pt idx="30">
                  <c:v>269.5342101</c:v>
                </c:pt>
                <c:pt idx="31">
                  <c:v>265.41635809999894</c:v>
                </c:pt>
                <c:pt idx="32">
                  <c:v>271.06387409999996</c:v>
                </c:pt>
                <c:pt idx="33">
                  <c:v>263.52236010000001</c:v>
                </c:pt>
                <c:pt idx="34">
                  <c:v>260.01681529999945</c:v>
                </c:pt>
                <c:pt idx="35">
                  <c:v>247.88851490000027</c:v>
                </c:pt>
                <c:pt idx="36">
                  <c:v>248.53785330000002</c:v>
                </c:pt>
                <c:pt idx="37">
                  <c:v>251.10404329999992</c:v>
                </c:pt>
                <c:pt idx="38">
                  <c:v>242.14749830000031</c:v>
                </c:pt>
                <c:pt idx="39">
                  <c:v>245.72844210000028</c:v>
                </c:pt>
                <c:pt idx="40">
                  <c:v>234.08645940000031</c:v>
                </c:pt>
                <c:pt idx="41">
                  <c:v>235.3798261</c:v>
                </c:pt>
                <c:pt idx="42">
                  <c:v>240.3491386</c:v>
                </c:pt>
                <c:pt idx="43">
                  <c:v>235.00401010000002</c:v>
                </c:pt>
                <c:pt idx="44">
                  <c:v>224.23371329999958</c:v>
                </c:pt>
                <c:pt idx="45">
                  <c:v>220.45149890000056</c:v>
                </c:pt>
                <c:pt idx="46">
                  <c:v>218.22868419999998</c:v>
                </c:pt>
                <c:pt idx="47">
                  <c:v>213.71162089999999</c:v>
                </c:pt>
                <c:pt idx="48">
                  <c:v>208.08280290000027</c:v>
                </c:pt>
                <c:pt idx="49">
                  <c:v>200.71082429999967</c:v>
                </c:pt>
                <c:pt idx="50">
                  <c:v>201.55878640000029</c:v>
                </c:pt>
                <c:pt idx="51">
                  <c:v>195.8799908</c:v>
                </c:pt>
                <c:pt idx="52">
                  <c:v>193.4941671</c:v>
                </c:pt>
                <c:pt idx="53">
                  <c:v>188.49727960000001</c:v>
                </c:pt>
                <c:pt idx="54">
                  <c:v>182.39957749999996</c:v>
                </c:pt>
                <c:pt idx="55">
                  <c:v>182.16598740000001</c:v>
                </c:pt>
                <c:pt idx="56">
                  <c:v>175.62878880000028</c:v>
                </c:pt>
                <c:pt idx="57">
                  <c:v>166.37701900000027</c:v>
                </c:pt>
                <c:pt idx="58">
                  <c:v>158.45401840000028</c:v>
                </c:pt>
                <c:pt idx="59">
                  <c:v>153.88325810000001</c:v>
                </c:pt>
                <c:pt idx="60">
                  <c:v>148.20522750000001</c:v>
                </c:pt>
                <c:pt idx="61">
                  <c:v>139.33140220000001</c:v>
                </c:pt>
                <c:pt idx="62">
                  <c:v>131.69890000000001</c:v>
                </c:pt>
                <c:pt idx="63">
                  <c:v>127.73200759999995</c:v>
                </c:pt>
                <c:pt idx="64">
                  <c:v>127.45814770000001</c:v>
                </c:pt>
                <c:pt idx="65">
                  <c:v>140.6974132</c:v>
                </c:pt>
                <c:pt idx="66">
                  <c:v>134.72734320000001</c:v>
                </c:pt>
                <c:pt idx="67">
                  <c:v>133.35458160000002</c:v>
                </c:pt>
              </c:numCache>
            </c:numRef>
          </c:val>
        </c:ser>
        <c:ser>
          <c:idx val="0"/>
          <c:order val="1"/>
          <c:tx>
            <c:strRef>
              <c:f>Sheet1!$Q$8</c:f>
              <c:strCache>
                <c:ptCount val="1"/>
                <c:pt idx="0">
                  <c:v>Total resident deposits, RON bln</c:v>
                </c:pt>
              </c:strCache>
            </c:strRef>
          </c:tx>
          <c:spPr>
            <a:solidFill>
              <a:srgbClr val="002060"/>
            </a:solidFill>
            <a:ln w="25400">
              <a:noFill/>
            </a:ln>
          </c:spPr>
          <c:cat>
            <c:numRef>
              <c:f>Sheet1!$A$9:$A$76</c:f>
              <c:numCache>
                <c:formatCode>mmm\.\ yyyy</c:formatCode>
                <c:ptCount val="68"/>
                <c:pt idx="0">
                  <c:v>41122</c:v>
                </c:pt>
                <c:pt idx="1">
                  <c:v>41091</c:v>
                </c:pt>
                <c:pt idx="2">
                  <c:v>41061</c:v>
                </c:pt>
                <c:pt idx="3">
                  <c:v>41030</c:v>
                </c:pt>
                <c:pt idx="4">
                  <c:v>41000</c:v>
                </c:pt>
                <c:pt idx="5">
                  <c:v>40969</c:v>
                </c:pt>
                <c:pt idx="6">
                  <c:v>40940</c:v>
                </c:pt>
                <c:pt idx="7">
                  <c:v>40909</c:v>
                </c:pt>
                <c:pt idx="8">
                  <c:v>40878</c:v>
                </c:pt>
                <c:pt idx="9">
                  <c:v>40848</c:v>
                </c:pt>
                <c:pt idx="10">
                  <c:v>40817</c:v>
                </c:pt>
                <c:pt idx="11">
                  <c:v>40787</c:v>
                </c:pt>
                <c:pt idx="12">
                  <c:v>40756</c:v>
                </c:pt>
                <c:pt idx="13">
                  <c:v>40725</c:v>
                </c:pt>
                <c:pt idx="14">
                  <c:v>40695</c:v>
                </c:pt>
                <c:pt idx="15">
                  <c:v>40664</c:v>
                </c:pt>
                <c:pt idx="16">
                  <c:v>40634</c:v>
                </c:pt>
                <c:pt idx="17">
                  <c:v>40603</c:v>
                </c:pt>
                <c:pt idx="18">
                  <c:v>40575</c:v>
                </c:pt>
                <c:pt idx="19">
                  <c:v>40544</c:v>
                </c:pt>
                <c:pt idx="20">
                  <c:v>40513</c:v>
                </c:pt>
                <c:pt idx="21">
                  <c:v>40483</c:v>
                </c:pt>
                <c:pt idx="22">
                  <c:v>40452</c:v>
                </c:pt>
                <c:pt idx="23">
                  <c:v>40422</c:v>
                </c:pt>
                <c:pt idx="24">
                  <c:v>40391</c:v>
                </c:pt>
                <c:pt idx="25">
                  <c:v>40360</c:v>
                </c:pt>
                <c:pt idx="26">
                  <c:v>40330</c:v>
                </c:pt>
                <c:pt idx="27">
                  <c:v>40299</c:v>
                </c:pt>
                <c:pt idx="28">
                  <c:v>40269</c:v>
                </c:pt>
                <c:pt idx="29">
                  <c:v>40238</c:v>
                </c:pt>
                <c:pt idx="30">
                  <c:v>40210</c:v>
                </c:pt>
                <c:pt idx="31">
                  <c:v>40179</c:v>
                </c:pt>
                <c:pt idx="32">
                  <c:v>40148</c:v>
                </c:pt>
                <c:pt idx="33">
                  <c:v>40118</c:v>
                </c:pt>
                <c:pt idx="34">
                  <c:v>40087</c:v>
                </c:pt>
                <c:pt idx="35">
                  <c:v>40057</c:v>
                </c:pt>
                <c:pt idx="36">
                  <c:v>40026</c:v>
                </c:pt>
                <c:pt idx="37">
                  <c:v>39995</c:v>
                </c:pt>
                <c:pt idx="38">
                  <c:v>39965</c:v>
                </c:pt>
                <c:pt idx="39">
                  <c:v>39934</c:v>
                </c:pt>
                <c:pt idx="40">
                  <c:v>39904</c:v>
                </c:pt>
                <c:pt idx="41">
                  <c:v>39873</c:v>
                </c:pt>
                <c:pt idx="42">
                  <c:v>39845</c:v>
                </c:pt>
                <c:pt idx="43">
                  <c:v>39814</c:v>
                </c:pt>
                <c:pt idx="44">
                  <c:v>39783</c:v>
                </c:pt>
                <c:pt idx="45">
                  <c:v>39753</c:v>
                </c:pt>
                <c:pt idx="46">
                  <c:v>39722</c:v>
                </c:pt>
                <c:pt idx="47">
                  <c:v>39692</c:v>
                </c:pt>
                <c:pt idx="48">
                  <c:v>39661</c:v>
                </c:pt>
                <c:pt idx="49">
                  <c:v>39630</c:v>
                </c:pt>
                <c:pt idx="50">
                  <c:v>39600</c:v>
                </c:pt>
                <c:pt idx="51">
                  <c:v>39569</c:v>
                </c:pt>
                <c:pt idx="52">
                  <c:v>39539</c:v>
                </c:pt>
                <c:pt idx="53">
                  <c:v>39508</c:v>
                </c:pt>
                <c:pt idx="54">
                  <c:v>39479</c:v>
                </c:pt>
                <c:pt idx="55">
                  <c:v>39448</c:v>
                </c:pt>
                <c:pt idx="56">
                  <c:v>39417</c:v>
                </c:pt>
                <c:pt idx="57">
                  <c:v>39387</c:v>
                </c:pt>
                <c:pt idx="58">
                  <c:v>39356</c:v>
                </c:pt>
                <c:pt idx="59">
                  <c:v>39326</c:v>
                </c:pt>
                <c:pt idx="60">
                  <c:v>39295</c:v>
                </c:pt>
                <c:pt idx="61">
                  <c:v>39264</c:v>
                </c:pt>
                <c:pt idx="62">
                  <c:v>39234</c:v>
                </c:pt>
                <c:pt idx="63">
                  <c:v>39203</c:v>
                </c:pt>
                <c:pt idx="64">
                  <c:v>39173</c:v>
                </c:pt>
                <c:pt idx="65">
                  <c:v>39142</c:v>
                </c:pt>
                <c:pt idx="66">
                  <c:v>39114</c:v>
                </c:pt>
                <c:pt idx="67">
                  <c:v>39083</c:v>
                </c:pt>
              </c:numCache>
            </c:numRef>
          </c:cat>
          <c:val>
            <c:numRef>
              <c:f>Sheet1!$Q$9:$Q$76</c:f>
              <c:numCache>
                <c:formatCode>0.00</c:formatCode>
                <c:ptCount val="68"/>
                <c:pt idx="0">
                  <c:v>217.42212320000004</c:v>
                </c:pt>
                <c:pt idx="1">
                  <c:v>220.63176449999995</c:v>
                </c:pt>
                <c:pt idx="2">
                  <c:v>220.88108670000028</c:v>
                </c:pt>
                <c:pt idx="3">
                  <c:v>225.2091293</c:v>
                </c:pt>
                <c:pt idx="4">
                  <c:v>227.22620750000004</c:v>
                </c:pt>
                <c:pt idx="5">
                  <c:v>226.05652660000001</c:v>
                </c:pt>
                <c:pt idx="6">
                  <c:v>215.11488299999974</c:v>
                </c:pt>
                <c:pt idx="7">
                  <c:v>208.77758319999961</c:v>
                </c:pt>
                <c:pt idx="8">
                  <c:v>206.3243837</c:v>
                </c:pt>
                <c:pt idx="9">
                  <c:v>201.66213070000001</c:v>
                </c:pt>
                <c:pt idx="10">
                  <c:v>199.79304770000002</c:v>
                </c:pt>
                <c:pt idx="11">
                  <c:v>204.7353181</c:v>
                </c:pt>
                <c:pt idx="12">
                  <c:v>202.46676200000002</c:v>
                </c:pt>
                <c:pt idx="13">
                  <c:v>204.56648680000038</c:v>
                </c:pt>
                <c:pt idx="14">
                  <c:v>208.2664029</c:v>
                </c:pt>
                <c:pt idx="15">
                  <c:v>200.04312139999999</c:v>
                </c:pt>
                <c:pt idx="16">
                  <c:v>196.19224110000007</c:v>
                </c:pt>
                <c:pt idx="17">
                  <c:v>193.92894150000038</c:v>
                </c:pt>
                <c:pt idx="18">
                  <c:v>194.19359769999971</c:v>
                </c:pt>
                <c:pt idx="19">
                  <c:v>197.95164380000028</c:v>
                </c:pt>
                <c:pt idx="20">
                  <c:v>196.70250779999998</c:v>
                </c:pt>
                <c:pt idx="21">
                  <c:v>196.43083359999997</c:v>
                </c:pt>
                <c:pt idx="22">
                  <c:v>193.73884670000001</c:v>
                </c:pt>
                <c:pt idx="23">
                  <c:v>194.34971309999995</c:v>
                </c:pt>
                <c:pt idx="24">
                  <c:v>190.89812130000041</c:v>
                </c:pt>
                <c:pt idx="25">
                  <c:v>190.76470349999971</c:v>
                </c:pt>
                <c:pt idx="26">
                  <c:v>192.9103218000003</c:v>
                </c:pt>
                <c:pt idx="27">
                  <c:v>194.80849160000028</c:v>
                </c:pt>
                <c:pt idx="28">
                  <c:v>197.77570009999968</c:v>
                </c:pt>
                <c:pt idx="29">
                  <c:v>197.6473196</c:v>
                </c:pt>
                <c:pt idx="30">
                  <c:v>191.05441610000025</c:v>
                </c:pt>
                <c:pt idx="31">
                  <c:v>189.04041409999999</c:v>
                </c:pt>
                <c:pt idx="32">
                  <c:v>188.87341499999999</c:v>
                </c:pt>
                <c:pt idx="33">
                  <c:v>189.84556349999971</c:v>
                </c:pt>
                <c:pt idx="34">
                  <c:v>184.40269740000028</c:v>
                </c:pt>
                <c:pt idx="35">
                  <c:v>187.8171601</c:v>
                </c:pt>
                <c:pt idx="36">
                  <c:v>186.64230760000001</c:v>
                </c:pt>
                <c:pt idx="37">
                  <c:v>186.31036940000001</c:v>
                </c:pt>
                <c:pt idx="38">
                  <c:v>172.47360959999995</c:v>
                </c:pt>
                <c:pt idx="39">
                  <c:v>171.54359609999995</c:v>
                </c:pt>
                <c:pt idx="40">
                  <c:v>173.22309269999971</c:v>
                </c:pt>
                <c:pt idx="41">
                  <c:v>171.55131240000028</c:v>
                </c:pt>
                <c:pt idx="42">
                  <c:v>172.93547800000007</c:v>
                </c:pt>
                <c:pt idx="43">
                  <c:v>171.06647730000037</c:v>
                </c:pt>
                <c:pt idx="44">
                  <c:v>163.22718800000001</c:v>
                </c:pt>
                <c:pt idx="45">
                  <c:v>156.73722469999998</c:v>
                </c:pt>
                <c:pt idx="46">
                  <c:v>158.94120599999997</c:v>
                </c:pt>
                <c:pt idx="47">
                  <c:v>163.283919</c:v>
                </c:pt>
                <c:pt idx="48">
                  <c:v>159.67454229999967</c:v>
                </c:pt>
                <c:pt idx="49">
                  <c:v>157.3719494000004</c:v>
                </c:pt>
                <c:pt idx="50">
                  <c:v>157.42798130000028</c:v>
                </c:pt>
                <c:pt idx="51">
                  <c:v>156.18575619999999</c:v>
                </c:pt>
                <c:pt idx="52">
                  <c:v>157.78923439999997</c:v>
                </c:pt>
                <c:pt idx="53">
                  <c:v>152.5470377</c:v>
                </c:pt>
                <c:pt idx="54">
                  <c:v>149.02338950000001</c:v>
                </c:pt>
                <c:pt idx="55">
                  <c:v>147.54456569999942</c:v>
                </c:pt>
                <c:pt idx="56">
                  <c:v>144.87848210000001</c:v>
                </c:pt>
                <c:pt idx="57">
                  <c:v>141.0258839</c:v>
                </c:pt>
                <c:pt idx="58">
                  <c:v>137.58200230000028</c:v>
                </c:pt>
                <c:pt idx="59">
                  <c:v>134.209946</c:v>
                </c:pt>
                <c:pt idx="60">
                  <c:v>130.87752890000004</c:v>
                </c:pt>
                <c:pt idx="61">
                  <c:v>126.48882490000014</c:v>
                </c:pt>
                <c:pt idx="62">
                  <c:v>121.23066159999999</c:v>
                </c:pt>
                <c:pt idx="63">
                  <c:v>120.23218230000001</c:v>
                </c:pt>
                <c:pt idx="64">
                  <c:v>119.8167512</c:v>
                </c:pt>
                <c:pt idx="65">
                  <c:v>115.50675290000001</c:v>
                </c:pt>
                <c:pt idx="66">
                  <c:v>113.08711889999998</c:v>
                </c:pt>
                <c:pt idx="67">
                  <c:v>114.106949</c:v>
                </c:pt>
              </c:numCache>
            </c:numRef>
          </c:val>
        </c:ser>
        <c:dLbls>
          <c:showLegendKey val="0"/>
          <c:showVal val="0"/>
          <c:showCatName val="0"/>
          <c:showSerName val="0"/>
          <c:showPercent val="0"/>
          <c:showBubbleSize val="0"/>
        </c:dLbls>
        <c:axId val="129046784"/>
        <c:axId val="129056768"/>
      </c:areaChart>
      <c:dateAx>
        <c:axId val="129046784"/>
        <c:scaling>
          <c:orientation val="minMax"/>
        </c:scaling>
        <c:delete val="0"/>
        <c:axPos val="b"/>
        <c:numFmt formatCode="mmm\.\ yyyy" sourceLinked="1"/>
        <c:majorTickMark val="out"/>
        <c:minorTickMark val="none"/>
        <c:tickLblPos val="nextTo"/>
        <c:txPr>
          <a:bodyPr/>
          <a:lstStyle/>
          <a:p>
            <a:pPr>
              <a:defRPr sz="1400" b="1" i="0" baseline="0"/>
            </a:pPr>
            <a:endParaRPr lang="it-IT"/>
          </a:p>
        </c:txPr>
        <c:crossAx val="129056768"/>
        <c:crosses val="autoZero"/>
        <c:auto val="1"/>
        <c:lblOffset val="100"/>
        <c:baseTimeUnit val="months"/>
        <c:majorUnit val="9"/>
        <c:majorTimeUnit val="months"/>
        <c:minorUnit val="6"/>
        <c:minorTimeUnit val="months"/>
      </c:dateAx>
      <c:valAx>
        <c:axId val="129056768"/>
        <c:scaling>
          <c:orientation val="minMax"/>
        </c:scaling>
        <c:delete val="0"/>
        <c:axPos val="l"/>
        <c:numFmt formatCode="0" sourceLinked="0"/>
        <c:majorTickMark val="out"/>
        <c:minorTickMark val="none"/>
        <c:tickLblPos val="nextTo"/>
        <c:crossAx val="129046784"/>
        <c:crosses val="autoZero"/>
        <c:crossBetween val="between"/>
      </c:valAx>
    </c:plotArea>
    <c:legend>
      <c:legendPos val="r"/>
      <c:layout>
        <c:manualLayout>
          <c:xMode val="edge"/>
          <c:yMode val="edge"/>
          <c:x val="0.10614251455818433"/>
          <c:y val="0.61995628167198802"/>
          <c:w val="0.41462962575445605"/>
          <c:h val="9.3721419946558346E-2"/>
        </c:manualLayout>
      </c:layout>
      <c:overlay val="0"/>
      <c:spPr>
        <a:solidFill>
          <a:schemeClr val="bg1"/>
        </a:solidFill>
      </c:spPr>
      <c:txPr>
        <a:bodyPr/>
        <a:lstStyle/>
        <a:p>
          <a:pPr>
            <a:defRPr sz="1400" b="1" i="0" baseline="0">
              <a:solidFill>
                <a:sysClr val="windowText" lastClr="000000"/>
              </a:solidFill>
            </a:defRPr>
          </a:pPr>
          <a:endParaRPr lang="it-IT"/>
        </a:p>
      </c:txPr>
    </c:legend>
    <c:plotVisOnly val="1"/>
    <c:dispBlanksAs val="zero"/>
    <c:showDLblsOverMax val="0"/>
  </c:chart>
  <c:spPr>
    <a:ln>
      <a:solidFill>
        <a:schemeClr val="bg1">
          <a:lumMod val="50000"/>
        </a:schemeClr>
      </a:solidFill>
    </a:ln>
  </c:sp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5980971128608975E-2"/>
          <c:y val="0.21309662681053756"/>
          <c:w val="0.91285281647486538"/>
          <c:h val="0.59755738865975028"/>
        </c:manualLayout>
      </c:layout>
      <c:lineChart>
        <c:grouping val="standard"/>
        <c:varyColors val="0"/>
        <c:ser>
          <c:idx val="0"/>
          <c:order val="0"/>
          <c:tx>
            <c:strRef>
              <c:f>'3.27'!$M$11</c:f>
              <c:strCache>
                <c:ptCount val="1"/>
                <c:pt idx="0">
                  <c:v>Short</c:v>
                </c:pt>
              </c:strCache>
            </c:strRef>
          </c:tx>
          <c:spPr>
            <a:ln w="38100">
              <a:solidFill>
                <a:srgbClr val="666666"/>
              </a:solidFill>
            </a:ln>
          </c:spPr>
          <c:marker>
            <c:symbol val="none"/>
          </c:marker>
          <c:cat>
            <c:numRef>
              <c:f>'3.27'!$L$11:$L$62</c:f>
              <c:numCache>
                <c:formatCode>mmm\-yy</c:formatCode>
                <c:ptCount val="52"/>
                <c:pt idx="1">
                  <c:v>37226</c:v>
                </c:pt>
                <c:pt idx="2">
                  <c:v>37591</c:v>
                </c:pt>
                <c:pt idx="3">
                  <c:v>37956</c:v>
                </c:pt>
                <c:pt idx="4">
                  <c:v>38322</c:v>
                </c:pt>
                <c:pt idx="5">
                  <c:v>38687</c:v>
                </c:pt>
                <c:pt idx="6">
                  <c:v>39052</c:v>
                </c:pt>
                <c:pt idx="7">
                  <c:v>39417</c:v>
                </c:pt>
                <c:pt idx="8">
                  <c:v>39692</c:v>
                </c:pt>
                <c:pt idx="9">
                  <c:v>39783</c:v>
                </c:pt>
                <c:pt idx="10">
                  <c:v>39814</c:v>
                </c:pt>
                <c:pt idx="11">
                  <c:v>39845</c:v>
                </c:pt>
                <c:pt idx="12">
                  <c:v>39873</c:v>
                </c:pt>
                <c:pt idx="13">
                  <c:v>39904</c:v>
                </c:pt>
                <c:pt idx="14">
                  <c:v>39934</c:v>
                </c:pt>
                <c:pt idx="15">
                  <c:v>39965</c:v>
                </c:pt>
                <c:pt idx="16">
                  <c:v>39995</c:v>
                </c:pt>
                <c:pt idx="17">
                  <c:v>40026</c:v>
                </c:pt>
                <c:pt idx="18">
                  <c:v>40057</c:v>
                </c:pt>
                <c:pt idx="19">
                  <c:v>40087</c:v>
                </c:pt>
                <c:pt idx="20">
                  <c:v>40118</c:v>
                </c:pt>
                <c:pt idx="21">
                  <c:v>40148</c:v>
                </c:pt>
                <c:pt idx="22">
                  <c:v>40179</c:v>
                </c:pt>
                <c:pt idx="23">
                  <c:v>40210</c:v>
                </c:pt>
                <c:pt idx="24">
                  <c:v>40238</c:v>
                </c:pt>
                <c:pt idx="25">
                  <c:v>40269</c:v>
                </c:pt>
                <c:pt idx="26">
                  <c:v>40299</c:v>
                </c:pt>
                <c:pt idx="27">
                  <c:v>40330</c:v>
                </c:pt>
                <c:pt idx="28">
                  <c:v>40360</c:v>
                </c:pt>
                <c:pt idx="29">
                  <c:v>40391</c:v>
                </c:pt>
                <c:pt idx="30">
                  <c:v>40422</c:v>
                </c:pt>
                <c:pt idx="31">
                  <c:v>40452</c:v>
                </c:pt>
                <c:pt idx="32">
                  <c:v>40483</c:v>
                </c:pt>
                <c:pt idx="33">
                  <c:v>40513</c:v>
                </c:pt>
                <c:pt idx="34">
                  <c:v>40544</c:v>
                </c:pt>
                <c:pt idx="35">
                  <c:v>40575</c:v>
                </c:pt>
                <c:pt idx="36">
                  <c:v>40603</c:v>
                </c:pt>
                <c:pt idx="37">
                  <c:v>40634</c:v>
                </c:pt>
                <c:pt idx="38">
                  <c:v>40664</c:v>
                </c:pt>
                <c:pt idx="39">
                  <c:v>40695</c:v>
                </c:pt>
                <c:pt idx="40">
                  <c:v>40725</c:v>
                </c:pt>
                <c:pt idx="41">
                  <c:v>40756</c:v>
                </c:pt>
                <c:pt idx="42">
                  <c:v>40787</c:v>
                </c:pt>
                <c:pt idx="43">
                  <c:v>40817</c:v>
                </c:pt>
                <c:pt idx="44">
                  <c:v>40848</c:v>
                </c:pt>
                <c:pt idx="45">
                  <c:v>40878</c:v>
                </c:pt>
                <c:pt idx="46">
                  <c:v>40909</c:v>
                </c:pt>
                <c:pt idx="47">
                  <c:v>40940</c:v>
                </c:pt>
                <c:pt idx="48">
                  <c:v>40969</c:v>
                </c:pt>
                <c:pt idx="49">
                  <c:v>41000</c:v>
                </c:pt>
                <c:pt idx="50">
                  <c:v>41030</c:v>
                </c:pt>
                <c:pt idx="51">
                  <c:v>41061</c:v>
                </c:pt>
              </c:numCache>
            </c:numRef>
          </c:cat>
          <c:val>
            <c:numRef>
              <c:f>'3.27'!$M$11:$M$62</c:f>
              <c:numCache>
                <c:formatCode>0.0</c:formatCode>
                <c:ptCount val="52"/>
                <c:pt idx="0" formatCode="General">
                  <c:v>0</c:v>
                </c:pt>
                <c:pt idx="1">
                  <c:v>70.920468479134101</c:v>
                </c:pt>
                <c:pt idx="2">
                  <c:v>66.408732823060447</c:v>
                </c:pt>
                <c:pt idx="3">
                  <c:v>49.52142604802588</c:v>
                </c:pt>
                <c:pt idx="4">
                  <c:v>41.605515546605865</c:v>
                </c:pt>
                <c:pt idx="5">
                  <c:v>36.074627589400997</c:v>
                </c:pt>
                <c:pt idx="6">
                  <c:v>31.571848427935105</c:v>
                </c:pt>
                <c:pt idx="7">
                  <c:v>23.96540170211096</c:v>
                </c:pt>
                <c:pt idx="8">
                  <c:v>23.8</c:v>
                </c:pt>
                <c:pt idx="9">
                  <c:v>23.057382205084899</c:v>
                </c:pt>
                <c:pt idx="10">
                  <c:v>23.17</c:v>
                </c:pt>
                <c:pt idx="11">
                  <c:v>23.43</c:v>
                </c:pt>
                <c:pt idx="12">
                  <c:v>23.44013274331914</c:v>
                </c:pt>
                <c:pt idx="13">
                  <c:v>23.79</c:v>
                </c:pt>
                <c:pt idx="14">
                  <c:v>23.41</c:v>
                </c:pt>
                <c:pt idx="15">
                  <c:v>23.02</c:v>
                </c:pt>
                <c:pt idx="16">
                  <c:v>22.8</c:v>
                </c:pt>
                <c:pt idx="17">
                  <c:v>22.75</c:v>
                </c:pt>
                <c:pt idx="18">
                  <c:v>22.9</c:v>
                </c:pt>
                <c:pt idx="19">
                  <c:v>22.830000000000005</c:v>
                </c:pt>
                <c:pt idx="20">
                  <c:v>22.93</c:v>
                </c:pt>
                <c:pt idx="21">
                  <c:v>22.939999999999987</c:v>
                </c:pt>
                <c:pt idx="22">
                  <c:v>23.29</c:v>
                </c:pt>
                <c:pt idx="23">
                  <c:v>23.630000000000031</c:v>
                </c:pt>
                <c:pt idx="24">
                  <c:v>23.54</c:v>
                </c:pt>
                <c:pt idx="25">
                  <c:v>23.460199459468626</c:v>
                </c:pt>
                <c:pt idx="26">
                  <c:v>23.340411526442793</c:v>
                </c:pt>
                <c:pt idx="27">
                  <c:v>22.990110948826125</c:v>
                </c:pt>
                <c:pt idx="28">
                  <c:v>22.983915250637523</c:v>
                </c:pt>
                <c:pt idx="29">
                  <c:v>22.749528573547256</c:v>
                </c:pt>
                <c:pt idx="30">
                  <c:v>22.586970165512035</c:v>
                </c:pt>
                <c:pt idx="31">
                  <c:v>22.715972623774153</c:v>
                </c:pt>
                <c:pt idx="32">
                  <c:v>22.527460636027719</c:v>
                </c:pt>
                <c:pt idx="33">
                  <c:v>21.922887274144976</c:v>
                </c:pt>
                <c:pt idx="34">
                  <c:v>22.157638373969029</c:v>
                </c:pt>
                <c:pt idx="35">
                  <c:v>22.298896967725902</c:v>
                </c:pt>
                <c:pt idx="36">
                  <c:v>22.27190601917566</c:v>
                </c:pt>
                <c:pt idx="37">
                  <c:v>22.690824679291385</c:v>
                </c:pt>
                <c:pt idx="38">
                  <c:v>22.537970261343684</c:v>
                </c:pt>
                <c:pt idx="39">
                  <c:v>22.786449496398532</c:v>
                </c:pt>
                <c:pt idx="40">
                  <c:v>23.18500834880653</c:v>
                </c:pt>
                <c:pt idx="41">
                  <c:v>23.176826187131727</c:v>
                </c:pt>
                <c:pt idx="42">
                  <c:v>23.505720964344682</c:v>
                </c:pt>
                <c:pt idx="43">
                  <c:v>23.669048376318873</c:v>
                </c:pt>
                <c:pt idx="44">
                  <c:v>23.717456672192014</c:v>
                </c:pt>
                <c:pt idx="45">
                  <c:v>23.649428727328324</c:v>
                </c:pt>
                <c:pt idx="46">
                  <c:v>24.416964559243265</c:v>
                </c:pt>
                <c:pt idx="47">
                  <c:v>24.463623712649689</c:v>
                </c:pt>
                <c:pt idx="48">
                  <c:v>24.748062620041789</c:v>
                </c:pt>
                <c:pt idx="49">
                  <c:v>24.624971521330565</c:v>
                </c:pt>
                <c:pt idx="50">
                  <c:v>24.592712102784724</c:v>
                </c:pt>
                <c:pt idx="51">
                  <c:v>25.029680280844129</c:v>
                </c:pt>
              </c:numCache>
            </c:numRef>
          </c:val>
          <c:smooth val="0"/>
        </c:ser>
        <c:ser>
          <c:idx val="1"/>
          <c:order val="1"/>
          <c:tx>
            <c:strRef>
              <c:f>'3.27'!$N$11</c:f>
              <c:strCache>
                <c:ptCount val="1"/>
                <c:pt idx="0">
                  <c:v>Medium</c:v>
                </c:pt>
              </c:strCache>
            </c:strRef>
          </c:tx>
          <c:spPr>
            <a:ln w="38100">
              <a:solidFill>
                <a:srgbClr val="FF5200"/>
              </a:solidFill>
            </a:ln>
          </c:spPr>
          <c:marker>
            <c:symbol val="none"/>
          </c:marker>
          <c:cat>
            <c:numRef>
              <c:f>'3.27'!$L$11:$L$62</c:f>
              <c:numCache>
                <c:formatCode>mmm\-yy</c:formatCode>
                <c:ptCount val="52"/>
                <c:pt idx="1">
                  <c:v>37226</c:v>
                </c:pt>
                <c:pt idx="2">
                  <c:v>37591</c:v>
                </c:pt>
                <c:pt idx="3">
                  <c:v>37956</c:v>
                </c:pt>
                <c:pt idx="4">
                  <c:v>38322</c:v>
                </c:pt>
                <c:pt idx="5">
                  <c:v>38687</c:v>
                </c:pt>
                <c:pt idx="6">
                  <c:v>39052</c:v>
                </c:pt>
                <c:pt idx="7">
                  <c:v>39417</c:v>
                </c:pt>
                <c:pt idx="8">
                  <c:v>39692</c:v>
                </c:pt>
                <c:pt idx="9">
                  <c:v>39783</c:v>
                </c:pt>
                <c:pt idx="10">
                  <c:v>39814</c:v>
                </c:pt>
                <c:pt idx="11">
                  <c:v>39845</c:v>
                </c:pt>
                <c:pt idx="12">
                  <c:v>39873</c:v>
                </c:pt>
                <c:pt idx="13">
                  <c:v>39904</c:v>
                </c:pt>
                <c:pt idx="14">
                  <c:v>39934</c:v>
                </c:pt>
                <c:pt idx="15">
                  <c:v>39965</c:v>
                </c:pt>
                <c:pt idx="16">
                  <c:v>39995</c:v>
                </c:pt>
                <c:pt idx="17">
                  <c:v>40026</c:v>
                </c:pt>
                <c:pt idx="18">
                  <c:v>40057</c:v>
                </c:pt>
                <c:pt idx="19">
                  <c:v>40087</c:v>
                </c:pt>
                <c:pt idx="20">
                  <c:v>40118</c:v>
                </c:pt>
                <c:pt idx="21">
                  <c:v>40148</c:v>
                </c:pt>
                <c:pt idx="22">
                  <c:v>40179</c:v>
                </c:pt>
                <c:pt idx="23">
                  <c:v>40210</c:v>
                </c:pt>
                <c:pt idx="24">
                  <c:v>40238</c:v>
                </c:pt>
                <c:pt idx="25">
                  <c:v>40269</c:v>
                </c:pt>
                <c:pt idx="26">
                  <c:v>40299</c:v>
                </c:pt>
                <c:pt idx="27">
                  <c:v>40330</c:v>
                </c:pt>
                <c:pt idx="28">
                  <c:v>40360</c:v>
                </c:pt>
                <c:pt idx="29">
                  <c:v>40391</c:v>
                </c:pt>
                <c:pt idx="30">
                  <c:v>40422</c:v>
                </c:pt>
                <c:pt idx="31">
                  <c:v>40452</c:v>
                </c:pt>
                <c:pt idx="32">
                  <c:v>40483</c:v>
                </c:pt>
                <c:pt idx="33">
                  <c:v>40513</c:v>
                </c:pt>
                <c:pt idx="34">
                  <c:v>40544</c:v>
                </c:pt>
                <c:pt idx="35">
                  <c:v>40575</c:v>
                </c:pt>
                <c:pt idx="36">
                  <c:v>40603</c:v>
                </c:pt>
                <c:pt idx="37">
                  <c:v>40634</c:v>
                </c:pt>
                <c:pt idx="38">
                  <c:v>40664</c:v>
                </c:pt>
                <c:pt idx="39">
                  <c:v>40695</c:v>
                </c:pt>
                <c:pt idx="40">
                  <c:v>40725</c:v>
                </c:pt>
                <c:pt idx="41">
                  <c:v>40756</c:v>
                </c:pt>
                <c:pt idx="42">
                  <c:v>40787</c:v>
                </c:pt>
                <c:pt idx="43">
                  <c:v>40817</c:v>
                </c:pt>
                <c:pt idx="44">
                  <c:v>40848</c:v>
                </c:pt>
                <c:pt idx="45">
                  <c:v>40878</c:v>
                </c:pt>
                <c:pt idx="46">
                  <c:v>40909</c:v>
                </c:pt>
                <c:pt idx="47">
                  <c:v>40940</c:v>
                </c:pt>
                <c:pt idx="48">
                  <c:v>40969</c:v>
                </c:pt>
                <c:pt idx="49">
                  <c:v>41000</c:v>
                </c:pt>
                <c:pt idx="50">
                  <c:v>41030</c:v>
                </c:pt>
                <c:pt idx="51">
                  <c:v>41061</c:v>
                </c:pt>
              </c:numCache>
            </c:numRef>
          </c:cat>
          <c:val>
            <c:numRef>
              <c:f>'3.27'!$N$11:$N$62</c:f>
              <c:numCache>
                <c:formatCode>0.0</c:formatCode>
                <c:ptCount val="52"/>
                <c:pt idx="0" formatCode="General">
                  <c:v>0</c:v>
                </c:pt>
                <c:pt idx="1">
                  <c:v>20.875227263117786</c:v>
                </c:pt>
                <c:pt idx="2">
                  <c:v>26.065865449174201</c:v>
                </c:pt>
                <c:pt idx="3">
                  <c:v>38.162434503547594</c:v>
                </c:pt>
                <c:pt idx="4">
                  <c:v>42.057505619401901</c:v>
                </c:pt>
                <c:pt idx="5">
                  <c:v>37.065493100225211</c:v>
                </c:pt>
                <c:pt idx="6">
                  <c:v>27.688693797799289</c:v>
                </c:pt>
                <c:pt idx="7">
                  <c:v>23.838259638400999</c:v>
                </c:pt>
                <c:pt idx="8">
                  <c:v>21.47</c:v>
                </c:pt>
                <c:pt idx="9">
                  <c:v>21.391134548766189</c:v>
                </c:pt>
                <c:pt idx="10">
                  <c:v>21.130000000000031</c:v>
                </c:pt>
                <c:pt idx="11">
                  <c:v>20.919999999999987</c:v>
                </c:pt>
                <c:pt idx="12">
                  <c:v>20.732950804623087</c:v>
                </c:pt>
                <c:pt idx="13">
                  <c:v>20.43</c:v>
                </c:pt>
                <c:pt idx="14">
                  <c:v>20.59</c:v>
                </c:pt>
                <c:pt idx="15">
                  <c:v>20.810000000000031</c:v>
                </c:pt>
                <c:pt idx="16">
                  <c:v>20.650000000000031</c:v>
                </c:pt>
                <c:pt idx="17">
                  <c:v>20.74</c:v>
                </c:pt>
                <c:pt idx="18">
                  <c:v>20.67</c:v>
                </c:pt>
                <c:pt idx="19">
                  <c:v>20.49</c:v>
                </c:pt>
                <c:pt idx="20">
                  <c:v>19.829999999999988</c:v>
                </c:pt>
                <c:pt idx="21">
                  <c:v>19.989999999999956</c:v>
                </c:pt>
                <c:pt idx="22">
                  <c:v>20.14</c:v>
                </c:pt>
                <c:pt idx="23">
                  <c:v>20.130000000000031</c:v>
                </c:pt>
                <c:pt idx="24">
                  <c:v>19.7</c:v>
                </c:pt>
                <c:pt idx="25">
                  <c:v>19.664898508097536</c:v>
                </c:pt>
                <c:pt idx="26">
                  <c:v>19.790499925902989</c:v>
                </c:pt>
                <c:pt idx="27">
                  <c:v>19.68280276591738</c:v>
                </c:pt>
                <c:pt idx="28">
                  <c:v>19.971175463439831</c:v>
                </c:pt>
                <c:pt idx="29">
                  <c:v>20.059123329782793</c:v>
                </c:pt>
                <c:pt idx="30">
                  <c:v>20.383012593150077</c:v>
                </c:pt>
                <c:pt idx="31">
                  <c:v>20.333751699410794</c:v>
                </c:pt>
                <c:pt idx="32">
                  <c:v>20.478451594782527</c:v>
                </c:pt>
                <c:pt idx="33">
                  <c:v>20.371764831796099</c:v>
                </c:pt>
                <c:pt idx="34">
                  <c:v>20.193257542476591</c:v>
                </c:pt>
                <c:pt idx="35">
                  <c:v>20.253989732391727</c:v>
                </c:pt>
                <c:pt idx="36">
                  <c:v>20.512560276333385</c:v>
                </c:pt>
                <c:pt idx="37">
                  <c:v>20.378643860720771</c:v>
                </c:pt>
                <c:pt idx="38">
                  <c:v>20.277113927878535</c:v>
                </c:pt>
                <c:pt idx="39">
                  <c:v>20.279699004592032</c:v>
                </c:pt>
                <c:pt idx="40">
                  <c:v>20.213786849206226</c:v>
                </c:pt>
                <c:pt idx="41">
                  <c:v>20.271894079523786</c:v>
                </c:pt>
                <c:pt idx="42">
                  <c:v>20.256991787968488</c:v>
                </c:pt>
                <c:pt idx="43">
                  <c:v>20.135528071312827</c:v>
                </c:pt>
                <c:pt idx="44">
                  <c:v>20.03105215421531</c:v>
                </c:pt>
                <c:pt idx="45">
                  <c:v>19.891175055629791</c:v>
                </c:pt>
                <c:pt idx="46">
                  <c:v>19.363676301346587</c:v>
                </c:pt>
                <c:pt idx="47">
                  <c:v>19.344302835599059</c:v>
                </c:pt>
                <c:pt idx="48">
                  <c:v>19.449913324806932</c:v>
                </c:pt>
                <c:pt idx="49">
                  <c:v>19.675512260067165</c:v>
                </c:pt>
                <c:pt idx="50">
                  <c:v>19.865847526065629</c:v>
                </c:pt>
                <c:pt idx="51">
                  <c:v>20.079766855669252</c:v>
                </c:pt>
              </c:numCache>
            </c:numRef>
          </c:val>
          <c:smooth val="0"/>
        </c:ser>
        <c:ser>
          <c:idx val="2"/>
          <c:order val="2"/>
          <c:tx>
            <c:strRef>
              <c:f>'3.27'!$O$11</c:f>
              <c:strCache>
                <c:ptCount val="1"/>
                <c:pt idx="0">
                  <c:v>Long</c:v>
                </c:pt>
              </c:strCache>
            </c:strRef>
          </c:tx>
          <c:spPr>
            <a:ln w="38100">
              <a:solidFill>
                <a:srgbClr val="99CC00"/>
              </a:solidFill>
            </a:ln>
          </c:spPr>
          <c:marker>
            <c:symbol val="none"/>
          </c:marker>
          <c:cat>
            <c:numRef>
              <c:f>'3.27'!$L$11:$L$62</c:f>
              <c:numCache>
                <c:formatCode>mmm\-yy</c:formatCode>
                <c:ptCount val="52"/>
                <c:pt idx="1">
                  <c:v>37226</c:v>
                </c:pt>
                <c:pt idx="2">
                  <c:v>37591</c:v>
                </c:pt>
                <c:pt idx="3">
                  <c:v>37956</c:v>
                </c:pt>
                <c:pt idx="4">
                  <c:v>38322</c:v>
                </c:pt>
                <c:pt idx="5">
                  <c:v>38687</c:v>
                </c:pt>
                <c:pt idx="6">
                  <c:v>39052</c:v>
                </c:pt>
                <c:pt idx="7">
                  <c:v>39417</c:v>
                </c:pt>
                <c:pt idx="8">
                  <c:v>39692</c:v>
                </c:pt>
                <c:pt idx="9">
                  <c:v>39783</c:v>
                </c:pt>
                <c:pt idx="10">
                  <c:v>39814</c:v>
                </c:pt>
                <c:pt idx="11">
                  <c:v>39845</c:v>
                </c:pt>
                <c:pt idx="12">
                  <c:v>39873</c:v>
                </c:pt>
                <c:pt idx="13">
                  <c:v>39904</c:v>
                </c:pt>
                <c:pt idx="14">
                  <c:v>39934</c:v>
                </c:pt>
                <c:pt idx="15">
                  <c:v>39965</c:v>
                </c:pt>
                <c:pt idx="16">
                  <c:v>39995</c:v>
                </c:pt>
                <c:pt idx="17">
                  <c:v>40026</c:v>
                </c:pt>
                <c:pt idx="18">
                  <c:v>40057</c:v>
                </c:pt>
                <c:pt idx="19">
                  <c:v>40087</c:v>
                </c:pt>
                <c:pt idx="20">
                  <c:v>40118</c:v>
                </c:pt>
                <c:pt idx="21">
                  <c:v>40148</c:v>
                </c:pt>
                <c:pt idx="22">
                  <c:v>40179</c:v>
                </c:pt>
                <c:pt idx="23">
                  <c:v>40210</c:v>
                </c:pt>
                <c:pt idx="24">
                  <c:v>40238</c:v>
                </c:pt>
                <c:pt idx="25">
                  <c:v>40269</c:v>
                </c:pt>
                <c:pt idx="26">
                  <c:v>40299</c:v>
                </c:pt>
                <c:pt idx="27">
                  <c:v>40330</c:v>
                </c:pt>
                <c:pt idx="28">
                  <c:v>40360</c:v>
                </c:pt>
                <c:pt idx="29">
                  <c:v>40391</c:v>
                </c:pt>
                <c:pt idx="30">
                  <c:v>40422</c:v>
                </c:pt>
                <c:pt idx="31">
                  <c:v>40452</c:v>
                </c:pt>
                <c:pt idx="32">
                  <c:v>40483</c:v>
                </c:pt>
                <c:pt idx="33">
                  <c:v>40513</c:v>
                </c:pt>
                <c:pt idx="34">
                  <c:v>40544</c:v>
                </c:pt>
                <c:pt idx="35">
                  <c:v>40575</c:v>
                </c:pt>
                <c:pt idx="36">
                  <c:v>40603</c:v>
                </c:pt>
                <c:pt idx="37">
                  <c:v>40634</c:v>
                </c:pt>
                <c:pt idx="38">
                  <c:v>40664</c:v>
                </c:pt>
                <c:pt idx="39">
                  <c:v>40695</c:v>
                </c:pt>
                <c:pt idx="40">
                  <c:v>40725</c:v>
                </c:pt>
                <c:pt idx="41">
                  <c:v>40756</c:v>
                </c:pt>
                <c:pt idx="42">
                  <c:v>40787</c:v>
                </c:pt>
                <c:pt idx="43">
                  <c:v>40817</c:v>
                </c:pt>
                <c:pt idx="44">
                  <c:v>40848</c:v>
                </c:pt>
                <c:pt idx="45">
                  <c:v>40878</c:v>
                </c:pt>
                <c:pt idx="46">
                  <c:v>40909</c:v>
                </c:pt>
                <c:pt idx="47">
                  <c:v>40940</c:v>
                </c:pt>
                <c:pt idx="48">
                  <c:v>40969</c:v>
                </c:pt>
                <c:pt idx="49">
                  <c:v>41000</c:v>
                </c:pt>
                <c:pt idx="50">
                  <c:v>41030</c:v>
                </c:pt>
                <c:pt idx="51">
                  <c:v>41061</c:v>
                </c:pt>
              </c:numCache>
            </c:numRef>
          </c:cat>
          <c:val>
            <c:numRef>
              <c:f>'3.27'!$O$11:$O$62</c:f>
              <c:numCache>
                <c:formatCode>0.0</c:formatCode>
                <c:ptCount val="52"/>
                <c:pt idx="0" formatCode="General">
                  <c:v>0</c:v>
                </c:pt>
                <c:pt idx="1">
                  <c:v>8.2043042577481025</c:v>
                </c:pt>
                <c:pt idx="2">
                  <c:v>7.5254017277650886</c:v>
                </c:pt>
                <c:pt idx="3">
                  <c:v>12.316139448426625</c:v>
                </c:pt>
                <c:pt idx="4">
                  <c:v>16.336978833992443</c:v>
                </c:pt>
                <c:pt idx="5">
                  <c:v>26.859879310373699</c:v>
                </c:pt>
                <c:pt idx="6">
                  <c:v>40.739457774265702</c:v>
                </c:pt>
                <c:pt idx="7">
                  <c:v>52.196338659488113</c:v>
                </c:pt>
                <c:pt idx="8">
                  <c:v>54.730000000000011</c:v>
                </c:pt>
                <c:pt idx="9">
                  <c:v>55.551483246148898</c:v>
                </c:pt>
                <c:pt idx="10">
                  <c:v>55.7</c:v>
                </c:pt>
                <c:pt idx="11">
                  <c:v>55.65</c:v>
                </c:pt>
                <c:pt idx="12">
                  <c:v>55.826916452057702</c:v>
                </c:pt>
                <c:pt idx="13">
                  <c:v>55.78</c:v>
                </c:pt>
                <c:pt idx="14">
                  <c:v>56</c:v>
                </c:pt>
                <c:pt idx="15">
                  <c:v>56.17</c:v>
                </c:pt>
                <c:pt idx="16">
                  <c:v>56.55</c:v>
                </c:pt>
                <c:pt idx="17">
                  <c:v>56.51</c:v>
                </c:pt>
                <c:pt idx="18">
                  <c:v>56.43</c:v>
                </c:pt>
                <c:pt idx="19">
                  <c:v>56.68</c:v>
                </c:pt>
                <c:pt idx="20">
                  <c:v>57.24</c:v>
                </c:pt>
                <c:pt idx="21">
                  <c:v>57.07</c:v>
                </c:pt>
                <c:pt idx="22">
                  <c:v>56.57</c:v>
                </c:pt>
                <c:pt idx="23">
                  <c:v>56.24</c:v>
                </c:pt>
                <c:pt idx="24">
                  <c:v>56.760000000000012</c:v>
                </c:pt>
                <c:pt idx="25">
                  <c:v>56.874902032433873</c:v>
                </c:pt>
                <c:pt idx="26">
                  <c:v>56.869088547654194</c:v>
                </c:pt>
                <c:pt idx="27">
                  <c:v>57.327086285256314</c:v>
                </c:pt>
                <c:pt idx="28">
                  <c:v>57.044909285922593</c:v>
                </c:pt>
                <c:pt idx="29">
                  <c:v>57.191348096669913</c:v>
                </c:pt>
                <c:pt idx="30">
                  <c:v>57.030017241337852</c:v>
                </c:pt>
                <c:pt idx="31">
                  <c:v>56.950275676815096</c:v>
                </c:pt>
                <c:pt idx="32">
                  <c:v>56.99408776918974</c:v>
                </c:pt>
                <c:pt idx="33">
                  <c:v>57.705347894058974</c:v>
                </c:pt>
                <c:pt idx="34">
                  <c:v>57.649104083554391</c:v>
                </c:pt>
                <c:pt idx="35">
                  <c:v>57.44711329988229</c:v>
                </c:pt>
                <c:pt idx="36">
                  <c:v>57.215533704490987</c:v>
                </c:pt>
                <c:pt idx="37">
                  <c:v>56.93053145998779</c:v>
                </c:pt>
                <c:pt idx="38">
                  <c:v>57.184915810777909</c:v>
                </c:pt>
                <c:pt idx="39">
                  <c:v>56.9338514990093</c:v>
                </c:pt>
                <c:pt idx="40">
                  <c:v>56.601204801987194</c:v>
                </c:pt>
                <c:pt idx="41">
                  <c:v>56.551279733344337</c:v>
                </c:pt>
                <c:pt idx="42">
                  <c:v>56.237287247686844</c:v>
                </c:pt>
                <c:pt idx="43">
                  <c:v>56.195423552368275</c:v>
                </c:pt>
                <c:pt idx="44">
                  <c:v>56.251491173592541</c:v>
                </c:pt>
                <c:pt idx="45">
                  <c:v>56.459396217041927</c:v>
                </c:pt>
                <c:pt idx="46">
                  <c:v>56.21935913941013</c:v>
                </c:pt>
                <c:pt idx="47">
                  <c:v>56.192073451751199</c:v>
                </c:pt>
                <c:pt idx="48">
                  <c:v>55.802024055151193</c:v>
                </c:pt>
                <c:pt idx="49">
                  <c:v>55.699516218602312</c:v>
                </c:pt>
                <c:pt idx="50">
                  <c:v>55.541440371149527</c:v>
                </c:pt>
                <c:pt idx="51">
                  <c:v>54.890552863486555</c:v>
                </c:pt>
              </c:numCache>
            </c:numRef>
          </c:val>
          <c:smooth val="0"/>
        </c:ser>
        <c:dLbls>
          <c:showLegendKey val="0"/>
          <c:showVal val="0"/>
          <c:showCatName val="0"/>
          <c:showSerName val="0"/>
          <c:showPercent val="0"/>
          <c:showBubbleSize val="0"/>
        </c:dLbls>
        <c:marker val="1"/>
        <c:smooth val="0"/>
        <c:axId val="129097088"/>
        <c:axId val="129107072"/>
      </c:lineChart>
      <c:dateAx>
        <c:axId val="129097088"/>
        <c:scaling>
          <c:orientation val="minMax"/>
        </c:scaling>
        <c:delete val="0"/>
        <c:axPos val="b"/>
        <c:numFmt formatCode="mmm\-yy" sourceLinked="0"/>
        <c:majorTickMark val="out"/>
        <c:minorTickMark val="none"/>
        <c:tickLblPos val="nextTo"/>
        <c:crossAx val="129107072"/>
        <c:crosses val="autoZero"/>
        <c:auto val="1"/>
        <c:lblOffset val="100"/>
        <c:baseTimeUnit val="months"/>
        <c:majorUnit val="9"/>
        <c:majorTimeUnit val="months"/>
        <c:minorUnit val="3"/>
        <c:minorTimeUnit val="months"/>
      </c:dateAx>
      <c:valAx>
        <c:axId val="129107072"/>
        <c:scaling>
          <c:orientation val="minMax"/>
        </c:scaling>
        <c:delete val="0"/>
        <c:axPos val="l"/>
        <c:numFmt formatCode="General" sourceLinked="1"/>
        <c:majorTickMark val="out"/>
        <c:minorTickMark val="none"/>
        <c:tickLblPos val="nextTo"/>
        <c:crossAx val="129097088"/>
        <c:crosses val="autoZero"/>
        <c:crossBetween val="between"/>
        <c:majorUnit val="20"/>
        <c:minorUnit val="10"/>
      </c:valAx>
    </c:plotArea>
    <c:legend>
      <c:legendPos val="r"/>
      <c:layout>
        <c:manualLayout>
          <c:xMode val="edge"/>
          <c:yMode val="edge"/>
          <c:x val="0.41748993875765572"/>
          <c:y val="7.5592106644073814E-2"/>
          <c:w val="0.58120806694034899"/>
          <c:h val="0.18170713035870556"/>
        </c:manualLayout>
      </c:layout>
      <c:overlay val="0"/>
      <c:txPr>
        <a:bodyPr/>
        <a:lstStyle/>
        <a:p>
          <a:pPr>
            <a:defRPr sz="1410" baseline="0"/>
          </a:pPr>
          <a:endParaRPr lang="it-IT"/>
        </a:p>
      </c:txPr>
    </c:legend>
    <c:plotVisOnly val="1"/>
    <c:dispBlanksAs val="gap"/>
    <c:showDLblsOverMax val="0"/>
  </c:chart>
  <c:spPr>
    <a:ln>
      <a:solidFill>
        <a:schemeClr val="bg1">
          <a:lumMod val="50000"/>
        </a:schemeClr>
      </a:solidFill>
    </a:ln>
  </c:spPr>
  <c:txPr>
    <a:bodyPr/>
    <a:lstStyle/>
    <a:p>
      <a:pPr>
        <a:defRPr sz="1400"/>
      </a:pPr>
      <a:endParaRPr lang="it-IT"/>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373901550465963E-2"/>
          <c:y val="5.1400554097404488E-2"/>
          <c:w val="0.85859885203365438"/>
          <c:h val="0.74530475357247206"/>
        </c:manualLayout>
      </c:layout>
      <c:lineChart>
        <c:grouping val="standard"/>
        <c:varyColors val="0"/>
        <c:ser>
          <c:idx val="0"/>
          <c:order val="0"/>
          <c:tx>
            <c:strRef>
              <c:f>Sheet8!$B$1</c:f>
              <c:strCache>
                <c:ptCount val="1"/>
                <c:pt idx="0">
                  <c:v>EURIBOR 3M</c:v>
                </c:pt>
              </c:strCache>
            </c:strRef>
          </c:tx>
          <c:spPr>
            <a:ln>
              <a:solidFill>
                <a:srgbClr val="0A2972"/>
              </a:solidFill>
            </a:ln>
          </c:spPr>
          <c:marker>
            <c:symbol val="none"/>
          </c:marker>
          <c:cat>
            <c:numRef>
              <c:f>Sheet8!$A$2:$A$728</c:f>
              <c:numCache>
                <c:formatCode>[$-409]mmm\-yy;@</c:formatCode>
                <c:ptCount val="727"/>
                <c:pt idx="0">
                  <c:v>40182</c:v>
                </c:pt>
                <c:pt idx="1">
                  <c:v>40183</c:v>
                </c:pt>
                <c:pt idx="2">
                  <c:v>40184</c:v>
                </c:pt>
                <c:pt idx="3">
                  <c:v>40185</c:v>
                </c:pt>
                <c:pt idx="4">
                  <c:v>40186</c:v>
                </c:pt>
                <c:pt idx="5">
                  <c:v>40189</c:v>
                </c:pt>
                <c:pt idx="6">
                  <c:v>40190</c:v>
                </c:pt>
                <c:pt idx="7">
                  <c:v>40191</c:v>
                </c:pt>
                <c:pt idx="8">
                  <c:v>40192</c:v>
                </c:pt>
                <c:pt idx="9">
                  <c:v>40193</c:v>
                </c:pt>
                <c:pt idx="10">
                  <c:v>40196</c:v>
                </c:pt>
                <c:pt idx="11">
                  <c:v>40197</c:v>
                </c:pt>
                <c:pt idx="12">
                  <c:v>40198</c:v>
                </c:pt>
                <c:pt idx="13">
                  <c:v>40199</c:v>
                </c:pt>
                <c:pt idx="14">
                  <c:v>40200</c:v>
                </c:pt>
                <c:pt idx="15">
                  <c:v>40203</c:v>
                </c:pt>
                <c:pt idx="16">
                  <c:v>40204</c:v>
                </c:pt>
                <c:pt idx="17">
                  <c:v>40205</c:v>
                </c:pt>
                <c:pt idx="18">
                  <c:v>40206</c:v>
                </c:pt>
                <c:pt idx="19">
                  <c:v>40207</c:v>
                </c:pt>
                <c:pt idx="20">
                  <c:v>40210</c:v>
                </c:pt>
                <c:pt idx="21">
                  <c:v>40211</c:v>
                </c:pt>
                <c:pt idx="22">
                  <c:v>40212</c:v>
                </c:pt>
                <c:pt idx="23">
                  <c:v>40213</c:v>
                </c:pt>
                <c:pt idx="24">
                  <c:v>40214</c:v>
                </c:pt>
                <c:pt idx="25">
                  <c:v>40217</c:v>
                </c:pt>
                <c:pt idx="26">
                  <c:v>40218</c:v>
                </c:pt>
                <c:pt idx="27">
                  <c:v>40219</c:v>
                </c:pt>
                <c:pt idx="28">
                  <c:v>40220</c:v>
                </c:pt>
                <c:pt idx="29">
                  <c:v>40221</c:v>
                </c:pt>
                <c:pt idx="30">
                  <c:v>40224</c:v>
                </c:pt>
                <c:pt idx="31">
                  <c:v>40225</c:v>
                </c:pt>
                <c:pt idx="32">
                  <c:v>40226</c:v>
                </c:pt>
                <c:pt idx="33">
                  <c:v>40227</c:v>
                </c:pt>
                <c:pt idx="34">
                  <c:v>40228</c:v>
                </c:pt>
                <c:pt idx="35">
                  <c:v>40231</c:v>
                </c:pt>
                <c:pt idx="36">
                  <c:v>40232</c:v>
                </c:pt>
                <c:pt idx="37">
                  <c:v>40233</c:v>
                </c:pt>
                <c:pt idx="38">
                  <c:v>40234</c:v>
                </c:pt>
                <c:pt idx="39">
                  <c:v>40235</c:v>
                </c:pt>
                <c:pt idx="40">
                  <c:v>40238</c:v>
                </c:pt>
                <c:pt idx="41">
                  <c:v>40239</c:v>
                </c:pt>
                <c:pt idx="42">
                  <c:v>40240</c:v>
                </c:pt>
                <c:pt idx="43">
                  <c:v>40241</c:v>
                </c:pt>
                <c:pt idx="44">
                  <c:v>40242</c:v>
                </c:pt>
                <c:pt idx="45">
                  <c:v>40245</c:v>
                </c:pt>
                <c:pt idx="46">
                  <c:v>40246</c:v>
                </c:pt>
                <c:pt idx="47">
                  <c:v>40247</c:v>
                </c:pt>
                <c:pt idx="48">
                  <c:v>40248</c:v>
                </c:pt>
                <c:pt idx="49">
                  <c:v>40249</c:v>
                </c:pt>
                <c:pt idx="50">
                  <c:v>40252</c:v>
                </c:pt>
                <c:pt idx="51">
                  <c:v>40253</c:v>
                </c:pt>
                <c:pt idx="52">
                  <c:v>40254</c:v>
                </c:pt>
                <c:pt idx="53">
                  <c:v>40255</c:v>
                </c:pt>
                <c:pt idx="54">
                  <c:v>40256</c:v>
                </c:pt>
                <c:pt idx="55">
                  <c:v>40259</c:v>
                </c:pt>
                <c:pt idx="56">
                  <c:v>40260</c:v>
                </c:pt>
                <c:pt idx="57">
                  <c:v>40261</c:v>
                </c:pt>
                <c:pt idx="58">
                  <c:v>40262</c:v>
                </c:pt>
                <c:pt idx="59">
                  <c:v>40263</c:v>
                </c:pt>
                <c:pt idx="60">
                  <c:v>40266</c:v>
                </c:pt>
                <c:pt idx="61">
                  <c:v>40267</c:v>
                </c:pt>
                <c:pt idx="62">
                  <c:v>40268</c:v>
                </c:pt>
                <c:pt idx="63">
                  <c:v>40269</c:v>
                </c:pt>
                <c:pt idx="64">
                  <c:v>40270</c:v>
                </c:pt>
                <c:pt idx="65">
                  <c:v>40273</c:v>
                </c:pt>
                <c:pt idx="66">
                  <c:v>40274</c:v>
                </c:pt>
                <c:pt idx="67">
                  <c:v>40275</c:v>
                </c:pt>
                <c:pt idx="68">
                  <c:v>40276</c:v>
                </c:pt>
                <c:pt idx="69">
                  <c:v>40277</c:v>
                </c:pt>
                <c:pt idx="70">
                  <c:v>40280</c:v>
                </c:pt>
                <c:pt idx="71">
                  <c:v>40281</c:v>
                </c:pt>
                <c:pt idx="72">
                  <c:v>40282</c:v>
                </c:pt>
                <c:pt idx="73">
                  <c:v>40283</c:v>
                </c:pt>
                <c:pt idx="74">
                  <c:v>40284</c:v>
                </c:pt>
                <c:pt idx="75">
                  <c:v>40287</c:v>
                </c:pt>
                <c:pt idx="76">
                  <c:v>40288</c:v>
                </c:pt>
                <c:pt idx="77">
                  <c:v>40289</c:v>
                </c:pt>
                <c:pt idx="78">
                  <c:v>40290</c:v>
                </c:pt>
                <c:pt idx="79">
                  <c:v>40291</c:v>
                </c:pt>
                <c:pt idx="80">
                  <c:v>40294</c:v>
                </c:pt>
                <c:pt idx="81">
                  <c:v>40295</c:v>
                </c:pt>
                <c:pt idx="82">
                  <c:v>40296</c:v>
                </c:pt>
                <c:pt idx="83">
                  <c:v>40297</c:v>
                </c:pt>
                <c:pt idx="84">
                  <c:v>40298</c:v>
                </c:pt>
                <c:pt idx="85">
                  <c:v>40301</c:v>
                </c:pt>
                <c:pt idx="86">
                  <c:v>40302</c:v>
                </c:pt>
                <c:pt idx="87">
                  <c:v>40303</c:v>
                </c:pt>
                <c:pt idx="88">
                  <c:v>40304</c:v>
                </c:pt>
                <c:pt idx="89">
                  <c:v>40305</c:v>
                </c:pt>
                <c:pt idx="90">
                  <c:v>40308</c:v>
                </c:pt>
                <c:pt idx="91">
                  <c:v>40309</c:v>
                </c:pt>
                <c:pt idx="92">
                  <c:v>40310</c:v>
                </c:pt>
                <c:pt idx="93">
                  <c:v>40311</c:v>
                </c:pt>
                <c:pt idx="94">
                  <c:v>40312</c:v>
                </c:pt>
                <c:pt idx="95">
                  <c:v>40315</c:v>
                </c:pt>
                <c:pt idx="96">
                  <c:v>40316</c:v>
                </c:pt>
                <c:pt idx="97">
                  <c:v>40317</c:v>
                </c:pt>
                <c:pt idx="98">
                  <c:v>40318</c:v>
                </c:pt>
                <c:pt idx="99">
                  <c:v>40319</c:v>
                </c:pt>
                <c:pt idx="100">
                  <c:v>40322</c:v>
                </c:pt>
                <c:pt idx="101">
                  <c:v>40323</c:v>
                </c:pt>
                <c:pt idx="102">
                  <c:v>40324</c:v>
                </c:pt>
                <c:pt idx="103">
                  <c:v>40325</c:v>
                </c:pt>
                <c:pt idx="104">
                  <c:v>40326</c:v>
                </c:pt>
                <c:pt idx="105">
                  <c:v>40329</c:v>
                </c:pt>
                <c:pt idx="106">
                  <c:v>40330</c:v>
                </c:pt>
                <c:pt idx="107">
                  <c:v>40331</c:v>
                </c:pt>
                <c:pt idx="108">
                  <c:v>40332</c:v>
                </c:pt>
                <c:pt idx="109">
                  <c:v>40333</c:v>
                </c:pt>
                <c:pt idx="110">
                  <c:v>40336</c:v>
                </c:pt>
                <c:pt idx="111">
                  <c:v>40337</c:v>
                </c:pt>
                <c:pt idx="112">
                  <c:v>40338</c:v>
                </c:pt>
                <c:pt idx="113">
                  <c:v>40339</c:v>
                </c:pt>
                <c:pt idx="114">
                  <c:v>40340</c:v>
                </c:pt>
                <c:pt idx="115">
                  <c:v>40343</c:v>
                </c:pt>
                <c:pt idx="116">
                  <c:v>40344</c:v>
                </c:pt>
                <c:pt idx="117">
                  <c:v>40345</c:v>
                </c:pt>
                <c:pt idx="118">
                  <c:v>40346</c:v>
                </c:pt>
                <c:pt idx="119">
                  <c:v>40347</c:v>
                </c:pt>
                <c:pt idx="120">
                  <c:v>40350</c:v>
                </c:pt>
                <c:pt idx="121">
                  <c:v>40351</c:v>
                </c:pt>
                <c:pt idx="122">
                  <c:v>40352</c:v>
                </c:pt>
                <c:pt idx="123">
                  <c:v>40353</c:v>
                </c:pt>
                <c:pt idx="124">
                  <c:v>40354</c:v>
                </c:pt>
                <c:pt idx="125">
                  <c:v>40357</c:v>
                </c:pt>
                <c:pt idx="126">
                  <c:v>40358</c:v>
                </c:pt>
                <c:pt idx="127">
                  <c:v>40359</c:v>
                </c:pt>
                <c:pt idx="128">
                  <c:v>40360</c:v>
                </c:pt>
                <c:pt idx="129">
                  <c:v>40361</c:v>
                </c:pt>
                <c:pt idx="130">
                  <c:v>40364</c:v>
                </c:pt>
                <c:pt idx="131">
                  <c:v>40365</c:v>
                </c:pt>
                <c:pt idx="132">
                  <c:v>40366</c:v>
                </c:pt>
                <c:pt idx="133">
                  <c:v>40367</c:v>
                </c:pt>
                <c:pt idx="134">
                  <c:v>40368</c:v>
                </c:pt>
                <c:pt idx="135">
                  <c:v>40371</c:v>
                </c:pt>
                <c:pt idx="136">
                  <c:v>40372</c:v>
                </c:pt>
                <c:pt idx="137">
                  <c:v>40373</c:v>
                </c:pt>
                <c:pt idx="138">
                  <c:v>40374</c:v>
                </c:pt>
                <c:pt idx="139">
                  <c:v>40375</c:v>
                </c:pt>
                <c:pt idx="140">
                  <c:v>40378</c:v>
                </c:pt>
                <c:pt idx="141">
                  <c:v>40379</c:v>
                </c:pt>
                <c:pt idx="142">
                  <c:v>40380</c:v>
                </c:pt>
                <c:pt idx="143">
                  <c:v>40381</c:v>
                </c:pt>
                <c:pt idx="144">
                  <c:v>40382</c:v>
                </c:pt>
                <c:pt idx="145">
                  <c:v>40385</c:v>
                </c:pt>
                <c:pt idx="146">
                  <c:v>40386</c:v>
                </c:pt>
                <c:pt idx="147">
                  <c:v>40387</c:v>
                </c:pt>
                <c:pt idx="148">
                  <c:v>40388</c:v>
                </c:pt>
                <c:pt idx="149">
                  <c:v>40389</c:v>
                </c:pt>
                <c:pt idx="150">
                  <c:v>40392</c:v>
                </c:pt>
                <c:pt idx="151">
                  <c:v>40393</c:v>
                </c:pt>
                <c:pt idx="152">
                  <c:v>40394</c:v>
                </c:pt>
                <c:pt idx="153">
                  <c:v>40395</c:v>
                </c:pt>
                <c:pt idx="154">
                  <c:v>40396</c:v>
                </c:pt>
                <c:pt idx="155">
                  <c:v>40399</c:v>
                </c:pt>
                <c:pt idx="156">
                  <c:v>40400</c:v>
                </c:pt>
                <c:pt idx="157">
                  <c:v>40401</c:v>
                </c:pt>
                <c:pt idx="158">
                  <c:v>40402</c:v>
                </c:pt>
                <c:pt idx="159">
                  <c:v>40403</c:v>
                </c:pt>
                <c:pt idx="160">
                  <c:v>40406</c:v>
                </c:pt>
                <c:pt idx="161">
                  <c:v>40407</c:v>
                </c:pt>
                <c:pt idx="162">
                  <c:v>40408</c:v>
                </c:pt>
                <c:pt idx="163">
                  <c:v>40409</c:v>
                </c:pt>
                <c:pt idx="164">
                  <c:v>40410</c:v>
                </c:pt>
                <c:pt idx="165">
                  <c:v>40413</c:v>
                </c:pt>
                <c:pt idx="166">
                  <c:v>40414</c:v>
                </c:pt>
                <c:pt idx="167">
                  <c:v>40415</c:v>
                </c:pt>
                <c:pt idx="168">
                  <c:v>40416</c:v>
                </c:pt>
                <c:pt idx="169">
                  <c:v>40417</c:v>
                </c:pt>
                <c:pt idx="170">
                  <c:v>40420</c:v>
                </c:pt>
                <c:pt idx="171">
                  <c:v>40421</c:v>
                </c:pt>
                <c:pt idx="172">
                  <c:v>40422</c:v>
                </c:pt>
                <c:pt idx="173">
                  <c:v>40423</c:v>
                </c:pt>
                <c:pt idx="174">
                  <c:v>40424</c:v>
                </c:pt>
                <c:pt idx="175">
                  <c:v>40427</c:v>
                </c:pt>
                <c:pt idx="176">
                  <c:v>40428</c:v>
                </c:pt>
                <c:pt idx="177">
                  <c:v>40429</c:v>
                </c:pt>
                <c:pt idx="178">
                  <c:v>40430</c:v>
                </c:pt>
                <c:pt idx="179">
                  <c:v>40431</c:v>
                </c:pt>
                <c:pt idx="180">
                  <c:v>40434</c:v>
                </c:pt>
                <c:pt idx="181">
                  <c:v>40435</c:v>
                </c:pt>
                <c:pt idx="182">
                  <c:v>40436</c:v>
                </c:pt>
                <c:pt idx="183">
                  <c:v>40437</c:v>
                </c:pt>
                <c:pt idx="184">
                  <c:v>40438</c:v>
                </c:pt>
                <c:pt idx="185">
                  <c:v>40441</c:v>
                </c:pt>
                <c:pt idx="186">
                  <c:v>40442</c:v>
                </c:pt>
                <c:pt idx="187">
                  <c:v>40443</c:v>
                </c:pt>
                <c:pt idx="188">
                  <c:v>40444</c:v>
                </c:pt>
                <c:pt idx="189">
                  <c:v>40445</c:v>
                </c:pt>
                <c:pt idx="190">
                  <c:v>40448</c:v>
                </c:pt>
                <c:pt idx="191">
                  <c:v>40449</c:v>
                </c:pt>
                <c:pt idx="192">
                  <c:v>40450</c:v>
                </c:pt>
                <c:pt idx="193">
                  <c:v>40451</c:v>
                </c:pt>
                <c:pt idx="194">
                  <c:v>40452</c:v>
                </c:pt>
                <c:pt idx="195">
                  <c:v>40455</c:v>
                </c:pt>
                <c:pt idx="196">
                  <c:v>40456</c:v>
                </c:pt>
                <c:pt idx="197">
                  <c:v>40457</c:v>
                </c:pt>
                <c:pt idx="198">
                  <c:v>40458</c:v>
                </c:pt>
                <c:pt idx="199">
                  <c:v>40459</c:v>
                </c:pt>
                <c:pt idx="200">
                  <c:v>40462</c:v>
                </c:pt>
                <c:pt idx="201">
                  <c:v>40463</c:v>
                </c:pt>
                <c:pt idx="202">
                  <c:v>40464</c:v>
                </c:pt>
                <c:pt idx="203">
                  <c:v>40465</c:v>
                </c:pt>
                <c:pt idx="204">
                  <c:v>40466</c:v>
                </c:pt>
                <c:pt idx="205">
                  <c:v>40469</c:v>
                </c:pt>
                <c:pt idx="206">
                  <c:v>40470</c:v>
                </c:pt>
                <c:pt idx="207">
                  <c:v>40471</c:v>
                </c:pt>
                <c:pt idx="208">
                  <c:v>40472</c:v>
                </c:pt>
                <c:pt idx="209">
                  <c:v>40473</c:v>
                </c:pt>
                <c:pt idx="210">
                  <c:v>40476</c:v>
                </c:pt>
                <c:pt idx="211">
                  <c:v>40477</c:v>
                </c:pt>
                <c:pt idx="212">
                  <c:v>40478</c:v>
                </c:pt>
                <c:pt idx="213">
                  <c:v>40479</c:v>
                </c:pt>
                <c:pt idx="214">
                  <c:v>40480</c:v>
                </c:pt>
                <c:pt idx="215">
                  <c:v>40483</c:v>
                </c:pt>
                <c:pt idx="216">
                  <c:v>40484</c:v>
                </c:pt>
                <c:pt idx="217">
                  <c:v>40485</c:v>
                </c:pt>
                <c:pt idx="218">
                  <c:v>40486</c:v>
                </c:pt>
                <c:pt idx="219">
                  <c:v>40487</c:v>
                </c:pt>
                <c:pt idx="220">
                  <c:v>40490</c:v>
                </c:pt>
                <c:pt idx="221">
                  <c:v>40491</c:v>
                </c:pt>
                <c:pt idx="222">
                  <c:v>40492</c:v>
                </c:pt>
                <c:pt idx="223">
                  <c:v>40493</c:v>
                </c:pt>
                <c:pt idx="224">
                  <c:v>40494</c:v>
                </c:pt>
                <c:pt idx="225">
                  <c:v>40497</c:v>
                </c:pt>
                <c:pt idx="226">
                  <c:v>40498</c:v>
                </c:pt>
                <c:pt idx="227">
                  <c:v>40499</c:v>
                </c:pt>
                <c:pt idx="228">
                  <c:v>40500</c:v>
                </c:pt>
                <c:pt idx="229">
                  <c:v>40501</c:v>
                </c:pt>
                <c:pt idx="230">
                  <c:v>40504</c:v>
                </c:pt>
                <c:pt idx="231">
                  <c:v>40505</c:v>
                </c:pt>
                <c:pt idx="232">
                  <c:v>40506</c:v>
                </c:pt>
                <c:pt idx="233">
                  <c:v>40507</c:v>
                </c:pt>
                <c:pt idx="234">
                  <c:v>40508</c:v>
                </c:pt>
                <c:pt idx="235">
                  <c:v>40511</c:v>
                </c:pt>
                <c:pt idx="236">
                  <c:v>40512</c:v>
                </c:pt>
                <c:pt idx="237">
                  <c:v>40513</c:v>
                </c:pt>
                <c:pt idx="238">
                  <c:v>40514</c:v>
                </c:pt>
                <c:pt idx="239">
                  <c:v>40515</c:v>
                </c:pt>
                <c:pt idx="240">
                  <c:v>40518</c:v>
                </c:pt>
                <c:pt idx="241">
                  <c:v>40519</c:v>
                </c:pt>
                <c:pt idx="242">
                  <c:v>40520</c:v>
                </c:pt>
                <c:pt idx="243">
                  <c:v>40521</c:v>
                </c:pt>
                <c:pt idx="244">
                  <c:v>40522</c:v>
                </c:pt>
                <c:pt idx="245">
                  <c:v>40525</c:v>
                </c:pt>
                <c:pt idx="246">
                  <c:v>40526</c:v>
                </c:pt>
                <c:pt idx="247">
                  <c:v>40527</c:v>
                </c:pt>
                <c:pt idx="248">
                  <c:v>40528</c:v>
                </c:pt>
                <c:pt idx="249">
                  <c:v>40529</c:v>
                </c:pt>
                <c:pt idx="250">
                  <c:v>40532</c:v>
                </c:pt>
                <c:pt idx="251">
                  <c:v>40533</c:v>
                </c:pt>
                <c:pt idx="252">
                  <c:v>40534</c:v>
                </c:pt>
                <c:pt idx="253">
                  <c:v>40535</c:v>
                </c:pt>
                <c:pt idx="254">
                  <c:v>40536</c:v>
                </c:pt>
                <c:pt idx="255">
                  <c:v>40539</c:v>
                </c:pt>
                <c:pt idx="256">
                  <c:v>40540</c:v>
                </c:pt>
                <c:pt idx="257">
                  <c:v>40541</c:v>
                </c:pt>
                <c:pt idx="258">
                  <c:v>40542</c:v>
                </c:pt>
                <c:pt idx="259">
                  <c:v>40543</c:v>
                </c:pt>
                <c:pt idx="260">
                  <c:v>40546</c:v>
                </c:pt>
                <c:pt idx="261">
                  <c:v>40547</c:v>
                </c:pt>
                <c:pt idx="262">
                  <c:v>40548</c:v>
                </c:pt>
                <c:pt idx="263">
                  <c:v>40549</c:v>
                </c:pt>
                <c:pt idx="264">
                  <c:v>40550</c:v>
                </c:pt>
                <c:pt idx="265">
                  <c:v>40553</c:v>
                </c:pt>
                <c:pt idx="266">
                  <c:v>40554</c:v>
                </c:pt>
                <c:pt idx="267">
                  <c:v>40555</c:v>
                </c:pt>
                <c:pt idx="268">
                  <c:v>40556</c:v>
                </c:pt>
                <c:pt idx="269">
                  <c:v>40557</c:v>
                </c:pt>
                <c:pt idx="270">
                  <c:v>40560</c:v>
                </c:pt>
                <c:pt idx="271">
                  <c:v>40561</c:v>
                </c:pt>
                <c:pt idx="272">
                  <c:v>40562</c:v>
                </c:pt>
                <c:pt idx="273">
                  <c:v>40563</c:v>
                </c:pt>
                <c:pt idx="274">
                  <c:v>40564</c:v>
                </c:pt>
                <c:pt idx="275">
                  <c:v>40567</c:v>
                </c:pt>
                <c:pt idx="276">
                  <c:v>40568</c:v>
                </c:pt>
                <c:pt idx="277">
                  <c:v>40569</c:v>
                </c:pt>
                <c:pt idx="278">
                  <c:v>40570</c:v>
                </c:pt>
                <c:pt idx="279">
                  <c:v>40571</c:v>
                </c:pt>
                <c:pt idx="280">
                  <c:v>40574</c:v>
                </c:pt>
                <c:pt idx="281">
                  <c:v>40575</c:v>
                </c:pt>
                <c:pt idx="282">
                  <c:v>40576</c:v>
                </c:pt>
                <c:pt idx="283">
                  <c:v>40577</c:v>
                </c:pt>
                <c:pt idx="284">
                  <c:v>40578</c:v>
                </c:pt>
                <c:pt idx="285">
                  <c:v>40581</c:v>
                </c:pt>
                <c:pt idx="286">
                  <c:v>40582</c:v>
                </c:pt>
                <c:pt idx="287">
                  <c:v>40583</c:v>
                </c:pt>
                <c:pt idx="288">
                  <c:v>40584</c:v>
                </c:pt>
                <c:pt idx="289">
                  <c:v>40585</c:v>
                </c:pt>
                <c:pt idx="290">
                  <c:v>40588</c:v>
                </c:pt>
                <c:pt idx="291">
                  <c:v>40589</c:v>
                </c:pt>
                <c:pt idx="292">
                  <c:v>40590</c:v>
                </c:pt>
                <c:pt idx="293">
                  <c:v>40591</c:v>
                </c:pt>
                <c:pt idx="294">
                  <c:v>40592</c:v>
                </c:pt>
                <c:pt idx="295">
                  <c:v>40595</c:v>
                </c:pt>
                <c:pt idx="296">
                  <c:v>40596</c:v>
                </c:pt>
                <c:pt idx="297">
                  <c:v>40597</c:v>
                </c:pt>
                <c:pt idx="298">
                  <c:v>40598</c:v>
                </c:pt>
                <c:pt idx="299">
                  <c:v>40599</c:v>
                </c:pt>
                <c:pt idx="300">
                  <c:v>40602</c:v>
                </c:pt>
                <c:pt idx="301">
                  <c:v>40603</c:v>
                </c:pt>
                <c:pt idx="302">
                  <c:v>40604</c:v>
                </c:pt>
                <c:pt idx="303">
                  <c:v>40605</c:v>
                </c:pt>
                <c:pt idx="304">
                  <c:v>40606</c:v>
                </c:pt>
                <c:pt idx="305">
                  <c:v>40609</c:v>
                </c:pt>
                <c:pt idx="306">
                  <c:v>40610</c:v>
                </c:pt>
                <c:pt idx="307">
                  <c:v>40611</c:v>
                </c:pt>
                <c:pt idx="308">
                  <c:v>40612</c:v>
                </c:pt>
                <c:pt idx="309">
                  <c:v>40613</c:v>
                </c:pt>
                <c:pt idx="310">
                  <c:v>40616</c:v>
                </c:pt>
                <c:pt idx="311">
                  <c:v>40617</c:v>
                </c:pt>
                <c:pt idx="312">
                  <c:v>40618</c:v>
                </c:pt>
                <c:pt idx="313">
                  <c:v>40619</c:v>
                </c:pt>
                <c:pt idx="314">
                  <c:v>40620</c:v>
                </c:pt>
                <c:pt idx="315">
                  <c:v>40623</c:v>
                </c:pt>
                <c:pt idx="316">
                  <c:v>40624</c:v>
                </c:pt>
                <c:pt idx="317">
                  <c:v>40625</c:v>
                </c:pt>
                <c:pt idx="318">
                  <c:v>40626</c:v>
                </c:pt>
                <c:pt idx="319">
                  <c:v>40627</c:v>
                </c:pt>
                <c:pt idx="320">
                  <c:v>40630</c:v>
                </c:pt>
                <c:pt idx="321">
                  <c:v>40631</c:v>
                </c:pt>
                <c:pt idx="322">
                  <c:v>40632</c:v>
                </c:pt>
                <c:pt idx="323">
                  <c:v>40633</c:v>
                </c:pt>
                <c:pt idx="324">
                  <c:v>40634</c:v>
                </c:pt>
                <c:pt idx="325">
                  <c:v>40637</c:v>
                </c:pt>
                <c:pt idx="326">
                  <c:v>40638</c:v>
                </c:pt>
                <c:pt idx="327">
                  <c:v>40639</c:v>
                </c:pt>
                <c:pt idx="328">
                  <c:v>40640</c:v>
                </c:pt>
                <c:pt idx="329">
                  <c:v>40641</c:v>
                </c:pt>
                <c:pt idx="330">
                  <c:v>40644</c:v>
                </c:pt>
                <c:pt idx="331">
                  <c:v>40645</c:v>
                </c:pt>
                <c:pt idx="332">
                  <c:v>40646</c:v>
                </c:pt>
                <c:pt idx="333">
                  <c:v>40647</c:v>
                </c:pt>
                <c:pt idx="334">
                  <c:v>40648</c:v>
                </c:pt>
                <c:pt idx="335">
                  <c:v>40651</c:v>
                </c:pt>
                <c:pt idx="336">
                  <c:v>40652</c:v>
                </c:pt>
                <c:pt idx="337">
                  <c:v>40653</c:v>
                </c:pt>
                <c:pt idx="338">
                  <c:v>40654</c:v>
                </c:pt>
                <c:pt idx="339">
                  <c:v>40655</c:v>
                </c:pt>
                <c:pt idx="340">
                  <c:v>40658</c:v>
                </c:pt>
                <c:pt idx="341">
                  <c:v>40659</c:v>
                </c:pt>
                <c:pt idx="342">
                  <c:v>40660</c:v>
                </c:pt>
                <c:pt idx="343">
                  <c:v>40661</c:v>
                </c:pt>
                <c:pt idx="344">
                  <c:v>40662</c:v>
                </c:pt>
                <c:pt idx="345">
                  <c:v>40665</c:v>
                </c:pt>
                <c:pt idx="346">
                  <c:v>40666</c:v>
                </c:pt>
                <c:pt idx="347">
                  <c:v>40667</c:v>
                </c:pt>
                <c:pt idx="348">
                  <c:v>40668</c:v>
                </c:pt>
                <c:pt idx="349">
                  <c:v>40669</c:v>
                </c:pt>
                <c:pt idx="350">
                  <c:v>40672</c:v>
                </c:pt>
                <c:pt idx="351">
                  <c:v>40673</c:v>
                </c:pt>
                <c:pt idx="352">
                  <c:v>40674</c:v>
                </c:pt>
                <c:pt idx="353">
                  <c:v>40675</c:v>
                </c:pt>
                <c:pt idx="354">
                  <c:v>40676</c:v>
                </c:pt>
                <c:pt idx="355">
                  <c:v>40679</c:v>
                </c:pt>
                <c:pt idx="356">
                  <c:v>40680</c:v>
                </c:pt>
                <c:pt idx="357">
                  <c:v>40681</c:v>
                </c:pt>
                <c:pt idx="358">
                  <c:v>40682</c:v>
                </c:pt>
                <c:pt idx="359">
                  <c:v>40683</c:v>
                </c:pt>
                <c:pt idx="360">
                  <c:v>40686</c:v>
                </c:pt>
                <c:pt idx="361">
                  <c:v>40687</c:v>
                </c:pt>
                <c:pt idx="362">
                  <c:v>40688</c:v>
                </c:pt>
                <c:pt idx="363">
                  <c:v>40689</c:v>
                </c:pt>
                <c:pt idx="364">
                  <c:v>40690</c:v>
                </c:pt>
                <c:pt idx="365">
                  <c:v>40693</c:v>
                </c:pt>
                <c:pt idx="366">
                  <c:v>40694</c:v>
                </c:pt>
                <c:pt idx="367">
                  <c:v>40695</c:v>
                </c:pt>
                <c:pt idx="368">
                  <c:v>40696</c:v>
                </c:pt>
                <c:pt idx="369">
                  <c:v>40697</c:v>
                </c:pt>
                <c:pt idx="370">
                  <c:v>40700</c:v>
                </c:pt>
                <c:pt idx="371">
                  <c:v>40701</c:v>
                </c:pt>
                <c:pt idx="372">
                  <c:v>40702</c:v>
                </c:pt>
                <c:pt idx="373">
                  <c:v>40703</c:v>
                </c:pt>
                <c:pt idx="374">
                  <c:v>40704</c:v>
                </c:pt>
                <c:pt idx="375">
                  <c:v>40707</c:v>
                </c:pt>
                <c:pt idx="376">
                  <c:v>40708</c:v>
                </c:pt>
                <c:pt idx="377">
                  <c:v>40709</c:v>
                </c:pt>
                <c:pt idx="378">
                  <c:v>40710</c:v>
                </c:pt>
                <c:pt idx="379">
                  <c:v>40711</c:v>
                </c:pt>
                <c:pt idx="380">
                  <c:v>40714</c:v>
                </c:pt>
                <c:pt idx="381">
                  <c:v>40715</c:v>
                </c:pt>
                <c:pt idx="382">
                  <c:v>40716</c:v>
                </c:pt>
                <c:pt idx="383">
                  <c:v>40717</c:v>
                </c:pt>
                <c:pt idx="384">
                  <c:v>40718</c:v>
                </c:pt>
                <c:pt idx="385">
                  <c:v>40721</c:v>
                </c:pt>
                <c:pt idx="386">
                  <c:v>40722</c:v>
                </c:pt>
                <c:pt idx="387">
                  <c:v>40723</c:v>
                </c:pt>
                <c:pt idx="388">
                  <c:v>40724</c:v>
                </c:pt>
                <c:pt idx="389">
                  <c:v>40725</c:v>
                </c:pt>
                <c:pt idx="390">
                  <c:v>40728</c:v>
                </c:pt>
                <c:pt idx="391">
                  <c:v>40729</c:v>
                </c:pt>
                <c:pt idx="392">
                  <c:v>40730</c:v>
                </c:pt>
                <c:pt idx="393">
                  <c:v>40731</c:v>
                </c:pt>
                <c:pt idx="394">
                  <c:v>40732</c:v>
                </c:pt>
                <c:pt idx="395">
                  <c:v>40735</c:v>
                </c:pt>
                <c:pt idx="396">
                  <c:v>40736</c:v>
                </c:pt>
                <c:pt idx="397">
                  <c:v>40737</c:v>
                </c:pt>
                <c:pt idx="398">
                  <c:v>40738</c:v>
                </c:pt>
                <c:pt idx="399">
                  <c:v>40739</c:v>
                </c:pt>
                <c:pt idx="400">
                  <c:v>40742</c:v>
                </c:pt>
                <c:pt idx="401">
                  <c:v>40743</c:v>
                </c:pt>
                <c:pt idx="402">
                  <c:v>40744</c:v>
                </c:pt>
                <c:pt idx="403">
                  <c:v>40745</c:v>
                </c:pt>
                <c:pt idx="404">
                  <c:v>40746</c:v>
                </c:pt>
                <c:pt idx="405">
                  <c:v>40749</c:v>
                </c:pt>
                <c:pt idx="406">
                  <c:v>40750</c:v>
                </c:pt>
                <c:pt idx="407">
                  <c:v>40751</c:v>
                </c:pt>
                <c:pt idx="408">
                  <c:v>40752</c:v>
                </c:pt>
                <c:pt idx="409">
                  <c:v>40753</c:v>
                </c:pt>
                <c:pt idx="410">
                  <c:v>40756</c:v>
                </c:pt>
                <c:pt idx="411">
                  <c:v>40757</c:v>
                </c:pt>
                <c:pt idx="412">
                  <c:v>40758</c:v>
                </c:pt>
                <c:pt idx="413">
                  <c:v>40759</c:v>
                </c:pt>
                <c:pt idx="414">
                  <c:v>40760</c:v>
                </c:pt>
                <c:pt idx="415">
                  <c:v>40763</c:v>
                </c:pt>
                <c:pt idx="416">
                  <c:v>40764</c:v>
                </c:pt>
                <c:pt idx="417">
                  <c:v>40765</c:v>
                </c:pt>
                <c:pt idx="418">
                  <c:v>40766</c:v>
                </c:pt>
                <c:pt idx="419">
                  <c:v>40767</c:v>
                </c:pt>
                <c:pt idx="420">
                  <c:v>40770</c:v>
                </c:pt>
                <c:pt idx="421">
                  <c:v>40771</c:v>
                </c:pt>
                <c:pt idx="422">
                  <c:v>40772</c:v>
                </c:pt>
                <c:pt idx="423">
                  <c:v>40773</c:v>
                </c:pt>
                <c:pt idx="424">
                  <c:v>40774</c:v>
                </c:pt>
                <c:pt idx="425">
                  <c:v>40777</c:v>
                </c:pt>
                <c:pt idx="426">
                  <c:v>40778</c:v>
                </c:pt>
                <c:pt idx="427">
                  <c:v>40779</c:v>
                </c:pt>
                <c:pt idx="428">
                  <c:v>40780</c:v>
                </c:pt>
                <c:pt idx="429">
                  <c:v>40781</c:v>
                </c:pt>
                <c:pt idx="430">
                  <c:v>40784</c:v>
                </c:pt>
                <c:pt idx="431">
                  <c:v>40785</c:v>
                </c:pt>
                <c:pt idx="432">
                  <c:v>40786</c:v>
                </c:pt>
                <c:pt idx="433">
                  <c:v>40787</c:v>
                </c:pt>
                <c:pt idx="434">
                  <c:v>40788</c:v>
                </c:pt>
                <c:pt idx="435">
                  <c:v>40791</c:v>
                </c:pt>
                <c:pt idx="436">
                  <c:v>40792</c:v>
                </c:pt>
                <c:pt idx="437">
                  <c:v>40793</c:v>
                </c:pt>
                <c:pt idx="438">
                  <c:v>40794</c:v>
                </c:pt>
                <c:pt idx="439">
                  <c:v>40795</c:v>
                </c:pt>
                <c:pt idx="440">
                  <c:v>40798</c:v>
                </c:pt>
                <c:pt idx="441">
                  <c:v>40799</c:v>
                </c:pt>
                <c:pt idx="442">
                  <c:v>40800</c:v>
                </c:pt>
                <c:pt idx="443">
                  <c:v>40801</c:v>
                </c:pt>
                <c:pt idx="444">
                  <c:v>40802</c:v>
                </c:pt>
                <c:pt idx="445">
                  <c:v>40805</c:v>
                </c:pt>
                <c:pt idx="446">
                  <c:v>40806</c:v>
                </c:pt>
                <c:pt idx="447">
                  <c:v>40807</c:v>
                </c:pt>
                <c:pt idx="448">
                  <c:v>40808</c:v>
                </c:pt>
                <c:pt idx="449">
                  <c:v>40809</c:v>
                </c:pt>
                <c:pt idx="450">
                  <c:v>40812</c:v>
                </c:pt>
                <c:pt idx="451">
                  <c:v>40813</c:v>
                </c:pt>
                <c:pt idx="452">
                  <c:v>40814</c:v>
                </c:pt>
                <c:pt idx="453">
                  <c:v>40815</c:v>
                </c:pt>
                <c:pt idx="454">
                  <c:v>40816</c:v>
                </c:pt>
                <c:pt idx="455">
                  <c:v>40819</c:v>
                </c:pt>
                <c:pt idx="456">
                  <c:v>40820</c:v>
                </c:pt>
                <c:pt idx="457">
                  <c:v>40821</c:v>
                </c:pt>
                <c:pt idx="458">
                  <c:v>40822</c:v>
                </c:pt>
                <c:pt idx="459">
                  <c:v>40823</c:v>
                </c:pt>
                <c:pt idx="460">
                  <c:v>40826</c:v>
                </c:pt>
                <c:pt idx="461">
                  <c:v>40827</c:v>
                </c:pt>
                <c:pt idx="462">
                  <c:v>40828</c:v>
                </c:pt>
                <c:pt idx="463">
                  <c:v>40829</c:v>
                </c:pt>
                <c:pt idx="464">
                  <c:v>40830</c:v>
                </c:pt>
                <c:pt idx="465">
                  <c:v>40833</c:v>
                </c:pt>
                <c:pt idx="466">
                  <c:v>40834</c:v>
                </c:pt>
                <c:pt idx="467">
                  <c:v>40835</c:v>
                </c:pt>
                <c:pt idx="468">
                  <c:v>40836</c:v>
                </c:pt>
                <c:pt idx="469">
                  <c:v>40837</c:v>
                </c:pt>
                <c:pt idx="470">
                  <c:v>40840</c:v>
                </c:pt>
                <c:pt idx="471">
                  <c:v>40841</c:v>
                </c:pt>
                <c:pt idx="472">
                  <c:v>40842</c:v>
                </c:pt>
                <c:pt idx="473">
                  <c:v>40843</c:v>
                </c:pt>
                <c:pt idx="474">
                  <c:v>40844</c:v>
                </c:pt>
                <c:pt idx="475">
                  <c:v>40847</c:v>
                </c:pt>
                <c:pt idx="476">
                  <c:v>40848</c:v>
                </c:pt>
                <c:pt idx="477">
                  <c:v>40849</c:v>
                </c:pt>
                <c:pt idx="478">
                  <c:v>40850</c:v>
                </c:pt>
                <c:pt idx="479">
                  <c:v>40851</c:v>
                </c:pt>
                <c:pt idx="480">
                  <c:v>40854</c:v>
                </c:pt>
                <c:pt idx="481">
                  <c:v>40855</c:v>
                </c:pt>
                <c:pt idx="482">
                  <c:v>40856</c:v>
                </c:pt>
                <c:pt idx="483">
                  <c:v>40857</c:v>
                </c:pt>
                <c:pt idx="484">
                  <c:v>40858</c:v>
                </c:pt>
                <c:pt idx="485">
                  <c:v>40861</c:v>
                </c:pt>
                <c:pt idx="486">
                  <c:v>40862</c:v>
                </c:pt>
                <c:pt idx="487">
                  <c:v>40863</c:v>
                </c:pt>
                <c:pt idx="488">
                  <c:v>40864</c:v>
                </c:pt>
                <c:pt idx="489">
                  <c:v>40865</c:v>
                </c:pt>
                <c:pt idx="490">
                  <c:v>40868</c:v>
                </c:pt>
                <c:pt idx="491">
                  <c:v>40869</c:v>
                </c:pt>
                <c:pt idx="492">
                  <c:v>40870</c:v>
                </c:pt>
                <c:pt idx="493">
                  <c:v>40871</c:v>
                </c:pt>
                <c:pt idx="494">
                  <c:v>40872</c:v>
                </c:pt>
                <c:pt idx="495">
                  <c:v>40875</c:v>
                </c:pt>
                <c:pt idx="496">
                  <c:v>40876</c:v>
                </c:pt>
                <c:pt idx="497">
                  <c:v>40877</c:v>
                </c:pt>
                <c:pt idx="498">
                  <c:v>40878</c:v>
                </c:pt>
                <c:pt idx="499">
                  <c:v>40879</c:v>
                </c:pt>
                <c:pt idx="500">
                  <c:v>40882</c:v>
                </c:pt>
                <c:pt idx="501">
                  <c:v>40883</c:v>
                </c:pt>
                <c:pt idx="502">
                  <c:v>40884</c:v>
                </c:pt>
                <c:pt idx="503">
                  <c:v>40885</c:v>
                </c:pt>
                <c:pt idx="504">
                  <c:v>40886</c:v>
                </c:pt>
                <c:pt idx="505">
                  <c:v>40889</c:v>
                </c:pt>
                <c:pt idx="506">
                  <c:v>40890</c:v>
                </c:pt>
                <c:pt idx="507">
                  <c:v>40891</c:v>
                </c:pt>
                <c:pt idx="508">
                  <c:v>40892</c:v>
                </c:pt>
                <c:pt idx="509">
                  <c:v>40893</c:v>
                </c:pt>
                <c:pt idx="510">
                  <c:v>40896</c:v>
                </c:pt>
                <c:pt idx="511">
                  <c:v>40897</c:v>
                </c:pt>
                <c:pt idx="512">
                  <c:v>40898</c:v>
                </c:pt>
                <c:pt idx="513">
                  <c:v>40899</c:v>
                </c:pt>
                <c:pt idx="514">
                  <c:v>40900</c:v>
                </c:pt>
                <c:pt idx="515">
                  <c:v>40903</c:v>
                </c:pt>
                <c:pt idx="516">
                  <c:v>40904</c:v>
                </c:pt>
                <c:pt idx="517">
                  <c:v>40905</c:v>
                </c:pt>
                <c:pt idx="518">
                  <c:v>40906</c:v>
                </c:pt>
                <c:pt idx="519">
                  <c:v>40907</c:v>
                </c:pt>
                <c:pt idx="520">
                  <c:v>40910</c:v>
                </c:pt>
                <c:pt idx="521">
                  <c:v>40911</c:v>
                </c:pt>
                <c:pt idx="522">
                  <c:v>40912</c:v>
                </c:pt>
                <c:pt idx="523">
                  <c:v>40913</c:v>
                </c:pt>
                <c:pt idx="524">
                  <c:v>40914</c:v>
                </c:pt>
                <c:pt idx="525">
                  <c:v>40917</c:v>
                </c:pt>
                <c:pt idx="526">
                  <c:v>40918</c:v>
                </c:pt>
                <c:pt idx="527">
                  <c:v>40919</c:v>
                </c:pt>
                <c:pt idx="528">
                  <c:v>40920</c:v>
                </c:pt>
                <c:pt idx="529">
                  <c:v>40921</c:v>
                </c:pt>
                <c:pt idx="530">
                  <c:v>40924</c:v>
                </c:pt>
                <c:pt idx="531">
                  <c:v>40925</c:v>
                </c:pt>
                <c:pt idx="532">
                  <c:v>40926</c:v>
                </c:pt>
                <c:pt idx="533">
                  <c:v>40927</c:v>
                </c:pt>
                <c:pt idx="534">
                  <c:v>40928</c:v>
                </c:pt>
                <c:pt idx="535">
                  <c:v>40931</c:v>
                </c:pt>
                <c:pt idx="536">
                  <c:v>40932</c:v>
                </c:pt>
                <c:pt idx="537">
                  <c:v>40933</c:v>
                </c:pt>
                <c:pt idx="538">
                  <c:v>40934</c:v>
                </c:pt>
                <c:pt idx="539">
                  <c:v>40935</c:v>
                </c:pt>
                <c:pt idx="540">
                  <c:v>40938</c:v>
                </c:pt>
                <c:pt idx="541">
                  <c:v>40939</c:v>
                </c:pt>
                <c:pt idx="542">
                  <c:v>40940</c:v>
                </c:pt>
                <c:pt idx="543">
                  <c:v>40941</c:v>
                </c:pt>
                <c:pt idx="544">
                  <c:v>40942</c:v>
                </c:pt>
                <c:pt idx="545">
                  <c:v>40945</c:v>
                </c:pt>
                <c:pt idx="546">
                  <c:v>40946</c:v>
                </c:pt>
                <c:pt idx="547">
                  <c:v>40947</c:v>
                </c:pt>
                <c:pt idx="548">
                  <c:v>40948</c:v>
                </c:pt>
                <c:pt idx="549">
                  <c:v>40949</c:v>
                </c:pt>
                <c:pt idx="550">
                  <c:v>40952</c:v>
                </c:pt>
                <c:pt idx="551">
                  <c:v>40953</c:v>
                </c:pt>
                <c:pt idx="552">
                  <c:v>40954</c:v>
                </c:pt>
                <c:pt idx="553">
                  <c:v>40955</c:v>
                </c:pt>
                <c:pt idx="554">
                  <c:v>40956</c:v>
                </c:pt>
                <c:pt idx="555">
                  <c:v>40959</c:v>
                </c:pt>
                <c:pt idx="556">
                  <c:v>40960</c:v>
                </c:pt>
                <c:pt idx="557">
                  <c:v>40961</c:v>
                </c:pt>
                <c:pt idx="558">
                  <c:v>40962</c:v>
                </c:pt>
                <c:pt idx="559">
                  <c:v>40963</c:v>
                </c:pt>
                <c:pt idx="560">
                  <c:v>40966</c:v>
                </c:pt>
                <c:pt idx="561">
                  <c:v>40967</c:v>
                </c:pt>
                <c:pt idx="562">
                  <c:v>40968</c:v>
                </c:pt>
                <c:pt idx="563">
                  <c:v>40969</c:v>
                </c:pt>
                <c:pt idx="564">
                  <c:v>40970</c:v>
                </c:pt>
                <c:pt idx="565">
                  <c:v>40973</c:v>
                </c:pt>
                <c:pt idx="566">
                  <c:v>40974</c:v>
                </c:pt>
                <c:pt idx="567">
                  <c:v>40975</c:v>
                </c:pt>
                <c:pt idx="568">
                  <c:v>40976</c:v>
                </c:pt>
                <c:pt idx="569">
                  <c:v>40977</c:v>
                </c:pt>
                <c:pt idx="570">
                  <c:v>40980</c:v>
                </c:pt>
                <c:pt idx="571">
                  <c:v>40981</c:v>
                </c:pt>
                <c:pt idx="572">
                  <c:v>40982</c:v>
                </c:pt>
                <c:pt idx="573">
                  <c:v>40983</c:v>
                </c:pt>
                <c:pt idx="574">
                  <c:v>40984</c:v>
                </c:pt>
                <c:pt idx="575">
                  <c:v>40987</c:v>
                </c:pt>
                <c:pt idx="576">
                  <c:v>40988</c:v>
                </c:pt>
                <c:pt idx="577">
                  <c:v>40989</c:v>
                </c:pt>
                <c:pt idx="578">
                  <c:v>40990</c:v>
                </c:pt>
                <c:pt idx="579">
                  <c:v>40991</c:v>
                </c:pt>
                <c:pt idx="580">
                  <c:v>40994</c:v>
                </c:pt>
                <c:pt idx="581">
                  <c:v>40995</c:v>
                </c:pt>
                <c:pt idx="582">
                  <c:v>40996</c:v>
                </c:pt>
                <c:pt idx="583">
                  <c:v>40997</c:v>
                </c:pt>
                <c:pt idx="584">
                  <c:v>40998</c:v>
                </c:pt>
                <c:pt idx="585">
                  <c:v>41001</c:v>
                </c:pt>
                <c:pt idx="586">
                  <c:v>41002</c:v>
                </c:pt>
                <c:pt idx="587">
                  <c:v>41003</c:v>
                </c:pt>
                <c:pt idx="588">
                  <c:v>41004</c:v>
                </c:pt>
                <c:pt idx="589">
                  <c:v>41005</c:v>
                </c:pt>
                <c:pt idx="590">
                  <c:v>41008</c:v>
                </c:pt>
                <c:pt idx="591">
                  <c:v>41009</c:v>
                </c:pt>
                <c:pt idx="592">
                  <c:v>41010</c:v>
                </c:pt>
                <c:pt idx="593">
                  <c:v>41011</c:v>
                </c:pt>
                <c:pt idx="594">
                  <c:v>41012</c:v>
                </c:pt>
                <c:pt idx="595">
                  <c:v>41015</c:v>
                </c:pt>
                <c:pt idx="596">
                  <c:v>41016</c:v>
                </c:pt>
                <c:pt idx="597">
                  <c:v>41017</c:v>
                </c:pt>
                <c:pt idx="598">
                  <c:v>41018</c:v>
                </c:pt>
                <c:pt idx="599">
                  <c:v>41019</c:v>
                </c:pt>
                <c:pt idx="600">
                  <c:v>41022</c:v>
                </c:pt>
                <c:pt idx="601">
                  <c:v>41023</c:v>
                </c:pt>
                <c:pt idx="602">
                  <c:v>41024</c:v>
                </c:pt>
                <c:pt idx="603">
                  <c:v>41025</c:v>
                </c:pt>
                <c:pt idx="604">
                  <c:v>41026</c:v>
                </c:pt>
                <c:pt idx="605">
                  <c:v>41029</c:v>
                </c:pt>
                <c:pt idx="606">
                  <c:v>41030</c:v>
                </c:pt>
                <c:pt idx="607">
                  <c:v>41031</c:v>
                </c:pt>
                <c:pt idx="608">
                  <c:v>41032</c:v>
                </c:pt>
                <c:pt idx="609">
                  <c:v>41033</c:v>
                </c:pt>
                <c:pt idx="610">
                  <c:v>41036</c:v>
                </c:pt>
                <c:pt idx="611">
                  <c:v>41037</c:v>
                </c:pt>
                <c:pt idx="612">
                  <c:v>41038</c:v>
                </c:pt>
                <c:pt idx="613">
                  <c:v>41039</c:v>
                </c:pt>
                <c:pt idx="614">
                  <c:v>41040</c:v>
                </c:pt>
                <c:pt idx="615">
                  <c:v>41043</c:v>
                </c:pt>
                <c:pt idx="616">
                  <c:v>41044</c:v>
                </c:pt>
                <c:pt idx="617">
                  <c:v>41045</c:v>
                </c:pt>
                <c:pt idx="618">
                  <c:v>41046</c:v>
                </c:pt>
                <c:pt idx="619">
                  <c:v>41047</c:v>
                </c:pt>
                <c:pt idx="620">
                  <c:v>41050</c:v>
                </c:pt>
                <c:pt idx="621">
                  <c:v>41051</c:v>
                </c:pt>
                <c:pt idx="622">
                  <c:v>41052</c:v>
                </c:pt>
                <c:pt idx="623">
                  <c:v>41053</c:v>
                </c:pt>
                <c:pt idx="624">
                  <c:v>41054</c:v>
                </c:pt>
                <c:pt idx="625">
                  <c:v>41057</c:v>
                </c:pt>
                <c:pt idx="626">
                  <c:v>41058</c:v>
                </c:pt>
                <c:pt idx="627">
                  <c:v>41059</c:v>
                </c:pt>
                <c:pt idx="628">
                  <c:v>41060</c:v>
                </c:pt>
                <c:pt idx="629">
                  <c:v>41061</c:v>
                </c:pt>
                <c:pt idx="630">
                  <c:v>41064</c:v>
                </c:pt>
                <c:pt idx="631">
                  <c:v>41065</c:v>
                </c:pt>
                <c:pt idx="632">
                  <c:v>41066</c:v>
                </c:pt>
                <c:pt idx="633">
                  <c:v>41067</c:v>
                </c:pt>
                <c:pt idx="634">
                  <c:v>41068</c:v>
                </c:pt>
                <c:pt idx="635">
                  <c:v>41071</c:v>
                </c:pt>
                <c:pt idx="636">
                  <c:v>41072</c:v>
                </c:pt>
                <c:pt idx="637">
                  <c:v>41073</c:v>
                </c:pt>
                <c:pt idx="638">
                  <c:v>41074</c:v>
                </c:pt>
                <c:pt idx="639">
                  <c:v>41075</c:v>
                </c:pt>
                <c:pt idx="640">
                  <c:v>41078</c:v>
                </c:pt>
                <c:pt idx="641">
                  <c:v>41079</c:v>
                </c:pt>
                <c:pt idx="642">
                  <c:v>41080</c:v>
                </c:pt>
                <c:pt idx="643">
                  <c:v>41081</c:v>
                </c:pt>
                <c:pt idx="644">
                  <c:v>41082</c:v>
                </c:pt>
                <c:pt idx="645">
                  <c:v>41085</c:v>
                </c:pt>
                <c:pt idx="646">
                  <c:v>41086</c:v>
                </c:pt>
                <c:pt idx="647">
                  <c:v>41087</c:v>
                </c:pt>
                <c:pt idx="648">
                  <c:v>41088</c:v>
                </c:pt>
                <c:pt idx="649">
                  <c:v>41089</c:v>
                </c:pt>
                <c:pt idx="650">
                  <c:v>41092</c:v>
                </c:pt>
                <c:pt idx="651">
                  <c:v>41093</c:v>
                </c:pt>
                <c:pt idx="652">
                  <c:v>41094</c:v>
                </c:pt>
                <c:pt idx="653">
                  <c:v>41095</c:v>
                </c:pt>
                <c:pt idx="654">
                  <c:v>41096</c:v>
                </c:pt>
                <c:pt idx="655">
                  <c:v>41099</c:v>
                </c:pt>
                <c:pt idx="656">
                  <c:v>41100</c:v>
                </c:pt>
                <c:pt idx="657">
                  <c:v>41101</c:v>
                </c:pt>
                <c:pt idx="658">
                  <c:v>41102</c:v>
                </c:pt>
                <c:pt idx="659">
                  <c:v>41103</c:v>
                </c:pt>
                <c:pt idx="660">
                  <c:v>41106</c:v>
                </c:pt>
                <c:pt idx="661">
                  <c:v>41107</c:v>
                </c:pt>
                <c:pt idx="662">
                  <c:v>41108</c:v>
                </c:pt>
                <c:pt idx="663">
                  <c:v>41109</c:v>
                </c:pt>
                <c:pt idx="664">
                  <c:v>41110</c:v>
                </c:pt>
                <c:pt idx="665">
                  <c:v>41113</c:v>
                </c:pt>
                <c:pt idx="666">
                  <c:v>41114</c:v>
                </c:pt>
                <c:pt idx="667">
                  <c:v>41115</c:v>
                </c:pt>
                <c:pt idx="668">
                  <c:v>41116</c:v>
                </c:pt>
                <c:pt idx="669">
                  <c:v>41117</c:v>
                </c:pt>
                <c:pt idx="670">
                  <c:v>41120</c:v>
                </c:pt>
                <c:pt idx="671">
                  <c:v>41121</c:v>
                </c:pt>
                <c:pt idx="672">
                  <c:v>41122</c:v>
                </c:pt>
                <c:pt idx="673">
                  <c:v>41123</c:v>
                </c:pt>
                <c:pt idx="674">
                  <c:v>41124</c:v>
                </c:pt>
                <c:pt idx="675">
                  <c:v>41127</c:v>
                </c:pt>
                <c:pt idx="676">
                  <c:v>41128</c:v>
                </c:pt>
                <c:pt idx="677">
                  <c:v>41129</c:v>
                </c:pt>
                <c:pt idx="678">
                  <c:v>41130</c:v>
                </c:pt>
                <c:pt idx="679">
                  <c:v>41131</c:v>
                </c:pt>
                <c:pt idx="680">
                  <c:v>41134</c:v>
                </c:pt>
                <c:pt idx="681">
                  <c:v>41135</c:v>
                </c:pt>
                <c:pt idx="682">
                  <c:v>41136</c:v>
                </c:pt>
                <c:pt idx="683">
                  <c:v>41137</c:v>
                </c:pt>
                <c:pt idx="684">
                  <c:v>41138</c:v>
                </c:pt>
                <c:pt idx="685">
                  <c:v>41141</c:v>
                </c:pt>
                <c:pt idx="686">
                  <c:v>41142</c:v>
                </c:pt>
                <c:pt idx="687">
                  <c:v>41143</c:v>
                </c:pt>
                <c:pt idx="688">
                  <c:v>41144</c:v>
                </c:pt>
                <c:pt idx="689">
                  <c:v>41145</c:v>
                </c:pt>
                <c:pt idx="690">
                  <c:v>41148</c:v>
                </c:pt>
                <c:pt idx="691">
                  <c:v>41149</c:v>
                </c:pt>
                <c:pt idx="692">
                  <c:v>41150</c:v>
                </c:pt>
                <c:pt idx="693">
                  <c:v>41151</c:v>
                </c:pt>
                <c:pt idx="694">
                  <c:v>41152</c:v>
                </c:pt>
                <c:pt idx="695">
                  <c:v>41155</c:v>
                </c:pt>
                <c:pt idx="696">
                  <c:v>41156</c:v>
                </c:pt>
                <c:pt idx="697">
                  <c:v>41157</c:v>
                </c:pt>
                <c:pt idx="698">
                  <c:v>41158</c:v>
                </c:pt>
                <c:pt idx="699">
                  <c:v>41159</c:v>
                </c:pt>
                <c:pt idx="700">
                  <c:v>41162</c:v>
                </c:pt>
                <c:pt idx="701">
                  <c:v>41163</c:v>
                </c:pt>
                <c:pt idx="702">
                  <c:v>41164</c:v>
                </c:pt>
                <c:pt idx="703">
                  <c:v>41165</c:v>
                </c:pt>
                <c:pt idx="704">
                  <c:v>41166</c:v>
                </c:pt>
                <c:pt idx="705">
                  <c:v>41169</c:v>
                </c:pt>
                <c:pt idx="706">
                  <c:v>41170</c:v>
                </c:pt>
                <c:pt idx="707">
                  <c:v>41171</c:v>
                </c:pt>
                <c:pt idx="708">
                  <c:v>41172</c:v>
                </c:pt>
                <c:pt idx="709">
                  <c:v>41173</c:v>
                </c:pt>
                <c:pt idx="710">
                  <c:v>41176</c:v>
                </c:pt>
                <c:pt idx="711">
                  <c:v>41177</c:v>
                </c:pt>
                <c:pt idx="712">
                  <c:v>41178</c:v>
                </c:pt>
                <c:pt idx="713">
                  <c:v>41179</c:v>
                </c:pt>
                <c:pt idx="714">
                  <c:v>41180</c:v>
                </c:pt>
                <c:pt idx="715">
                  <c:v>41183</c:v>
                </c:pt>
                <c:pt idx="716">
                  <c:v>41184</c:v>
                </c:pt>
                <c:pt idx="717">
                  <c:v>41185</c:v>
                </c:pt>
                <c:pt idx="718">
                  <c:v>41186</c:v>
                </c:pt>
                <c:pt idx="719">
                  <c:v>41187</c:v>
                </c:pt>
                <c:pt idx="720">
                  <c:v>41190</c:v>
                </c:pt>
                <c:pt idx="721">
                  <c:v>41191</c:v>
                </c:pt>
                <c:pt idx="722">
                  <c:v>41192</c:v>
                </c:pt>
                <c:pt idx="723">
                  <c:v>41193</c:v>
                </c:pt>
                <c:pt idx="724">
                  <c:v>41194</c:v>
                </c:pt>
                <c:pt idx="725">
                  <c:v>41197</c:v>
                </c:pt>
                <c:pt idx="726">
                  <c:v>41198</c:v>
                </c:pt>
              </c:numCache>
            </c:numRef>
          </c:cat>
          <c:val>
            <c:numRef>
              <c:f>Sheet8!$B$2:$B$728</c:f>
              <c:numCache>
                <c:formatCode>0.00</c:formatCode>
                <c:ptCount val="727"/>
                <c:pt idx="0">
                  <c:v>0.70000000000000062</c:v>
                </c:pt>
                <c:pt idx="1">
                  <c:v>0.69899999999999995</c:v>
                </c:pt>
                <c:pt idx="2">
                  <c:v>0.69399999999999995</c:v>
                </c:pt>
                <c:pt idx="3">
                  <c:v>0.69199999999999995</c:v>
                </c:pt>
                <c:pt idx="4">
                  <c:v>0.69099999999999995</c:v>
                </c:pt>
                <c:pt idx="5">
                  <c:v>0.68899999999999995</c:v>
                </c:pt>
                <c:pt idx="6">
                  <c:v>0.68500000000000005</c:v>
                </c:pt>
                <c:pt idx="7">
                  <c:v>0.68400000000000005</c:v>
                </c:pt>
                <c:pt idx="8">
                  <c:v>0.68200000000000005</c:v>
                </c:pt>
                <c:pt idx="9">
                  <c:v>0.68</c:v>
                </c:pt>
                <c:pt idx="10">
                  <c:v>0.6770000000000016</c:v>
                </c:pt>
                <c:pt idx="11">
                  <c:v>0.67500000000000149</c:v>
                </c:pt>
                <c:pt idx="12">
                  <c:v>0.67400000000000149</c:v>
                </c:pt>
                <c:pt idx="13">
                  <c:v>0.67200000000000149</c:v>
                </c:pt>
                <c:pt idx="14">
                  <c:v>0.67000000000000148</c:v>
                </c:pt>
                <c:pt idx="15">
                  <c:v>0.66900000000000148</c:v>
                </c:pt>
                <c:pt idx="16">
                  <c:v>0.66700000000000148</c:v>
                </c:pt>
                <c:pt idx="17">
                  <c:v>0.66500000000000148</c:v>
                </c:pt>
                <c:pt idx="18">
                  <c:v>0.66500000000000148</c:v>
                </c:pt>
                <c:pt idx="19">
                  <c:v>0.66500000000000148</c:v>
                </c:pt>
                <c:pt idx="20">
                  <c:v>0.66500000000000148</c:v>
                </c:pt>
                <c:pt idx="21">
                  <c:v>0.66500000000000148</c:v>
                </c:pt>
                <c:pt idx="22">
                  <c:v>0.66500000000000148</c:v>
                </c:pt>
                <c:pt idx="23">
                  <c:v>0.66500000000000148</c:v>
                </c:pt>
                <c:pt idx="24">
                  <c:v>0.66300000000000137</c:v>
                </c:pt>
                <c:pt idx="25">
                  <c:v>0.66100000000000136</c:v>
                </c:pt>
                <c:pt idx="26">
                  <c:v>0.66100000000000136</c:v>
                </c:pt>
                <c:pt idx="27">
                  <c:v>0.66200000000000137</c:v>
                </c:pt>
                <c:pt idx="28">
                  <c:v>0.66200000000000137</c:v>
                </c:pt>
                <c:pt idx="29">
                  <c:v>0.66300000000000137</c:v>
                </c:pt>
                <c:pt idx="30">
                  <c:v>0.66100000000000136</c:v>
                </c:pt>
                <c:pt idx="31">
                  <c:v>0.66300000000000137</c:v>
                </c:pt>
                <c:pt idx="32">
                  <c:v>0.66200000000000137</c:v>
                </c:pt>
                <c:pt idx="33">
                  <c:v>0.66000000000000136</c:v>
                </c:pt>
                <c:pt idx="34">
                  <c:v>0.66100000000000136</c:v>
                </c:pt>
                <c:pt idx="35">
                  <c:v>0.66100000000000136</c:v>
                </c:pt>
                <c:pt idx="36">
                  <c:v>0.66100000000000136</c:v>
                </c:pt>
                <c:pt idx="37">
                  <c:v>0.65900000000000136</c:v>
                </c:pt>
                <c:pt idx="38">
                  <c:v>0.65800000000000136</c:v>
                </c:pt>
                <c:pt idx="39">
                  <c:v>0.65600000000000136</c:v>
                </c:pt>
                <c:pt idx="40">
                  <c:v>0.65500000000000136</c:v>
                </c:pt>
                <c:pt idx="41">
                  <c:v>0.65500000000000136</c:v>
                </c:pt>
                <c:pt idx="42">
                  <c:v>0.65500000000000136</c:v>
                </c:pt>
                <c:pt idx="43">
                  <c:v>0.65400000000000136</c:v>
                </c:pt>
                <c:pt idx="44">
                  <c:v>0.65300000000000136</c:v>
                </c:pt>
                <c:pt idx="45">
                  <c:v>0.65200000000000136</c:v>
                </c:pt>
                <c:pt idx="46">
                  <c:v>0.65200000000000136</c:v>
                </c:pt>
                <c:pt idx="47">
                  <c:v>0.65100000000000136</c:v>
                </c:pt>
                <c:pt idx="48">
                  <c:v>0.65000000000000135</c:v>
                </c:pt>
                <c:pt idx="49">
                  <c:v>0.64900000000000124</c:v>
                </c:pt>
                <c:pt idx="50">
                  <c:v>0.64600000000000124</c:v>
                </c:pt>
                <c:pt idx="51">
                  <c:v>0.64600000000000124</c:v>
                </c:pt>
                <c:pt idx="52">
                  <c:v>0.64400000000000124</c:v>
                </c:pt>
                <c:pt idx="53">
                  <c:v>0.64300000000000124</c:v>
                </c:pt>
                <c:pt idx="54">
                  <c:v>0.64200000000000124</c:v>
                </c:pt>
                <c:pt idx="55">
                  <c:v>0.63900000000000123</c:v>
                </c:pt>
                <c:pt idx="56">
                  <c:v>0.63700000000000123</c:v>
                </c:pt>
                <c:pt idx="57">
                  <c:v>0.63600000000000123</c:v>
                </c:pt>
                <c:pt idx="58">
                  <c:v>0.63500000000000123</c:v>
                </c:pt>
                <c:pt idx="59">
                  <c:v>0.63600000000000123</c:v>
                </c:pt>
                <c:pt idx="60">
                  <c:v>0.63500000000000123</c:v>
                </c:pt>
                <c:pt idx="61">
                  <c:v>0.63500000000000123</c:v>
                </c:pt>
                <c:pt idx="62">
                  <c:v>0.63400000000000123</c:v>
                </c:pt>
                <c:pt idx="63">
                  <c:v>0.63500000000000123</c:v>
                </c:pt>
                <c:pt idx="64">
                  <c:v>0.63500000000000123</c:v>
                </c:pt>
                <c:pt idx="65">
                  <c:v>0.63500000000000123</c:v>
                </c:pt>
                <c:pt idx="66">
                  <c:v>0.63800000000000123</c:v>
                </c:pt>
                <c:pt idx="67">
                  <c:v>0.63900000000000123</c:v>
                </c:pt>
                <c:pt idx="68">
                  <c:v>0.64000000000000123</c:v>
                </c:pt>
                <c:pt idx="69">
                  <c:v>0.64100000000000124</c:v>
                </c:pt>
                <c:pt idx="70">
                  <c:v>0.64200000000000124</c:v>
                </c:pt>
                <c:pt idx="71">
                  <c:v>0.64400000000000124</c:v>
                </c:pt>
                <c:pt idx="72">
                  <c:v>0.64400000000000124</c:v>
                </c:pt>
                <c:pt idx="73">
                  <c:v>0.64400000000000124</c:v>
                </c:pt>
                <c:pt idx="74">
                  <c:v>0.64400000000000124</c:v>
                </c:pt>
                <c:pt idx="75">
                  <c:v>0.64300000000000124</c:v>
                </c:pt>
                <c:pt idx="76">
                  <c:v>0.64200000000000124</c:v>
                </c:pt>
                <c:pt idx="77">
                  <c:v>0.64200000000000124</c:v>
                </c:pt>
                <c:pt idx="78">
                  <c:v>0.64400000000000124</c:v>
                </c:pt>
                <c:pt idx="79">
                  <c:v>0.64500000000000124</c:v>
                </c:pt>
                <c:pt idx="80">
                  <c:v>0.64500000000000124</c:v>
                </c:pt>
                <c:pt idx="81">
                  <c:v>0.64600000000000124</c:v>
                </c:pt>
                <c:pt idx="82">
                  <c:v>0.65400000000000136</c:v>
                </c:pt>
                <c:pt idx="83">
                  <c:v>0.65900000000000136</c:v>
                </c:pt>
                <c:pt idx="84">
                  <c:v>0.66300000000000137</c:v>
                </c:pt>
                <c:pt idx="85">
                  <c:v>0.66500000000000148</c:v>
                </c:pt>
                <c:pt idx="86">
                  <c:v>0.66800000000000148</c:v>
                </c:pt>
                <c:pt idx="87">
                  <c:v>0.67200000000000149</c:v>
                </c:pt>
                <c:pt idx="88">
                  <c:v>0.6770000000000016</c:v>
                </c:pt>
                <c:pt idx="89">
                  <c:v>0.68200000000000005</c:v>
                </c:pt>
                <c:pt idx="90">
                  <c:v>0.68200000000000005</c:v>
                </c:pt>
                <c:pt idx="91">
                  <c:v>0.68200000000000005</c:v>
                </c:pt>
                <c:pt idx="92">
                  <c:v>0.68200000000000005</c:v>
                </c:pt>
                <c:pt idx="93">
                  <c:v>0.68300000000000005</c:v>
                </c:pt>
                <c:pt idx="94">
                  <c:v>0.68400000000000005</c:v>
                </c:pt>
                <c:pt idx="95">
                  <c:v>0.68500000000000005</c:v>
                </c:pt>
                <c:pt idx="96">
                  <c:v>0.68799999999999994</c:v>
                </c:pt>
                <c:pt idx="97">
                  <c:v>0.69000000000000061</c:v>
                </c:pt>
                <c:pt idx="98">
                  <c:v>0.69199999999999995</c:v>
                </c:pt>
                <c:pt idx="99">
                  <c:v>0.69499999999999995</c:v>
                </c:pt>
                <c:pt idx="100">
                  <c:v>0.69699999999999995</c:v>
                </c:pt>
                <c:pt idx="101">
                  <c:v>0.69699999999999995</c:v>
                </c:pt>
                <c:pt idx="102">
                  <c:v>0.69699999999999995</c:v>
                </c:pt>
                <c:pt idx="103">
                  <c:v>0.69899999999999995</c:v>
                </c:pt>
                <c:pt idx="104">
                  <c:v>0.69899999999999995</c:v>
                </c:pt>
                <c:pt idx="105">
                  <c:v>0.70100000000000062</c:v>
                </c:pt>
                <c:pt idx="106">
                  <c:v>0.70200000000000062</c:v>
                </c:pt>
                <c:pt idx="107">
                  <c:v>0.70400000000000063</c:v>
                </c:pt>
                <c:pt idx="108">
                  <c:v>0.70600000000000063</c:v>
                </c:pt>
                <c:pt idx="109">
                  <c:v>0.70700000000000063</c:v>
                </c:pt>
                <c:pt idx="110">
                  <c:v>0.71100000000000063</c:v>
                </c:pt>
                <c:pt idx="111">
                  <c:v>0.71300000000000063</c:v>
                </c:pt>
                <c:pt idx="112">
                  <c:v>0.71500000000000064</c:v>
                </c:pt>
                <c:pt idx="113">
                  <c:v>0.71800000000000064</c:v>
                </c:pt>
                <c:pt idx="114">
                  <c:v>0.71900000000000064</c:v>
                </c:pt>
                <c:pt idx="115">
                  <c:v>0.72000000000000064</c:v>
                </c:pt>
                <c:pt idx="116">
                  <c:v>0.72300000000000064</c:v>
                </c:pt>
                <c:pt idx="117">
                  <c:v>0.72700000000000065</c:v>
                </c:pt>
                <c:pt idx="118">
                  <c:v>0.72900000000000065</c:v>
                </c:pt>
                <c:pt idx="119">
                  <c:v>0.73200000000000065</c:v>
                </c:pt>
                <c:pt idx="120">
                  <c:v>0.73300000000000065</c:v>
                </c:pt>
                <c:pt idx="121">
                  <c:v>0.73700000000000065</c:v>
                </c:pt>
                <c:pt idx="122">
                  <c:v>0.7390000000000011</c:v>
                </c:pt>
                <c:pt idx="123">
                  <c:v>0.7420000000000011</c:v>
                </c:pt>
                <c:pt idx="124">
                  <c:v>0.74800000000000111</c:v>
                </c:pt>
                <c:pt idx="125">
                  <c:v>0.75400000000000122</c:v>
                </c:pt>
                <c:pt idx="126">
                  <c:v>0.76100000000000123</c:v>
                </c:pt>
                <c:pt idx="127">
                  <c:v>0.76700000000000124</c:v>
                </c:pt>
                <c:pt idx="128">
                  <c:v>0.78200000000000003</c:v>
                </c:pt>
                <c:pt idx="129">
                  <c:v>0.79</c:v>
                </c:pt>
                <c:pt idx="130">
                  <c:v>0.79300000000000004</c:v>
                </c:pt>
                <c:pt idx="131">
                  <c:v>0.79700000000000004</c:v>
                </c:pt>
                <c:pt idx="132">
                  <c:v>0.80200000000000005</c:v>
                </c:pt>
                <c:pt idx="133">
                  <c:v>0.81</c:v>
                </c:pt>
                <c:pt idx="134">
                  <c:v>0.82199999999999995</c:v>
                </c:pt>
                <c:pt idx="135">
                  <c:v>0.82700000000000062</c:v>
                </c:pt>
                <c:pt idx="136">
                  <c:v>0.83500000000000063</c:v>
                </c:pt>
                <c:pt idx="137">
                  <c:v>0.84000000000000064</c:v>
                </c:pt>
                <c:pt idx="138">
                  <c:v>0.84600000000000064</c:v>
                </c:pt>
                <c:pt idx="139">
                  <c:v>0.86100000000000065</c:v>
                </c:pt>
                <c:pt idx="140">
                  <c:v>0.87000000000000111</c:v>
                </c:pt>
                <c:pt idx="141">
                  <c:v>0.87600000000000122</c:v>
                </c:pt>
                <c:pt idx="142">
                  <c:v>0.88100000000000001</c:v>
                </c:pt>
                <c:pt idx="143">
                  <c:v>0.88400000000000001</c:v>
                </c:pt>
                <c:pt idx="144">
                  <c:v>0.88500000000000001</c:v>
                </c:pt>
                <c:pt idx="145">
                  <c:v>0.88900000000000001</c:v>
                </c:pt>
                <c:pt idx="146">
                  <c:v>0.89300000000000002</c:v>
                </c:pt>
                <c:pt idx="147">
                  <c:v>0.89600000000000002</c:v>
                </c:pt>
                <c:pt idx="148">
                  <c:v>0.89900000000000002</c:v>
                </c:pt>
                <c:pt idx="149">
                  <c:v>0.89600000000000002</c:v>
                </c:pt>
                <c:pt idx="150">
                  <c:v>0.89800000000000002</c:v>
                </c:pt>
                <c:pt idx="151">
                  <c:v>0.89900000000000002</c:v>
                </c:pt>
                <c:pt idx="152">
                  <c:v>0.9</c:v>
                </c:pt>
                <c:pt idx="153">
                  <c:v>0.90400000000000003</c:v>
                </c:pt>
                <c:pt idx="154">
                  <c:v>0.90500000000000003</c:v>
                </c:pt>
                <c:pt idx="155">
                  <c:v>0.90400000000000003</c:v>
                </c:pt>
                <c:pt idx="156">
                  <c:v>0.90400000000000003</c:v>
                </c:pt>
                <c:pt idx="157">
                  <c:v>0.90300000000000002</c:v>
                </c:pt>
                <c:pt idx="158">
                  <c:v>0.89900000000000002</c:v>
                </c:pt>
                <c:pt idx="159">
                  <c:v>0.89800000000000002</c:v>
                </c:pt>
                <c:pt idx="160">
                  <c:v>0.89600000000000002</c:v>
                </c:pt>
                <c:pt idx="161">
                  <c:v>0.89500000000000002</c:v>
                </c:pt>
                <c:pt idx="162">
                  <c:v>0.89400000000000002</c:v>
                </c:pt>
                <c:pt idx="163">
                  <c:v>0.89100000000000001</c:v>
                </c:pt>
                <c:pt idx="164">
                  <c:v>0.89</c:v>
                </c:pt>
                <c:pt idx="165">
                  <c:v>0.89100000000000001</c:v>
                </c:pt>
                <c:pt idx="166">
                  <c:v>0.88900000000000001</c:v>
                </c:pt>
                <c:pt idx="167">
                  <c:v>0.89</c:v>
                </c:pt>
                <c:pt idx="168">
                  <c:v>0.88900000000000001</c:v>
                </c:pt>
                <c:pt idx="169">
                  <c:v>0.88800000000000001</c:v>
                </c:pt>
                <c:pt idx="170">
                  <c:v>0.88800000000000001</c:v>
                </c:pt>
                <c:pt idx="171">
                  <c:v>0.88600000000000001</c:v>
                </c:pt>
                <c:pt idx="172">
                  <c:v>0.88600000000000001</c:v>
                </c:pt>
                <c:pt idx="173">
                  <c:v>0.88400000000000001</c:v>
                </c:pt>
                <c:pt idx="174">
                  <c:v>0.88300000000000001</c:v>
                </c:pt>
                <c:pt idx="175">
                  <c:v>0.88200000000000001</c:v>
                </c:pt>
                <c:pt idx="176">
                  <c:v>0.88100000000000001</c:v>
                </c:pt>
                <c:pt idx="177">
                  <c:v>0.88</c:v>
                </c:pt>
                <c:pt idx="178">
                  <c:v>0.87900000000000122</c:v>
                </c:pt>
                <c:pt idx="179">
                  <c:v>0.87800000000000122</c:v>
                </c:pt>
                <c:pt idx="180">
                  <c:v>0.87900000000000122</c:v>
                </c:pt>
                <c:pt idx="181">
                  <c:v>0.87700000000000122</c:v>
                </c:pt>
                <c:pt idx="182">
                  <c:v>0.87600000000000122</c:v>
                </c:pt>
                <c:pt idx="183">
                  <c:v>0.87900000000000122</c:v>
                </c:pt>
                <c:pt idx="184">
                  <c:v>0.87900000000000122</c:v>
                </c:pt>
                <c:pt idx="185">
                  <c:v>0.87600000000000122</c:v>
                </c:pt>
                <c:pt idx="186">
                  <c:v>0.87900000000000122</c:v>
                </c:pt>
                <c:pt idx="187">
                  <c:v>0.87900000000000122</c:v>
                </c:pt>
                <c:pt idx="188">
                  <c:v>0.87800000000000122</c:v>
                </c:pt>
                <c:pt idx="189">
                  <c:v>0.87900000000000122</c:v>
                </c:pt>
                <c:pt idx="190">
                  <c:v>0.87900000000000122</c:v>
                </c:pt>
                <c:pt idx="191">
                  <c:v>0.88</c:v>
                </c:pt>
                <c:pt idx="192">
                  <c:v>0.88600000000000001</c:v>
                </c:pt>
                <c:pt idx="193">
                  <c:v>0.89200000000000002</c:v>
                </c:pt>
                <c:pt idx="194">
                  <c:v>0.94199999999999995</c:v>
                </c:pt>
                <c:pt idx="195">
                  <c:v>0.95300000000000062</c:v>
                </c:pt>
                <c:pt idx="196">
                  <c:v>0.95600000000000063</c:v>
                </c:pt>
                <c:pt idx="197">
                  <c:v>0.95900000000000063</c:v>
                </c:pt>
                <c:pt idx="198">
                  <c:v>0.96500000000000064</c:v>
                </c:pt>
                <c:pt idx="199">
                  <c:v>0.97200000000000064</c:v>
                </c:pt>
                <c:pt idx="200">
                  <c:v>0.97700000000000065</c:v>
                </c:pt>
                <c:pt idx="201">
                  <c:v>0.98199999999999998</c:v>
                </c:pt>
                <c:pt idx="202">
                  <c:v>0.98499999999999999</c:v>
                </c:pt>
                <c:pt idx="203">
                  <c:v>0.98699999999999999</c:v>
                </c:pt>
                <c:pt idx="204">
                  <c:v>0.99299999999999999</c:v>
                </c:pt>
                <c:pt idx="205">
                  <c:v>1</c:v>
                </c:pt>
                <c:pt idx="206">
                  <c:v>1.008</c:v>
                </c:pt>
                <c:pt idx="207">
                  <c:v>1.016</c:v>
                </c:pt>
                <c:pt idx="208">
                  <c:v>1.0249999999999975</c:v>
                </c:pt>
                <c:pt idx="209">
                  <c:v>1.0289999999999975</c:v>
                </c:pt>
                <c:pt idx="210">
                  <c:v>1.032</c:v>
                </c:pt>
                <c:pt idx="211">
                  <c:v>1.0369999999999975</c:v>
                </c:pt>
                <c:pt idx="212">
                  <c:v>1.0429999999999977</c:v>
                </c:pt>
                <c:pt idx="213">
                  <c:v>1.0449999999999977</c:v>
                </c:pt>
                <c:pt idx="214">
                  <c:v>1.0449999999999977</c:v>
                </c:pt>
                <c:pt idx="215">
                  <c:v>1.046</c:v>
                </c:pt>
                <c:pt idx="216">
                  <c:v>1.0469999999999977</c:v>
                </c:pt>
                <c:pt idx="217">
                  <c:v>1.0489999999999977</c:v>
                </c:pt>
                <c:pt idx="218">
                  <c:v>1.05</c:v>
                </c:pt>
                <c:pt idx="219">
                  <c:v>1.05</c:v>
                </c:pt>
                <c:pt idx="220">
                  <c:v>1.05</c:v>
                </c:pt>
                <c:pt idx="221">
                  <c:v>1.0489999999999977</c:v>
                </c:pt>
                <c:pt idx="222">
                  <c:v>1.048</c:v>
                </c:pt>
                <c:pt idx="223">
                  <c:v>1.05</c:v>
                </c:pt>
                <c:pt idx="224">
                  <c:v>1.0489999999999977</c:v>
                </c:pt>
                <c:pt idx="225">
                  <c:v>1.048</c:v>
                </c:pt>
                <c:pt idx="226">
                  <c:v>1.046</c:v>
                </c:pt>
                <c:pt idx="227">
                  <c:v>1.044</c:v>
                </c:pt>
                <c:pt idx="228">
                  <c:v>1.0409999999999975</c:v>
                </c:pt>
                <c:pt idx="229">
                  <c:v>1.04</c:v>
                </c:pt>
                <c:pt idx="230">
                  <c:v>1.0389999999999975</c:v>
                </c:pt>
                <c:pt idx="231">
                  <c:v>1.0349999999999975</c:v>
                </c:pt>
                <c:pt idx="232">
                  <c:v>1.03</c:v>
                </c:pt>
                <c:pt idx="233">
                  <c:v>1.0309999999999975</c:v>
                </c:pt>
                <c:pt idx="234">
                  <c:v>1.028</c:v>
                </c:pt>
                <c:pt idx="235">
                  <c:v>1.0269999999999975</c:v>
                </c:pt>
                <c:pt idx="236">
                  <c:v>1.028</c:v>
                </c:pt>
                <c:pt idx="237">
                  <c:v>1.026</c:v>
                </c:pt>
                <c:pt idx="238">
                  <c:v>1.0269999999999975</c:v>
                </c:pt>
                <c:pt idx="239">
                  <c:v>1.0269999999999975</c:v>
                </c:pt>
                <c:pt idx="240">
                  <c:v>1.028</c:v>
                </c:pt>
                <c:pt idx="241">
                  <c:v>1.0289999999999975</c:v>
                </c:pt>
                <c:pt idx="242">
                  <c:v>1.0289999999999975</c:v>
                </c:pt>
                <c:pt idx="243">
                  <c:v>1.0289999999999975</c:v>
                </c:pt>
                <c:pt idx="244">
                  <c:v>1.028</c:v>
                </c:pt>
                <c:pt idx="245">
                  <c:v>1.026</c:v>
                </c:pt>
                <c:pt idx="246">
                  <c:v>1.026</c:v>
                </c:pt>
                <c:pt idx="247">
                  <c:v>1.0249999999999975</c:v>
                </c:pt>
                <c:pt idx="248">
                  <c:v>1.024</c:v>
                </c:pt>
                <c:pt idx="249">
                  <c:v>1.0229999999999975</c:v>
                </c:pt>
                <c:pt idx="250">
                  <c:v>1.022</c:v>
                </c:pt>
                <c:pt idx="251">
                  <c:v>1.022</c:v>
                </c:pt>
                <c:pt idx="252">
                  <c:v>1.0209999999999975</c:v>
                </c:pt>
                <c:pt idx="253">
                  <c:v>1.0149999999999975</c:v>
                </c:pt>
                <c:pt idx="254">
                  <c:v>1.014</c:v>
                </c:pt>
                <c:pt idx="255">
                  <c:v>1.014</c:v>
                </c:pt>
                <c:pt idx="256">
                  <c:v>1.014</c:v>
                </c:pt>
                <c:pt idx="257">
                  <c:v>1.0129999999999975</c:v>
                </c:pt>
                <c:pt idx="258">
                  <c:v>1.01</c:v>
                </c:pt>
                <c:pt idx="259">
                  <c:v>1.006</c:v>
                </c:pt>
                <c:pt idx="260">
                  <c:v>1.0009999999999974</c:v>
                </c:pt>
                <c:pt idx="261">
                  <c:v>0.999</c:v>
                </c:pt>
                <c:pt idx="262">
                  <c:v>0.998</c:v>
                </c:pt>
                <c:pt idx="263">
                  <c:v>0.997</c:v>
                </c:pt>
                <c:pt idx="264">
                  <c:v>0.997</c:v>
                </c:pt>
                <c:pt idx="265">
                  <c:v>0.995</c:v>
                </c:pt>
                <c:pt idx="266">
                  <c:v>0.995</c:v>
                </c:pt>
                <c:pt idx="267">
                  <c:v>0.995</c:v>
                </c:pt>
                <c:pt idx="268">
                  <c:v>0.998</c:v>
                </c:pt>
                <c:pt idx="269">
                  <c:v>1.006</c:v>
                </c:pt>
                <c:pt idx="270">
                  <c:v>1.0089999999999975</c:v>
                </c:pt>
                <c:pt idx="271">
                  <c:v>1.012</c:v>
                </c:pt>
                <c:pt idx="272">
                  <c:v>1.014</c:v>
                </c:pt>
                <c:pt idx="273">
                  <c:v>1.016</c:v>
                </c:pt>
                <c:pt idx="274">
                  <c:v>1.0249999999999975</c:v>
                </c:pt>
                <c:pt idx="275">
                  <c:v>1.0289999999999975</c:v>
                </c:pt>
                <c:pt idx="276">
                  <c:v>1.0309999999999975</c:v>
                </c:pt>
                <c:pt idx="277">
                  <c:v>1.0509999999999977</c:v>
                </c:pt>
                <c:pt idx="278">
                  <c:v>1.0569999999999977</c:v>
                </c:pt>
                <c:pt idx="279">
                  <c:v>1.0629999999999977</c:v>
                </c:pt>
                <c:pt idx="280">
                  <c:v>1.0740000000000001</c:v>
                </c:pt>
                <c:pt idx="281">
                  <c:v>1.0820000000000001</c:v>
                </c:pt>
                <c:pt idx="282">
                  <c:v>1.083</c:v>
                </c:pt>
                <c:pt idx="283">
                  <c:v>1.087</c:v>
                </c:pt>
                <c:pt idx="284">
                  <c:v>1.0880000000000001</c:v>
                </c:pt>
                <c:pt idx="285">
                  <c:v>1.0840000000000001</c:v>
                </c:pt>
                <c:pt idx="286">
                  <c:v>1.079</c:v>
                </c:pt>
                <c:pt idx="287">
                  <c:v>1.089</c:v>
                </c:pt>
                <c:pt idx="288">
                  <c:v>1.0940000000000001</c:v>
                </c:pt>
                <c:pt idx="289">
                  <c:v>1.093</c:v>
                </c:pt>
                <c:pt idx="290">
                  <c:v>1.091</c:v>
                </c:pt>
                <c:pt idx="291">
                  <c:v>1.0900000000000001</c:v>
                </c:pt>
                <c:pt idx="292">
                  <c:v>1.089</c:v>
                </c:pt>
                <c:pt idx="293">
                  <c:v>1.0860000000000001</c:v>
                </c:pt>
                <c:pt idx="294">
                  <c:v>1.0780000000000001</c:v>
                </c:pt>
                <c:pt idx="295">
                  <c:v>1.079</c:v>
                </c:pt>
                <c:pt idx="296">
                  <c:v>1.0820000000000001</c:v>
                </c:pt>
                <c:pt idx="297">
                  <c:v>1.087</c:v>
                </c:pt>
                <c:pt idx="298">
                  <c:v>1.0880000000000001</c:v>
                </c:pt>
                <c:pt idx="299">
                  <c:v>1.0920000000000001</c:v>
                </c:pt>
                <c:pt idx="300">
                  <c:v>1.0940000000000001</c:v>
                </c:pt>
                <c:pt idx="301">
                  <c:v>1.0960000000000001</c:v>
                </c:pt>
                <c:pt idx="302">
                  <c:v>1.095</c:v>
                </c:pt>
                <c:pt idx="303">
                  <c:v>1.0980000000000001</c:v>
                </c:pt>
                <c:pt idx="304">
                  <c:v>1.1619999999999975</c:v>
                </c:pt>
                <c:pt idx="305">
                  <c:v>1.1719999999999977</c:v>
                </c:pt>
                <c:pt idx="306">
                  <c:v>1.1800000000000022</c:v>
                </c:pt>
                <c:pt idx="307">
                  <c:v>1.179</c:v>
                </c:pt>
                <c:pt idx="308">
                  <c:v>1.175</c:v>
                </c:pt>
                <c:pt idx="309">
                  <c:v>1.173</c:v>
                </c:pt>
                <c:pt idx="310">
                  <c:v>1.1739999999999977</c:v>
                </c:pt>
                <c:pt idx="311">
                  <c:v>1.167</c:v>
                </c:pt>
                <c:pt idx="312">
                  <c:v>1.1700000000000021</c:v>
                </c:pt>
                <c:pt idx="313">
                  <c:v>1.1700000000000021</c:v>
                </c:pt>
                <c:pt idx="314">
                  <c:v>1.1719999999999977</c:v>
                </c:pt>
                <c:pt idx="315">
                  <c:v>1.179</c:v>
                </c:pt>
                <c:pt idx="316">
                  <c:v>1.1850000000000001</c:v>
                </c:pt>
                <c:pt idx="317">
                  <c:v>1.1910000000000001</c:v>
                </c:pt>
                <c:pt idx="318">
                  <c:v>1.1970000000000001</c:v>
                </c:pt>
                <c:pt idx="319">
                  <c:v>1.2029999999999974</c:v>
                </c:pt>
                <c:pt idx="320">
                  <c:v>1.21</c:v>
                </c:pt>
                <c:pt idx="321">
                  <c:v>1.2189999999999974</c:v>
                </c:pt>
                <c:pt idx="322">
                  <c:v>1.2309999999999974</c:v>
                </c:pt>
                <c:pt idx="323">
                  <c:v>1.2389999999999974</c:v>
                </c:pt>
                <c:pt idx="324">
                  <c:v>1.2489999999999977</c:v>
                </c:pt>
                <c:pt idx="325">
                  <c:v>1.2549999999999975</c:v>
                </c:pt>
                <c:pt idx="326">
                  <c:v>1.262</c:v>
                </c:pt>
                <c:pt idx="327">
                  <c:v>1.2689999999999975</c:v>
                </c:pt>
                <c:pt idx="328">
                  <c:v>1.28</c:v>
                </c:pt>
                <c:pt idx="329">
                  <c:v>1.294</c:v>
                </c:pt>
                <c:pt idx="330">
                  <c:v>1.3109999999999977</c:v>
                </c:pt>
                <c:pt idx="331">
                  <c:v>1.32</c:v>
                </c:pt>
                <c:pt idx="332">
                  <c:v>1.327</c:v>
                </c:pt>
                <c:pt idx="333">
                  <c:v>1.3320000000000001</c:v>
                </c:pt>
                <c:pt idx="334">
                  <c:v>1.3320000000000001</c:v>
                </c:pt>
                <c:pt idx="335">
                  <c:v>1.3380000000000001</c:v>
                </c:pt>
                <c:pt idx="336">
                  <c:v>1.343</c:v>
                </c:pt>
                <c:pt idx="337">
                  <c:v>1.349</c:v>
                </c:pt>
                <c:pt idx="338">
                  <c:v>1.3560000000000001</c:v>
                </c:pt>
                <c:pt idx="339">
                  <c:v>1.3560000000000001</c:v>
                </c:pt>
                <c:pt idx="340">
                  <c:v>1.3560000000000001</c:v>
                </c:pt>
                <c:pt idx="341">
                  <c:v>1.361</c:v>
                </c:pt>
                <c:pt idx="342">
                  <c:v>1.365</c:v>
                </c:pt>
                <c:pt idx="343">
                  <c:v>1.375</c:v>
                </c:pt>
                <c:pt idx="344">
                  <c:v>1.385</c:v>
                </c:pt>
                <c:pt idx="345">
                  <c:v>1.395</c:v>
                </c:pt>
                <c:pt idx="346">
                  <c:v>1.401999999999995</c:v>
                </c:pt>
                <c:pt idx="347">
                  <c:v>1.4149999999999971</c:v>
                </c:pt>
                <c:pt idx="348">
                  <c:v>1.4239999999999955</c:v>
                </c:pt>
                <c:pt idx="349">
                  <c:v>1.4189999999999972</c:v>
                </c:pt>
                <c:pt idx="350">
                  <c:v>1.4229999999999972</c:v>
                </c:pt>
                <c:pt idx="351">
                  <c:v>1.4259999999999955</c:v>
                </c:pt>
                <c:pt idx="352">
                  <c:v>1.42</c:v>
                </c:pt>
                <c:pt idx="353">
                  <c:v>1.42</c:v>
                </c:pt>
                <c:pt idx="354">
                  <c:v>1.4249999999999972</c:v>
                </c:pt>
                <c:pt idx="355">
                  <c:v>1.4259999999999955</c:v>
                </c:pt>
                <c:pt idx="356">
                  <c:v>1.4279999999999955</c:v>
                </c:pt>
                <c:pt idx="357">
                  <c:v>1.4309999999999972</c:v>
                </c:pt>
                <c:pt idx="358">
                  <c:v>1.4339999999999955</c:v>
                </c:pt>
                <c:pt idx="359">
                  <c:v>1.4349999999999972</c:v>
                </c:pt>
                <c:pt idx="360">
                  <c:v>1.4339999999999955</c:v>
                </c:pt>
                <c:pt idx="361">
                  <c:v>1.4339999999999955</c:v>
                </c:pt>
                <c:pt idx="362">
                  <c:v>1.4349999999999972</c:v>
                </c:pt>
                <c:pt idx="363">
                  <c:v>1.4329999999999972</c:v>
                </c:pt>
                <c:pt idx="364">
                  <c:v>1.43</c:v>
                </c:pt>
                <c:pt idx="365">
                  <c:v>1.43</c:v>
                </c:pt>
                <c:pt idx="366">
                  <c:v>1.4329999999999972</c:v>
                </c:pt>
                <c:pt idx="367">
                  <c:v>1.4339999999999955</c:v>
                </c:pt>
                <c:pt idx="368">
                  <c:v>1.4349999999999972</c:v>
                </c:pt>
                <c:pt idx="369">
                  <c:v>1.4359999999999955</c:v>
                </c:pt>
                <c:pt idx="370">
                  <c:v>1.4379999999999955</c:v>
                </c:pt>
                <c:pt idx="371">
                  <c:v>1.4429999999999974</c:v>
                </c:pt>
                <c:pt idx="372">
                  <c:v>1.452</c:v>
                </c:pt>
                <c:pt idx="373">
                  <c:v>1.464</c:v>
                </c:pt>
                <c:pt idx="374">
                  <c:v>1.4689999999999974</c:v>
                </c:pt>
                <c:pt idx="375">
                  <c:v>1.4709999999999974</c:v>
                </c:pt>
                <c:pt idx="376">
                  <c:v>1.4769999999999974</c:v>
                </c:pt>
                <c:pt idx="377">
                  <c:v>1.4849999999999974</c:v>
                </c:pt>
                <c:pt idx="378">
                  <c:v>1.494</c:v>
                </c:pt>
                <c:pt idx="379">
                  <c:v>1.502</c:v>
                </c:pt>
                <c:pt idx="380">
                  <c:v>1.51</c:v>
                </c:pt>
                <c:pt idx="381">
                  <c:v>1.52</c:v>
                </c:pt>
                <c:pt idx="382">
                  <c:v>1.526</c:v>
                </c:pt>
                <c:pt idx="383">
                  <c:v>1.526</c:v>
                </c:pt>
                <c:pt idx="384">
                  <c:v>1.528</c:v>
                </c:pt>
                <c:pt idx="385">
                  <c:v>1.524</c:v>
                </c:pt>
                <c:pt idx="386">
                  <c:v>1.5309999999999975</c:v>
                </c:pt>
                <c:pt idx="387">
                  <c:v>1.5369999999999975</c:v>
                </c:pt>
                <c:pt idx="388">
                  <c:v>1.5469999999999977</c:v>
                </c:pt>
                <c:pt idx="389">
                  <c:v>1.556</c:v>
                </c:pt>
                <c:pt idx="390">
                  <c:v>1.5629999999999977</c:v>
                </c:pt>
                <c:pt idx="391">
                  <c:v>1.5680000000000001</c:v>
                </c:pt>
                <c:pt idx="392">
                  <c:v>1.569</c:v>
                </c:pt>
                <c:pt idx="393">
                  <c:v>1.583</c:v>
                </c:pt>
                <c:pt idx="394">
                  <c:v>1.593</c:v>
                </c:pt>
                <c:pt idx="395">
                  <c:v>1.601</c:v>
                </c:pt>
                <c:pt idx="396">
                  <c:v>1.599</c:v>
                </c:pt>
                <c:pt idx="397">
                  <c:v>1.605</c:v>
                </c:pt>
                <c:pt idx="398">
                  <c:v>1.6060000000000001</c:v>
                </c:pt>
                <c:pt idx="399">
                  <c:v>1.6080000000000001</c:v>
                </c:pt>
                <c:pt idx="400">
                  <c:v>1.6080000000000001</c:v>
                </c:pt>
                <c:pt idx="401">
                  <c:v>1.609</c:v>
                </c:pt>
                <c:pt idx="402">
                  <c:v>1.6040000000000001</c:v>
                </c:pt>
                <c:pt idx="403">
                  <c:v>1.6080000000000001</c:v>
                </c:pt>
                <c:pt idx="404">
                  <c:v>1.611</c:v>
                </c:pt>
                <c:pt idx="405">
                  <c:v>1.613</c:v>
                </c:pt>
                <c:pt idx="406">
                  <c:v>1.615</c:v>
                </c:pt>
                <c:pt idx="407">
                  <c:v>1.6120000000000001</c:v>
                </c:pt>
                <c:pt idx="408">
                  <c:v>1.61</c:v>
                </c:pt>
                <c:pt idx="409">
                  <c:v>1.609</c:v>
                </c:pt>
                <c:pt idx="410">
                  <c:v>1.609</c:v>
                </c:pt>
                <c:pt idx="411">
                  <c:v>1.605</c:v>
                </c:pt>
                <c:pt idx="412">
                  <c:v>1.601</c:v>
                </c:pt>
                <c:pt idx="413">
                  <c:v>1.6020000000000001</c:v>
                </c:pt>
                <c:pt idx="414">
                  <c:v>1.5640000000000001</c:v>
                </c:pt>
                <c:pt idx="415">
                  <c:v>1.56</c:v>
                </c:pt>
                <c:pt idx="416">
                  <c:v>1.5549999999999977</c:v>
                </c:pt>
                <c:pt idx="417">
                  <c:v>1.5449999999999977</c:v>
                </c:pt>
                <c:pt idx="418">
                  <c:v>1.5349999999999975</c:v>
                </c:pt>
                <c:pt idx="419">
                  <c:v>1.5349999999999975</c:v>
                </c:pt>
                <c:pt idx="420">
                  <c:v>1.538</c:v>
                </c:pt>
                <c:pt idx="421">
                  <c:v>1.536</c:v>
                </c:pt>
                <c:pt idx="422">
                  <c:v>1.5349999999999975</c:v>
                </c:pt>
                <c:pt idx="423">
                  <c:v>1.5349999999999975</c:v>
                </c:pt>
                <c:pt idx="424">
                  <c:v>1.5329999999999975</c:v>
                </c:pt>
                <c:pt idx="425">
                  <c:v>1.534</c:v>
                </c:pt>
                <c:pt idx="426">
                  <c:v>1.536</c:v>
                </c:pt>
                <c:pt idx="427">
                  <c:v>1.5389999999999975</c:v>
                </c:pt>
                <c:pt idx="428">
                  <c:v>1.5389999999999975</c:v>
                </c:pt>
                <c:pt idx="429">
                  <c:v>1.54</c:v>
                </c:pt>
                <c:pt idx="430">
                  <c:v>1.54</c:v>
                </c:pt>
                <c:pt idx="431">
                  <c:v>1.54</c:v>
                </c:pt>
                <c:pt idx="432">
                  <c:v>1.542</c:v>
                </c:pt>
                <c:pt idx="433">
                  <c:v>1.5429999999999977</c:v>
                </c:pt>
                <c:pt idx="434">
                  <c:v>1.5409999999999975</c:v>
                </c:pt>
                <c:pt idx="435">
                  <c:v>1.5369999999999975</c:v>
                </c:pt>
                <c:pt idx="436">
                  <c:v>1.534</c:v>
                </c:pt>
                <c:pt idx="437">
                  <c:v>1.532</c:v>
                </c:pt>
                <c:pt idx="438">
                  <c:v>1.532</c:v>
                </c:pt>
                <c:pt idx="439">
                  <c:v>1.53</c:v>
                </c:pt>
                <c:pt idx="440">
                  <c:v>1.5269999999999975</c:v>
                </c:pt>
                <c:pt idx="441">
                  <c:v>1.528</c:v>
                </c:pt>
                <c:pt idx="442">
                  <c:v>1.5289999999999975</c:v>
                </c:pt>
                <c:pt idx="443">
                  <c:v>1.5309999999999975</c:v>
                </c:pt>
                <c:pt idx="444">
                  <c:v>1.5349999999999975</c:v>
                </c:pt>
                <c:pt idx="445">
                  <c:v>1.536</c:v>
                </c:pt>
                <c:pt idx="446">
                  <c:v>1.5369999999999975</c:v>
                </c:pt>
                <c:pt idx="447">
                  <c:v>1.5369999999999975</c:v>
                </c:pt>
                <c:pt idx="448">
                  <c:v>1.536</c:v>
                </c:pt>
                <c:pt idx="449">
                  <c:v>1.5369999999999975</c:v>
                </c:pt>
                <c:pt idx="450">
                  <c:v>1.5349999999999975</c:v>
                </c:pt>
                <c:pt idx="451">
                  <c:v>1.5369999999999975</c:v>
                </c:pt>
                <c:pt idx="452">
                  <c:v>1.544</c:v>
                </c:pt>
                <c:pt idx="453">
                  <c:v>1.55</c:v>
                </c:pt>
                <c:pt idx="454">
                  <c:v>1.554</c:v>
                </c:pt>
                <c:pt idx="455">
                  <c:v>1.5569999999999977</c:v>
                </c:pt>
                <c:pt idx="456">
                  <c:v>1.5569999999999977</c:v>
                </c:pt>
                <c:pt idx="457">
                  <c:v>1.5580000000000001</c:v>
                </c:pt>
                <c:pt idx="458">
                  <c:v>1.556</c:v>
                </c:pt>
                <c:pt idx="459">
                  <c:v>1.5660000000000001</c:v>
                </c:pt>
                <c:pt idx="460">
                  <c:v>1.5669999999999977</c:v>
                </c:pt>
                <c:pt idx="461">
                  <c:v>1.57</c:v>
                </c:pt>
                <c:pt idx="462">
                  <c:v>1.571</c:v>
                </c:pt>
                <c:pt idx="463">
                  <c:v>1.5720000000000001</c:v>
                </c:pt>
                <c:pt idx="464">
                  <c:v>1.5740000000000001</c:v>
                </c:pt>
                <c:pt idx="465">
                  <c:v>1.5780000000000001</c:v>
                </c:pt>
                <c:pt idx="466">
                  <c:v>1.579</c:v>
                </c:pt>
                <c:pt idx="467">
                  <c:v>1.5820000000000001</c:v>
                </c:pt>
                <c:pt idx="468">
                  <c:v>1.5840000000000001</c:v>
                </c:pt>
                <c:pt idx="469">
                  <c:v>1.585</c:v>
                </c:pt>
                <c:pt idx="470">
                  <c:v>1.5880000000000001</c:v>
                </c:pt>
                <c:pt idx="471">
                  <c:v>1.5880000000000001</c:v>
                </c:pt>
                <c:pt idx="472">
                  <c:v>1.5880000000000001</c:v>
                </c:pt>
                <c:pt idx="473">
                  <c:v>1.59</c:v>
                </c:pt>
                <c:pt idx="474">
                  <c:v>1.5920000000000001</c:v>
                </c:pt>
                <c:pt idx="475">
                  <c:v>1.591</c:v>
                </c:pt>
                <c:pt idx="476">
                  <c:v>1.585</c:v>
                </c:pt>
                <c:pt idx="477">
                  <c:v>1.5840000000000001</c:v>
                </c:pt>
                <c:pt idx="478">
                  <c:v>1.58</c:v>
                </c:pt>
                <c:pt idx="479">
                  <c:v>1.488</c:v>
                </c:pt>
                <c:pt idx="480">
                  <c:v>1.476</c:v>
                </c:pt>
                <c:pt idx="481">
                  <c:v>1.474</c:v>
                </c:pt>
                <c:pt idx="482">
                  <c:v>1.47</c:v>
                </c:pt>
                <c:pt idx="483">
                  <c:v>1.464</c:v>
                </c:pt>
                <c:pt idx="484">
                  <c:v>1.462</c:v>
                </c:pt>
                <c:pt idx="485">
                  <c:v>1.4589999999999974</c:v>
                </c:pt>
                <c:pt idx="486">
                  <c:v>1.4569999999999974</c:v>
                </c:pt>
                <c:pt idx="487">
                  <c:v>1.458</c:v>
                </c:pt>
                <c:pt idx="488">
                  <c:v>1.46</c:v>
                </c:pt>
                <c:pt idx="489">
                  <c:v>1.4649999999999974</c:v>
                </c:pt>
                <c:pt idx="490">
                  <c:v>1.4669999999999974</c:v>
                </c:pt>
                <c:pt idx="491">
                  <c:v>1.4669999999999974</c:v>
                </c:pt>
                <c:pt idx="492">
                  <c:v>1.4709999999999974</c:v>
                </c:pt>
                <c:pt idx="493">
                  <c:v>1.474</c:v>
                </c:pt>
                <c:pt idx="494">
                  <c:v>1.4749999999999974</c:v>
                </c:pt>
                <c:pt idx="495">
                  <c:v>1.4769999999999974</c:v>
                </c:pt>
                <c:pt idx="496">
                  <c:v>1.4769999999999974</c:v>
                </c:pt>
                <c:pt idx="497">
                  <c:v>1.4729999999999974</c:v>
                </c:pt>
                <c:pt idx="498">
                  <c:v>1.4689999999999974</c:v>
                </c:pt>
                <c:pt idx="499">
                  <c:v>1.4689999999999974</c:v>
                </c:pt>
                <c:pt idx="500">
                  <c:v>1.47</c:v>
                </c:pt>
                <c:pt idx="501">
                  <c:v>1.472</c:v>
                </c:pt>
                <c:pt idx="502">
                  <c:v>1.472</c:v>
                </c:pt>
                <c:pt idx="503">
                  <c:v>1.47</c:v>
                </c:pt>
                <c:pt idx="504">
                  <c:v>1.4369999999999972</c:v>
                </c:pt>
                <c:pt idx="505">
                  <c:v>1.43</c:v>
                </c:pt>
                <c:pt idx="506">
                  <c:v>1.4259999999999955</c:v>
                </c:pt>
                <c:pt idx="507">
                  <c:v>1.4229999999999972</c:v>
                </c:pt>
                <c:pt idx="508">
                  <c:v>1.4189999999999972</c:v>
                </c:pt>
                <c:pt idx="509">
                  <c:v>1.4169999999999972</c:v>
                </c:pt>
                <c:pt idx="510">
                  <c:v>1.4179999999999955</c:v>
                </c:pt>
                <c:pt idx="511">
                  <c:v>1.4179999999999955</c:v>
                </c:pt>
                <c:pt idx="512">
                  <c:v>1.4159999999999953</c:v>
                </c:pt>
                <c:pt idx="513">
                  <c:v>1.41</c:v>
                </c:pt>
                <c:pt idx="514">
                  <c:v>1.403999999999995</c:v>
                </c:pt>
                <c:pt idx="515">
                  <c:v>1.403999999999995</c:v>
                </c:pt>
                <c:pt idx="516">
                  <c:v>1.3959999999999975</c:v>
                </c:pt>
                <c:pt idx="517">
                  <c:v>1.387</c:v>
                </c:pt>
                <c:pt idx="518">
                  <c:v>1.369</c:v>
                </c:pt>
                <c:pt idx="519">
                  <c:v>1.3560000000000001</c:v>
                </c:pt>
                <c:pt idx="520">
                  <c:v>1.343</c:v>
                </c:pt>
                <c:pt idx="521">
                  <c:v>1.333</c:v>
                </c:pt>
                <c:pt idx="522">
                  <c:v>1.319</c:v>
                </c:pt>
                <c:pt idx="523">
                  <c:v>1.3029999999999977</c:v>
                </c:pt>
                <c:pt idx="524">
                  <c:v>1.288</c:v>
                </c:pt>
                <c:pt idx="525">
                  <c:v>1.276</c:v>
                </c:pt>
                <c:pt idx="526">
                  <c:v>1.2669999999999975</c:v>
                </c:pt>
                <c:pt idx="527">
                  <c:v>1.2569999999999975</c:v>
                </c:pt>
                <c:pt idx="528">
                  <c:v>1.2449999999999977</c:v>
                </c:pt>
                <c:pt idx="529">
                  <c:v>1.2309999999999974</c:v>
                </c:pt>
                <c:pt idx="530">
                  <c:v>1.222</c:v>
                </c:pt>
                <c:pt idx="531">
                  <c:v>1.2129999999999974</c:v>
                </c:pt>
                <c:pt idx="532">
                  <c:v>1.204</c:v>
                </c:pt>
                <c:pt idx="533">
                  <c:v>1.1950000000000001</c:v>
                </c:pt>
                <c:pt idx="534">
                  <c:v>1.1819999999999977</c:v>
                </c:pt>
                <c:pt idx="535">
                  <c:v>1.1679999999999977</c:v>
                </c:pt>
                <c:pt idx="536">
                  <c:v>1.1579999999999975</c:v>
                </c:pt>
                <c:pt idx="537">
                  <c:v>1.149</c:v>
                </c:pt>
                <c:pt idx="538">
                  <c:v>1.1419999999999975</c:v>
                </c:pt>
                <c:pt idx="539">
                  <c:v>1.1379999999999975</c:v>
                </c:pt>
                <c:pt idx="540">
                  <c:v>1.131</c:v>
                </c:pt>
                <c:pt idx="541">
                  <c:v>1.125</c:v>
                </c:pt>
                <c:pt idx="542">
                  <c:v>1.115</c:v>
                </c:pt>
                <c:pt idx="543">
                  <c:v>1.1080000000000001</c:v>
                </c:pt>
                <c:pt idx="544">
                  <c:v>1.1020000000000001</c:v>
                </c:pt>
                <c:pt idx="545">
                  <c:v>1.0940000000000001</c:v>
                </c:pt>
                <c:pt idx="546">
                  <c:v>1.0860000000000001</c:v>
                </c:pt>
                <c:pt idx="547">
                  <c:v>1.077</c:v>
                </c:pt>
                <c:pt idx="548">
                  <c:v>1.07</c:v>
                </c:pt>
                <c:pt idx="549">
                  <c:v>1.0629999999999977</c:v>
                </c:pt>
                <c:pt idx="550">
                  <c:v>1.0569999999999977</c:v>
                </c:pt>
                <c:pt idx="551">
                  <c:v>1.0509999999999977</c:v>
                </c:pt>
                <c:pt idx="552">
                  <c:v>1.0449999999999977</c:v>
                </c:pt>
                <c:pt idx="553">
                  <c:v>1.0409999999999975</c:v>
                </c:pt>
                <c:pt idx="554">
                  <c:v>1.036</c:v>
                </c:pt>
                <c:pt idx="555">
                  <c:v>1.0309999999999975</c:v>
                </c:pt>
                <c:pt idx="556">
                  <c:v>1.026</c:v>
                </c:pt>
                <c:pt idx="557">
                  <c:v>1.0209999999999975</c:v>
                </c:pt>
                <c:pt idx="558">
                  <c:v>1.014</c:v>
                </c:pt>
                <c:pt idx="559">
                  <c:v>1.006</c:v>
                </c:pt>
                <c:pt idx="560">
                  <c:v>0.997</c:v>
                </c:pt>
                <c:pt idx="561">
                  <c:v>0.99099999999999999</c:v>
                </c:pt>
                <c:pt idx="562">
                  <c:v>0.98299999999999998</c:v>
                </c:pt>
                <c:pt idx="563">
                  <c:v>0.96700000000000064</c:v>
                </c:pt>
                <c:pt idx="564">
                  <c:v>0.94799999999999995</c:v>
                </c:pt>
                <c:pt idx="565">
                  <c:v>0.93400000000000005</c:v>
                </c:pt>
                <c:pt idx="566">
                  <c:v>0.92</c:v>
                </c:pt>
                <c:pt idx="567">
                  <c:v>0.91100000000000003</c:v>
                </c:pt>
                <c:pt idx="568">
                  <c:v>0.90200000000000002</c:v>
                </c:pt>
                <c:pt idx="569">
                  <c:v>0.89400000000000002</c:v>
                </c:pt>
                <c:pt idx="570">
                  <c:v>0.88400000000000001</c:v>
                </c:pt>
                <c:pt idx="571">
                  <c:v>0.87600000000000122</c:v>
                </c:pt>
                <c:pt idx="572">
                  <c:v>0.87100000000000111</c:v>
                </c:pt>
                <c:pt idx="573">
                  <c:v>0.86200000000000065</c:v>
                </c:pt>
                <c:pt idx="574">
                  <c:v>0.85300000000000065</c:v>
                </c:pt>
                <c:pt idx="575">
                  <c:v>0.84200000000000064</c:v>
                </c:pt>
                <c:pt idx="576">
                  <c:v>0.83200000000000063</c:v>
                </c:pt>
                <c:pt idx="577">
                  <c:v>0.82399999999999995</c:v>
                </c:pt>
                <c:pt idx="578">
                  <c:v>0.81699999999999995</c:v>
                </c:pt>
                <c:pt idx="579">
                  <c:v>0.80800000000000005</c:v>
                </c:pt>
                <c:pt idx="580">
                  <c:v>0.8</c:v>
                </c:pt>
                <c:pt idx="581">
                  <c:v>0.79400000000000004</c:v>
                </c:pt>
                <c:pt idx="582">
                  <c:v>0.78700000000000003</c:v>
                </c:pt>
                <c:pt idx="583">
                  <c:v>0.78300000000000003</c:v>
                </c:pt>
                <c:pt idx="584">
                  <c:v>0.77700000000000136</c:v>
                </c:pt>
                <c:pt idx="585">
                  <c:v>0.77100000000000124</c:v>
                </c:pt>
                <c:pt idx="586">
                  <c:v>0.77000000000000124</c:v>
                </c:pt>
                <c:pt idx="587">
                  <c:v>0.76800000000000124</c:v>
                </c:pt>
                <c:pt idx="588">
                  <c:v>0.76600000000000124</c:v>
                </c:pt>
                <c:pt idx="589">
                  <c:v>0.76600000000000124</c:v>
                </c:pt>
                <c:pt idx="590">
                  <c:v>0.76600000000000124</c:v>
                </c:pt>
                <c:pt idx="591">
                  <c:v>0.76400000000000123</c:v>
                </c:pt>
                <c:pt idx="592">
                  <c:v>0.76000000000000123</c:v>
                </c:pt>
                <c:pt idx="593">
                  <c:v>0.75700000000000123</c:v>
                </c:pt>
                <c:pt idx="594">
                  <c:v>0.75300000000000122</c:v>
                </c:pt>
                <c:pt idx="595">
                  <c:v>0.75000000000000122</c:v>
                </c:pt>
                <c:pt idx="596">
                  <c:v>0.74600000000000111</c:v>
                </c:pt>
                <c:pt idx="597">
                  <c:v>0.7410000000000011</c:v>
                </c:pt>
                <c:pt idx="598">
                  <c:v>0.73700000000000065</c:v>
                </c:pt>
                <c:pt idx="599">
                  <c:v>0.73400000000000065</c:v>
                </c:pt>
                <c:pt idx="600">
                  <c:v>0.73100000000000065</c:v>
                </c:pt>
                <c:pt idx="601">
                  <c:v>0.72700000000000065</c:v>
                </c:pt>
                <c:pt idx="602">
                  <c:v>0.72400000000000064</c:v>
                </c:pt>
                <c:pt idx="603">
                  <c:v>0.72000000000000064</c:v>
                </c:pt>
                <c:pt idx="604">
                  <c:v>0.71500000000000064</c:v>
                </c:pt>
                <c:pt idx="605">
                  <c:v>0.70800000000000063</c:v>
                </c:pt>
                <c:pt idx="606">
                  <c:v>0.70800000000000063</c:v>
                </c:pt>
                <c:pt idx="607">
                  <c:v>0.70400000000000063</c:v>
                </c:pt>
                <c:pt idx="608">
                  <c:v>0.70000000000000062</c:v>
                </c:pt>
                <c:pt idx="609">
                  <c:v>0.69699999999999995</c:v>
                </c:pt>
                <c:pt idx="610">
                  <c:v>0.69299999999999995</c:v>
                </c:pt>
                <c:pt idx="611">
                  <c:v>0.69199999999999995</c:v>
                </c:pt>
                <c:pt idx="612">
                  <c:v>0.69099999999999995</c:v>
                </c:pt>
                <c:pt idx="613">
                  <c:v>0.69000000000000061</c:v>
                </c:pt>
                <c:pt idx="614">
                  <c:v>0.69000000000000061</c:v>
                </c:pt>
                <c:pt idx="615">
                  <c:v>0.68899999999999995</c:v>
                </c:pt>
                <c:pt idx="616">
                  <c:v>0.68700000000000061</c:v>
                </c:pt>
                <c:pt idx="617">
                  <c:v>0.68500000000000005</c:v>
                </c:pt>
                <c:pt idx="618">
                  <c:v>0.68600000000000005</c:v>
                </c:pt>
                <c:pt idx="619">
                  <c:v>0.68400000000000005</c:v>
                </c:pt>
                <c:pt idx="620">
                  <c:v>0.68200000000000005</c:v>
                </c:pt>
                <c:pt idx="621">
                  <c:v>0.68100000000000005</c:v>
                </c:pt>
                <c:pt idx="622">
                  <c:v>0.68</c:v>
                </c:pt>
                <c:pt idx="623">
                  <c:v>0.6770000000000016</c:v>
                </c:pt>
                <c:pt idx="624">
                  <c:v>0.67500000000000149</c:v>
                </c:pt>
                <c:pt idx="625">
                  <c:v>0.67300000000000149</c:v>
                </c:pt>
                <c:pt idx="626">
                  <c:v>0.67300000000000149</c:v>
                </c:pt>
                <c:pt idx="627">
                  <c:v>0.67100000000000148</c:v>
                </c:pt>
                <c:pt idx="628">
                  <c:v>0.66800000000000148</c:v>
                </c:pt>
                <c:pt idx="629">
                  <c:v>0.66500000000000148</c:v>
                </c:pt>
                <c:pt idx="630">
                  <c:v>0.66400000000000148</c:v>
                </c:pt>
                <c:pt idx="631">
                  <c:v>0.66300000000000137</c:v>
                </c:pt>
                <c:pt idx="632">
                  <c:v>0.66300000000000137</c:v>
                </c:pt>
                <c:pt idx="633">
                  <c:v>0.66300000000000137</c:v>
                </c:pt>
                <c:pt idx="634">
                  <c:v>0.66300000000000137</c:v>
                </c:pt>
                <c:pt idx="635">
                  <c:v>0.66100000000000136</c:v>
                </c:pt>
                <c:pt idx="636">
                  <c:v>0.66100000000000136</c:v>
                </c:pt>
                <c:pt idx="637">
                  <c:v>0.66200000000000137</c:v>
                </c:pt>
                <c:pt idx="638">
                  <c:v>0.66300000000000137</c:v>
                </c:pt>
                <c:pt idx="639">
                  <c:v>0.66200000000000137</c:v>
                </c:pt>
                <c:pt idx="640">
                  <c:v>0.65900000000000136</c:v>
                </c:pt>
                <c:pt idx="641">
                  <c:v>0.65700000000000136</c:v>
                </c:pt>
                <c:pt idx="642">
                  <c:v>0.65700000000000136</c:v>
                </c:pt>
                <c:pt idx="643">
                  <c:v>0.65500000000000136</c:v>
                </c:pt>
                <c:pt idx="644">
                  <c:v>0.65400000000000136</c:v>
                </c:pt>
                <c:pt idx="645">
                  <c:v>0.65300000000000136</c:v>
                </c:pt>
                <c:pt idx="646">
                  <c:v>0.65300000000000136</c:v>
                </c:pt>
                <c:pt idx="647">
                  <c:v>0.65200000000000136</c:v>
                </c:pt>
                <c:pt idx="648">
                  <c:v>0.65300000000000136</c:v>
                </c:pt>
                <c:pt idx="649">
                  <c:v>0.65300000000000136</c:v>
                </c:pt>
                <c:pt idx="650">
                  <c:v>0.65200000000000136</c:v>
                </c:pt>
                <c:pt idx="651">
                  <c:v>0.65000000000000135</c:v>
                </c:pt>
                <c:pt idx="652">
                  <c:v>0.64500000000000124</c:v>
                </c:pt>
                <c:pt idx="653">
                  <c:v>0.64100000000000124</c:v>
                </c:pt>
                <c:pt idx="654">
                  <c:v>0.54900000000000004</c:v>
                </c:pt>
                <c:pt idx="655">
                  <c:v>0.53100000000000003</c:v>
                </c:pt>
                <c:pt idx="656">
                  <c:v>0.52100000000000002</c:v>
                </c:pt>
                <c:pt idx="657">
                  <c:v>0.51200000000000001</c:v>
                </c:pt>
                <c:pt idx="658">
                  <c:v>0.49700000000000055</c:v>
                </c:pt>
                <c:pt idx="659">
                  <c:v>0.48600000000000032</c:v>
                </c:pt>
                <c:pt idx="660">
                  <c:v>0.47700000000000031</c:v>
                </c:pt>
                <c:pt idx="661">
                  <c:v>0.47000000000000008</c:v>
                </c:pt>
                <c:pt idx="662">
                  <c:v>0.46400000000000002</c:v>
                </c:pt>
                <c:pt idx="663">
                  <c:v>0.45800000000000002</c:v>
                </c:pt>
                <c:pt idx="664">
                  <c:v>0.45100000000000001</c:v>
                </c:pt>
                <c:pt idx="665">
                  <c:v>0.442</c:v>
                </c:pt>
                <c:pt idx="666">
                  <c:v>0.43500000000000055</c:v>
                </c:pt>
                <c:pt idx="667">
                  <c:v>0.42700000000000032</c:v>
                </c:pt>
                <c:pt idx="668">
                  <c:v>0.42200000000000032</c:v>
                </c:pt>
                <c:pt idx="669">
                  <c:v>0.41500000000000031</c:v>
                </c:pt>
                <c:pt idx="670">
                  <c:v>0.40100000000000002</c:v>
                </c:pt>
                <c:pt idx="671">
                  <c:v>0.38900000000000062</c:v>
                </c:pt>
                <c:pt idx="672">
                  <c:v>0.38100000000000062</c:v>
                </c:pt>
                <c:pt idx="673">
                  <c:v>0.37500000000000056</c:v>
                </c:pt>
                <c:pt idx="674">
                  <c:v>0.37500000000000056</c:v>
                </c:pt>
                <c:pt idx="675">
                  <c:v>0.37400000000000055</c:v>
                </c:pt>
                <c:pt idx="676">
                  <c:v>0.37000000000000038</c:v>
                </c:pt>
                <c:pt idx="677">
                  <c:v>0.36600000000000038</c:v>
                </c:pt>
                <c:pt idx="678">
                  <c:v>0.36000000000000032</c:v>
                </c:pt>
                <c:pt idx="679">
                  <c:v>0.35300000000000031</c:v>
                </c:pt>
                <c:pt idx="680">
                  <c:v>0.34900000000000031</c:v>
                </c:pt>
                <c:pt idx="681">
                  <c:v>0.34500000000000008</c:v>
                </c:pt>
                <c:pt idx="682">
                  <c:v>0.34100000000000008</c:v>
                </c:pt>
                <c:pt idx="683">
                  <c:v>0.33900000000000075</c:v>
                </c:pt>
                <c:pt idx="684">
                  <c:v>0.33400000000000074</c:v>
                </c:pt>
                <c:pt idx="685">
                  <c:v>0.32500000000000062</c:v>
                </c:pt>
                <c:pt idx="686">
                  <c:v>0.31800000000000062</c:v>
                </c:pt>
                <c:pt idx="687">
                  <c:v>0.31000000000000055</c:v>
                </c:pt>
                <c:pt idx="688">
                  <c:v>0.30300000000000032</c:v>
                </c:pt>
                <c:pt idx="689">
                  <c:v>0.29500000000000032</c:v>
                </c:pt>
                <c:pt idx="690">
                  <c:v>0.29300000000000032</c:v>
                </c:pt>
                <c:pt idx="691">
                  <c:v>0.29000000000000031</c:v>
                </c:pt>
                <c:pt idx="692">
                  <c:v>0.28800000000000031</c:v>
                </c:pt>
                <c:pt idx="693">
                  <c:v>0.28300000000000008</c:v>
                </c:pt>
                <c:pt idx="694">
                  <c:v>0.27800000000000002</c:v>
                </c:pt>
                <c:pt idx="695">
                  <c:v>0.27600000000000002</c:v>
                </c:pt>
                <c:pt idx="696">
                  <c:v>0.27300000000000002</c:v>
                </c:pt>
                <c:pt idx="697">
                  <c:v>0.26900000000000002</c:v>
                </c:pt>
                <c:pt idx="698">
                  <c:v>0.26600000000000001</c:v>
                </c:pt>
                <c:pt idx="699">
                  <c:v>0.26500000000000001</c:v>
                </c:pt>
                <c:pt idx="700">
                  <c:v>0.26100000000000001</c:v>
                </c:pt>
                <c:pt idx="701">
                  <c:v>0.25800000000000001</c:v>
                </c:pt>
                <c:pt idx="702">
                  <c:v>0.255</c:v>
                </c:pt>
                <c:pt idx="703">
                  <c:v>0.252</c:v>
                </c:pt>
                <c:pt idx="704">
                  <c:v>0.25</c:v>
                </c:pt>
                <c:pt idx="705">
                  <c:v>0.24800000000000028</c:v>
                </c:pt>
                <c:pt idx="706">
                  <c:v>0.24400000000000024</c:v>
                </c:pt>
                <c:pt idx="707">
                  <c:v>0.23800000000000004</c:v>
                </c:pt>
                <c:pt idx="708">
                  <c:v>0.23300000000000001</c:v>
                </c:pt>
                <c:pt idx="709">
                  <c:v>0.22800000000000001</c:v>
                </c:pt>
                <c:pt idx="710">
                  <c:v>0.22500000000000001</c:v>
                </c:pt>
                <c:pt idx="711">
                  <c:v>0.222</c:v>
                </c:pt>
                <c:pt idx="712">
                  <c:v>0.222</c:v>
                </c:pt>
                <c:pt idx="713">
                  <c:v>0.221</c:v>
                </c:pt>
                <c:pt idx="714">
                  <c:v>0.22</c:v>
                </c:pt>
                <c:pt idx="715">
                  <c:v>0.223</c:v>
                </c:pt>
                <c:pt idx="716">
                  <c:v>0.22</c:v>
                </c:pt>
                <c:pt idx="717">
                  <c:v>0.2180000000000003</c:v>
                </c:pt>
                <c:pt idx="718">
                  <c:v>0.21600000000000028</c:v>
                </c:pt>
                <c:pt idx="719">
                  <c:v>0.21500000000000027</c:v>
                </c:pt>
                <c:pt idx="720">
                  <c:v>0.21400000000000027</c:v>
                </c:pt>
                <c:pt idx="721">
                  <c:v>0.21200000000000024</c:v>
                </c:pt>
                <c:pt idx="722">
                  <c:v>0.21100000000000024</c:v>
                </c:pt>
                <c:pt idx="723">
                  <c:v>0.21000000000000021</c:v>
                </c:pt>
                <c:pt idx="724">
                  <c:v>0.21000000000000021</c:v>
                </c:pt>
                <c:pt idx="725">
                  <c:v>0.20900000000000021</c:v>
                </c:pt>
                <c:pt idx="726">
                  <c:v>0.20800000000000021</c:v>
                </c:pt>
              </c:numCache>
            </c:numRef>
          </c:val>
          <c:smooth val="0"/>
        </c:ser>
        <c:ser>
          <c:idx val="1"/>
          <c:order val="1"/>
          <c:tx>
            <c:strRef>
              <c:f>Sheet8!$C$1</c:f>
              <c:strCache>
                <c:ptCount val="1"/>
                <c:pt idx="0">
                  <c:v>ECB Key Rate</c:v>
                </c:pt>
              </c:strCache>
            </c:strRef>
          </c:tx>
          <c:spPr>
            <a:ln>
              <a:solidFill>
                <a:srgbClr val="005800"/>
              </a:solidFill>
            </a:ln>
          </c:spPr>
          <c:marker>
            <c:symbol val="none"/>
          </c:marker>
          <c:cat>
            <c:numRef>
              <c:f>Sheet8!$A$2:$A$728</c:f>
              <c:numCache>
                <c:formatCode>[$-409]mmm\-yy;@</c:formatCode>
                <c:ptCount val="727"/>
                <c:pt idx="0">
                  <c:v>40182</c:v>
                </c:pt>
                <c:pt idx="1">
                  <c:v>40183</c:v>
                </c:pt>
                <c:pt idx="2">
                  <c:v>40184</c:v>
                </c:pt>
                <c:pt idx="3">
                  <c:v>40185</c:v>
                </c:pt>
                <c:pt idx="4">
                  <c:v>40186</c:v>
                </c:pt>
                <c:pt idx="5">
                  <c:v>40189</c:v>
                </c:pt>
                <c:pt idx="6">
                  <c:v>40190</c:v>
                </c:pt>
                <c:pt idx="7">
                  <c:v>40191</c:v>
                </c:pt>
                <c:pt idx="8">
                  <c:v>40192</c:v>
                </c:pt>
                <c:pt idx="9">
                  <c:v>40193</c:v>
                </c:pt>
                <c:pt idx="10">
                  <c:v>40196</c:v>
                </c:pt>
                <c:pt idx="11">
                  <c:v>40197</c:v>
                </c:pt>
                <c:pt idx="12">
                  <c:v>40198</c:v>
                </c:pt>
                <c:pt idx="13">
                  <c:v>40199</c:v>
                </c:pt>
                <c:pt idx="14">
                  <c:v>40200</c:v>
                </c:pt>
                <c:pt idx="15">
                  <c:v>40203</c:v>
                </c:pt>
                <c:pt idx="16">
                  <c:v>40204</c:v>
                </c:pt>
                <c:pt idx="17">
                  <c:v>40205</c:v>
                </c:pt>
                <c:pt idx="18">
                  <c:v>40206</c:v>
                </c:pt>
                <c:pt idx="19">
                  <c:v>40207</c:v>
                </c:pt>
                <c:pt idx="20">
                  <c:v>40210</c:v>
                </c:pt>
                <c:pt idx="21">
                  <c:v>40211</c:v>
                </c:pt>
                <c:pt idx="22">
                  <c:v>40212</c:v>
                </c:pt>
                <c:pt idx="23">
                  <c:v>40213</c:v>
                </c:pt>
                <c:pt idx="24">
                  <c:v>40214</c:v>
                </c:pt>
                <c:pt idx="25">
                  <c:v>40217</c:v>
                </c:pt>
                <c:pt idx="26">
                  <c:v>40218</c:v>
                </c:pt>
                <c:pt idx="27">
                  <c:v>40219</c:v>
                </c:pt>
                <c:pt idx="28">
                  <c:v>40220</c:v>
                </c:pt>
                <c:pt idx="29">
                  <c:v>40221</c:v>
                </c:pt>
                <c:pt idx="30">
                  <c:v>40224</c:v>
                </c:pt>
                <c:pt idx="31">
                  <c:v>40225</c:v>
                </c:pt>
                <c:pt idx="32">
                  <c:v>40226</c:v>
                </c:pt>
                <c:pt idx="33">
                  <c:v>40227</c:v>
                </c:pt>
                <c:pt idx="34">
                  <c:v>40228</c:v>
                </c:pt>
                <c:pt idx="35">
                  <c:v>40231</c:v>
                </c:pt>
                <c:pt idx="36">
                  <c:v>40232</c:v>
                </c:pt>
                <c:pt idx="37">
                  <c:v>40233</c:v>
                </c:pt>
                <c:pt idx="38">
                  <c:v>40234</c:v>
                </c:pt>
                <c:pt idx="39">
                  <c:v>40235</c:v>
                </c:pt>
                <c:pt idx="40">
                  <c:v>40238</c:v>
                </c:pt>
                <c:pt idx="41">
                  <c:v>40239</c:v>
                </c:pt>
                <c:pt idx="42">
                  <c:v>40240</c:v>
                </c:pt>
                <c:pt idx="43">
                  <c:v>40241</c:v>
                </c:pt>
                <c:pt idx="44">
                  <c:v>40242</c:v>
                </c:pt>
                <c:pt idx="45">
                  <c:v>40245</c:v>
                </c:pt>
                <c:pt idx="46">
                  <c:v>40246</c:v>
                </c:pt>
                <c:pt idx="47">
                  <c:v>40247</c:v>
                </c:pt>
                <c:pt idx="48">
                  <c:v>40248</c:v>
                </c:pt>
                <c:pt idx="49">
                  <c:v>40249</c:v>
                </c:pt>
                <c:pt idx="50">
                  <c:v>40252</c:v>
                </c:pt>
                <c:pt idx="51">
                  <c:v>40253</c:v>
                </c:pt>
                <c:pt idx="52">
                  <c:v>40254</c:v>
                </c:pt>
                <c:pt idx="53">
                  <c:v>40255</c:v>
                </c:pt>
                <c:pt idx="54">
                  <c:v>40256</c:v>
                </c:pt>
                <c:pt idx="55">
                  <c:v>40259</c:v>
                </c:pt>
                <c:pt idx="56">
                  <c:v>40260</c:v>
                </c:pt>
                <c:pt idx="57">
                  <c:v>40261</c:v>
                </c:pt>
                <c:pt idx="58">
                  <c:v>40262</c:v>
                </c:pt>
                <c:pt idx="59">
                  <c:v>40263</c:v>
                </c:pt>
                <c:pt idx="60">
                  <c:v>40266</c:v>
                </c:pt>
                <c:pt idx="61">
                  <c:v>40267</c:v>
                </c:pt>
                <c:pt idx="62">
                  <c:v>40268</c:v>
                </c:pt>
                <c:pt idx="63">
                  <c:v>40269</c:v>
                </c:pt>
                <c:pt idx="64">
                  <c:v>40270</c:v>
                </c:pt>
                <c:pt idx="65">
                  <c:v>40273</c:v>
                </c:pt>
                <c:pt idx="66">
                  <c:v>40274</c:v>
                </c:pt>
                <c:pt idx="67">
                  <c:v>40275</c:v>
                </c:pt>
                <c:pt idx="68">
                  <c:v>40276</c:v>
                </c:pt>
                <c:pt idx="69">
                  <c:v>40277</c:v>
                </c:pt>
                <c:pt idx="70">
                  <c:v>40280</c:v>
                </c:pt>
                <c:pt idx="71">
                  <c:v>40281</c:v>
                </c:pt>
                <c:pt idx="72">
                  <c:v>40282</c:v>
                </c:pt>
                <c:pt idx="73">
                  <c:v>40283</c:v>
                </c:pt>
                <c:pt idx="74">
                  <c:v>40284</c:v>
                </c:pt>
                <c:pt idx="75">
                  <c:v>40287</c:v>
                </c:pt>
                <c:pt idx="76">
                  <c:v>40288</c:v>
                </c:pt>
                <c:pt idx="77">
                  <c:v>40289</c:v>
                </c:pt>
                <c:pt idx="78">
                  <c:v>40290</c:v>
                </c:pt>
                <c:pt idx="79">
                  <c:v>40291</c:v>
                </c:pt>
                <c:pt idx="80">
                  <c:v>40294</c:v>
                </c:pt>
                <c:pt idx="81">
                  <c:v>40295</c:v>
                </c:pt>
                <c:pt idx="82">
                  <c:v>40296</c:v>
                </c:pt>
                <c:pt idx="83">
                  <c:v>40297</c:v>
                </c:pt>
                <c:pt idx="84">
                  <c:v>40298</c:v>
                </c:pt>
                <c:pt idx="85">
                  <c:v>40301</c:v>
                </c:pt>
                <c:pt idx="86">
                  <c:v>40302</c:v>
                </c:pt>
                <c:pt idx="87">
                  <c:v>40303</c:v>
                </c:pt>
                <c:pt idx="88">
                  <c:v>40304</c:v>
                </c:pt>
                <c:pt idx="89">
                  <c:v>40305</c:v>
                </c:pt>
                <c:pt idx="90">
                  <c:v>40308</c:v>
                </c:pt>
                <c:pt idx="91">
                  <c:v>40309</c:v>
                </c:pt>
                <c:pt idx="92">
                  <c:v>40310</c:v>
                </c:pt>
                <c:pt idx="93">
                  <c:v>40311</c:v>
                </c:pt>
                <c:pt idx="94">
                  <c:v>40312</c:v>
                </c:pt>
                <c:pt idx="95">
                  <c:v>40315</c:v>
                </c:pt>
                <c:pt idx="96">
                  <c:v>40316</c:v>
                </c:pt>
                <c:pt idx="97">
                  <c:v>40317</c:v>
                </c:pt>
                <c:pt idx="98">
                  <c:v>40318</c:v>
                </c:pt>
                <c:pt idx="99">
                  <c:v>40319</c:v>
                </c:pt>
                <c:pt idx="100">
                  <c:v>40322</c:v>
                </c:pt>
                <c:pt idx="101">
                  <c:v>40323</c:v>
                </c:pt>
                <c:pt idx="102">
                  <c:v>40324</c:v>
                </c:pt>
                <c:pt idx="103">
                  <c:v>40325</c:v>
                </c:pt>
                <c:pt idx="104">
                  <c:v>40326</c:v>
                </c:pt>
                <c:pt idx="105">
                  <c:v>40329</c:v>
                </c:pt>
                <c:pt idx="106">
                  <c:v>40330</c:v>
                </c:pt>
                <c:pt idx="107">
                  <c:v>40331</c:v>
                </c:pt>
                <c:pt idx="108">
                  <c:v>40332</c:v>
                </c:pt>
                <c:pt idx="109">
                  <c:v>40333</c:v>
                </c:pt>
                <c:pt idx="110">
                  <c:v>40336</c:v>
                </c:pt>
                <c:pt idx="111">
                  <c:v>40337</c:v>
                </c:pt>
                <c:pt idx="112">
                  <c:v>40338</c:v>
                </c:pt>
                <c:pt idx="113">
                  <c:v>40339</c:v>
                </c:pt>
                <c:pt idx="114">
                  <c:v>40340</c:v>
                </c:pt>
                <c:pt idx="115">
                  <c:v>40343</c:v>
                </c:pt>
                <c:pt idx="116">
                  <c:v>40344</c:v>
                </c:pt>
                <c:pt idx="117">
                  <c:v>40345</c:v>
                </c:pt>
                <c:pt idx="118">
                  <c:v>40346</c:v>
                </c:pt>
                <c:pt idx="119">
                  <c:v>40347</c:v>
                </c:pt>
                <c:pt idx="120">
                  <c:v>40350</c:v>
                </c:pt>
                <c:pt idx="121">
                  <c:v>40351</c:v>
                </c:pt>
                <c:pt idx="122">
                  <c:v>40352</c:v>
                </c:pt>
                <c:pt idx="123">
                  <c:v>40353</c:v>
                </c:pt>
                <c:pt idx="124">
                  <c:v>40354</c:v>
                </c:pt>
                <c:pt idx="125">
                  <c:v>40357</c:v>
                </c:pt>
                <c:pt idx="126">
                  <c:v>40358</c:v>
                </c:pt>
                <c:pt idx="127">
                  <c:v>40359</c:v>
                </c:pt>
                <c:pt idx="128">
                  <c:v>40360</c:v>
                </c:pt>
                <c:pt idx="129">
                  <c:v>40361</c:v>
                </c:pt>
                <c:pt idx="130">
                  <c:v>40364</c:v>
                </c:pt>
                <c:pt idx="131">
                  <c:v>40365</c:v>
                </c:pt>
                <c:pt idx="132">
                  <c:v>40366</c:v>
                </c:pt>
                <c:pt idx="133">
                  <c:v>40367</c:v>
                </c:pt>
                <c:pt idx="134">
                  <c:v>40368</c:v>
                </c:pt>
                <c:pt idx="135">
                  <c:v>40371</c:v>
                </c:pt>
                <c:pt idx="136">
                  <c:v>40372</c:v>
                </c:pt>
                <c:pt idx="137">
                  <c:v>40373</c:v>
                </c:pt>
                <c:pt idx="138">
                  <c:v>40374</c:v>
                </c:pt>
                <c:pt idx="139">
                  <c:v>40375</c:v>
                </c:pt>
                <c:pt idx="140">
                  <c:v>40378</c:v>
                </c:pt>
                <c:pt idx="141">
                  <c:v>40379</c:v>
                </c:pt>
                <c:pt idx="142">
                  <c:v>40380</c:v>
                </c:pt>
                <c:pt idx="143">
                  <c:v>40381</c:v>
                </c:pt>
                <c:pt idx="144">
                  <c:v>40382</c:v>
                </c:pt>
                <c:pt idx="145">
                  <c:v>40385</c:v>
                </c:pt>
                <c:pt idx="146">
                  <c:v>40386</c:v>
                </c:pt>
                <c:pt idx="147">
                  <c:v>40387</c:v>
                </c:pt>
                <c:pt idx="148">
                  <c:v>40388</c:v>
                </c:pt>
                <c:pt idx="149">
                  <c:v>40389</c:v>
                </c:pt>
                <c:pt idx="150">
                  <c:v>40392</c:v>
                </c:pt>
                <c:pt idx="151">
                  <c:v>40393</c:v>
                </c:pt>
                <c:pt idx="152">
                  <c:v>40394</c:v>
                </c:pt>
                <c:pt idx="153">
                  <c:v>40395</c:v>
                </c:pt>
                <c:pt idx="154">
                  <c:v>40396</c:v>
                </c:pt>
                <c:pt idx="155">
                  <c:v>40399</c:v>
                </c:pt>
                <c:pt idx="156">
                  <c:v>40400</c:v>
                </c:pt>
                <c:pt idx="157">
                  <c:v>40401</c:v>
                </c:pt>
                <c:pt idx="158">
                  <c:v>40402</c:v>
                </c:pt>
                <c:pt idx="159">
                  <c:v>40403</c:v>
                </c:pt>
                <c:pt idx="160">
                  <c:v>40406</c:v>
                </c:pt>
                <c:pt idx="161">
                  <c:v>40407</c:v>
                </c:pt>
                <c:pt idx="162">
                  <c:v>40408</c:v>
                </c:pt>
                <c:pt idx="163">
                  <c:v>40409</c:v>
                </c:pt>
                <c:pt idx="164">
                  <c:v>40410</c:v>
                </c:pt>
                <c:pt idx="165">
                  <c:v>40413</c:v>
                </c:pt>
                <c:pt idx="166">
                  <c:v>40414</c:v>
                </c:pt>
                <c:pt idx="167">
                  <c:v>40415</c:v>
                </c:pt>
                <c:pt idx="168">
                  <c:v>40416</c:v>
                </c:pt>
                <c:pt idx="169">
                  <c:v>40417</c:v>
                </c:pt>
                <c:pt idx="170">
                  <c:v>40420</c:v>
                </c:pt>
                <c:pt idx="171">
                  <c:v>40421</c:v>
                </c:pt>
                <c:pt idx="172">
                  <c:v>40422</c:v>
                </c:pt>
                <c:pt idx="173">
                  <c:v>40423</c:v>
                </c:pt>
                <c:pt idx="174">
                  <c:v>40424</c:v>
                </c:pt>
                <c:pt idx="175">
                  <c:v>40427</c:v>
                </c:pt>
                <c:pt idx="176">
                  <c:v>40428</c:v>
                </c:pt>
                <c:pt idx="177">
                  <c:v>40429</c:v>
                </c:pt>
                <c:pt idx="178">
                  <c:v>40430</c:v>
                </c:pt>
                <c:pt idx="179">
                  <c:v>40431</c:v>
                </c:pt>
                <c:pt idx="180">
                  <c:v>40434</c:v>
                </c:pt>
                <c:pt idx="181">
                  <c:v>40435</c:v>
                </c:pt>
                <c:pt idx="182">
                  <c:v>40436</c:v>
                </c:pt>
                <c:pt idx="183">
                  <c:v>40437</c:v>
                </c:pt>
                <c:pt idx="184">
                  <c:v>40438</c:v>
                </c:pt>
                <c:pt idx="185">
                  <c:v>40441</c:v>
                </c:pt>
                <c:pt idx="186">
                  <c:v>40442</c:v>
                </c:pt>
                <c:pt idx="187">
                  <c:v>40443</c:v>
                </c:pt>
                <c:pt idx="188">
                  <c:v>40444</c:v>
                </c:pt>
                <c:pt idx="189">
                  <c:v>40445</c:v>
                </c:pt>
                <c:pt idx="190">
                  <c:v>40448</c:v>
                </c:pt>
                <c:pt idx="191">
                  <c:v>40449</c:v>
                </c:pt>
                <c:pt idx="192">
                  <c:v>40450</c:v>
                </c:pt>
                <c:pt idx="193">
                  <c:v>40451</c:v>
                </c:pt>
                <c:pt idx="194">
                  <c:v>40452</c:v>
                </c:pt>
                <c:pt idx="195">
                  <c:v>40455</c:v>
                </c:pt>
                <c:pt idx="196">
                  <c:v>40456</c:v>
                </c:pt>
                <c:pt idx="197">
                  <c:v>40457</c:v>
                </c:pt>
                <c:pt idx="198">
                  <c:v>40458</c:v>
                </c:pt>
                <c:pt idx="199">
                  <c:v>40459</c:v>
                </c:pt>
                <c:pt idx="200">
                  <c:v>40462</c:v>
                </c:pt>
                <c:pt idx="201">
                  <c:v>40463</c:v>
                </c:pt>
                <c:pt idx="202">
                  <c:v>40464</c:v>
                </c:pt>
                <c:pt idx="203">
                  <c:v>40465</c:v>
                </c:pt>
                <c:pt idx="204">
                  <c:v>40466</c:v>
                </c:pt>
                <c:pt idx="205">
                  <c:v>40469</c:v>
                </c:pt>
                <c:pt idx="206">
                  <c:v>40470</c:v>
                </c:pt>
                <c:pt idx="207">
                  <c:v>40471</c:v>
                </c:pt>
                <c:pt idx="208">
                  <c:v>40472</c:v>
                </c:pt>
                <c:pt idx="209">
                  <c:v>40473</c:v>
                </c:pt>
                <c:pt idx="210">
                  <c:v>40476</c:v>
                </c:pt>
                <c:pt idx="211">
                  <c:v>40477</c:v>
                </c:pt>
                <c:pt idx="212">
                  <c:v>40478</c:v>
                </c:pt>
                <c:pt idx="213">
                  <c:v>40479</c:v>
                </c:pt>
                <c:pt idx="214">
                  <c:v>40480</c:v>
                </c:pt>
                <c:pt idx="215">
                  <c:v>40483</c:v>
                </c:pt>
                <c:pt idx="216">
                  <c:v>40484</c:v>
                </c:pt>
                <c:pt idx="217">
                  <c:v>40485</c:v>
                </c:pt>
                <c:pt idx="218">
                  <c:v>40486</c:v>
                </c:pt>
                <c:pt idx="219">
                  <c:v>40487</c:v>
                </c:pt>
                <c:pt idx="220">
                  <c:v>40490</c:v>
                </c:pt>
                <c:pt idx="221">
                  <c:v>40491</c:v>
                </c:pt>
                <c:pt idx="222">
                  <c:v>40492</c:v>
                </c:pt>
                <c:pt idx="223">
                  <c:v>40493</c:v>
                </c:pt>
                <c:pt idx="224">
                  <c:v>40494</c:v>
                </c:pt>
                <c:pt idx="225">
                  <c:v>40497</c:v>
                </c:pt>
                <c:pt idx="226">
                  <c:v>40498</c:v>
                </c:pt>
                <c:pt idx="227">
                  <c:v>40499</c:v>
                </c:pt>
                <c:pt idx="228">
                  <c:v>40500</c:v>
                </c:pt>
                <c:pt idx="229">
                  <c:v>40501</c:v>
                </c:pt>
                <c:pt idx="230">
                  <c:v>40504</c:v>
                </c:pt>
                <c:pt idx="231">
                  <c:v>40505</c:v>
                </c:pt>
                <c:pt idx="232">
                  <c:v>40506</c:v>
                </c:pt>
                <c:pt idx="233">
                  <c:v>40507</c:v>
                </c:pt>
                <c:pt idx="234">
                  <c:v>40508</c:v>
                </c:pt>
                <c:pt idx="235">
                  <c:v>40511</c:v>
                </c:pt>
                <c:pt idx="236">
                  <c:v>40512</c:v>
                </c:pt>
                <c:pt idx="237">
                  <c:v>40513</c:v>
                </c:pt>
                <c:pt idx="238">
                  <c:v>40514</c:v>
                </c:pt>
                <c:pt idx="239">
                  <c:v>40515</c:v>
                </c:pt>
                <c:pt idx="240">
                  <c:v>40518</c:v>
                </c:pt>
                <c:pt idx="241">
                  <c:v>40519</c:v>
                </c:pt>
                <c:pt idx="242">
                  <c:v>40520</c:v>
                </c:pt>
                <c:pt idx="243">
                  <c:v>40521</c:v>
                </c:pt>
                <c:pt idx="244">
                  <c:v>40522</c:v>
                </c:pt>
                <c:pt idx="245">
                  <c:v>40525</c:v>
                </c:pt>
                <c:pt idx="246">
                  <c:v>40526</c:v>
                </c:pt>
                <c:pt idx="247">
                  <c:v>40527</c:v>
                </c:pt>
                <c:pt idx="248">
                  <c:v>40528</c:v>
                </c:pt>
                <c:pt idx="249">
                  <c:v>40529</c:v>
                </c:pt>
                <c:pt idx="250">
                  <c:v>40532</c:v>
                </c:pt>
                <c:pt idx="251">
                  <c:v>40533</c:v>
                </c:pt>
                <c:pt idx="252">
                  <c:v>40534</c:v>
                </c:pt>
                <c:pt idx="253">
                  <c:v>40535</c:v>
                </c:pt>
                <c:pt idx="254">
                  <c:v>40536</c:v>
                </c:pt>
                <c:pt idx="255">
                  <c:v>40539</c:v>
                </c:pt>
                <c:pt idx="256">
                  <c:v>40540</c:v>
                </c:pt>
                <c:pt idx="257">
                  <c:v>40541</c:v>
                </c:pt>
                <c:pt idx="258">
                  <c:v>40542</c:v>
                </c:pt>
                <c:pt idx="259">
                  <c:v>40543</c:v>
                </c:pt>
                <c:pt idx="260">
                  <c:v>40546</c:v>
                </c:pt>
                <c:pt idx="261">
                  <c:v>40547</c:v>
                </c:pt>
                <c:pt idx="262">
                  <c:v>40548</c:v>
                </c:pt>
                <c:pt idx="263">
                  <c:v>40549</c:v>
                </c:pt>
                <c:pt idx="264">
                  <c:v>40550</c:v>
                </c:pt>
                <c:pt idx="265">
                  <c:v>40553</c:v>
                </c:pt>
                <c:pt idx="266">
                  <c:v>40554</c:v>
                </c:pt>
                <c:pt idx="267">
                  <c:v>40555</c:v>
                </c:pt>
                <c:pt idx="268">
                  <c:v>40556</c:v>
                </c:pt>
                <c:pt idx="269">
                  <c:v>40557</c:v>
                </c:pt>
                <c:pt idx="270">
                  <c:v>40560</c:v>
                </c:pt>
                <c:pt idx="271">
                  <c:v>40561</c:v>
                </c:pt>
                <c:pt idx="272">
                  <c:v>40562</c:v>
                </c:pt>
                <c:pt idx="273">
                  <c:v>40563</c:v>
                </c:pt>
                <c:pt idx="274">
                  <c:v>40564</c:v>
                </c:pt>
                <c:pt idx="275">
                  <c:v>40567</c:v>
                </c:pt>
                <c:pt idx="276">
                  <c:v>40568</c:v>
                </c:pt>
                <c:pt idx="277">
                  <c:v>40569</c:v>
                </c:pt>
                <c:pt idx="278">
                  <c:v>40570</c:v>
                </c:pt>
                <c:pt idx="279">
                  <c:v>40571</c:v>
                </c:pt>
                <c:pt idx="280">
                  <c:v>40574</c:v>
                </c:pt>
                <c:pt idx="281">
                  <c:v>40575</c:v>
                </c:pt>
                <c:pt idx="282">
                  <c:v>40576</c:v>
                </c:pt>
                <c:pt idx="283">
                  <c:v>40577</c:v>
                </c:pt>
                <c:pt idx="284">
                  <c:v>40578</c:v>
                </c:pt>
                <c:pt idx="285">
                  <c:v>40581</c:v>
                </c:pt>
                <c:pt idx="286">
                  <c:v>40582</c:v>
                </c:pt>
                <c:pt idx="287">
                  <c:v>40583</c:v>
                </c:pt>
                <c:pt idx="288">
                  <c:v>40584</c:v>
                </c:pt>
                <c:pt idx="289">
                  <c:v>40585</c:v>
                </c:pt>
                <c:pt idx="290">
                  <c:v>40588</c:v>
                </c:pt>
                <c:pt idx="291">
                  <c:v>40589</c:v>
                </c:pt>
                <c:pt idx="292">
                  <c:v>40590</c:v>
                </c:pt>
                <c:pt idx="293">
                  <c:v>40591</c:v>
                </c:pt>
                <c:pt idx="294">
                  <c:v>40592</c:v>
                </c:pt>
                <c:pt idx="295">
                  <c:v>40595</c:v>
                </c:pt>
                <c:pt idx="296">
                  <c:v>40596</c:v>
                </c:pt>
                <c:pt idx="297">
                  <c:v>40597</c:v>
                </c:pt>
                <c:pt idx="298">
                  <c:v>40598</c:v>
                </c:pt>
                <c:pt idx="299">
                  <c:v>40599</c:v>
                </c:pt>
                <c:pt idx="300">
                  <c:v>40602</c:v>
                </c:pt>
                <c:pt idx="301">
                  <c:v>40603</c:v>
                </c:pt>
                <c:pt idx="302">
                  <c:v>40604</c:v>
                </c:pt>
                <c:pt idx="303">
                  <c:v>40605</c:v>
                </c:pt>
                <c:pt idx="304">
                  <c:v>40606</c:v>
                </c:pt>
                <c:pt idx="305">
                  <c:v>40609</c:v>
                </c:pt>
                <c:pt idx="306">
                  <c:v>40610</c:v>
                </c:pt>
                <c:pt idx="307">
                  <c:v>40611</c:v>
                </c:pt>
                <c:pt idx="308">
                  <c:v>40612</c:v>
                </c:pt>
                <c:pt idx="309">
                  <c:v>40613</c:v>
                </c:pt>
                <c:pt idx="310">
                  <c:v>40616</c:v>
                </c:pt>
                <c:pt idx="311">
                  <c:v>40617</c:v>
                </c:pt>
                <c:pt idx="312">
                  <c:v>40618</c:v>
                </c:pt>
                <c:pt idx="313">
                  <c:v>40619</c:v>
                </c:pt>
                <c:pt idx="314">
                  <c:v>40620</c:v>
                </c:pt>
                <c:pt idx="315">
                  <c:v>40623</c:v>
                </c:pt>
                <c:pt idx="316">
                  <c:v>40624</c:v>
                </c:pt>
                <c:pt idx="317">
                  <c:v>40625</c:v>
                </c:pt>
                <c:pt idx="318">
                  <c:v>40626</c:v>
                </c:pt>
                <c:pt idx="319">
                  <c:v>40627</c:v>
                </c:pt>
                <c:pt idx="320">
                  <c:v>40630</c:v>
                </c:pt>
                <c:pt idx="321">
                  <c:v>40631</c:v>
                </c:pt>
                <c:pt idx="322">
                  <c:v>40632</c:v>
                </c:pt>
                <c:pt idx="323">
                  <c:v>40633</c:v>
                </c:pt>
                <c:pt idx="324">
                  <c:v>40634</c:v>
                </c:pt>
                <c:pt idx="325">
                  <c:v>40637</c:v>
                </c:pt>
                <c:pt idx="326">
                  <c:v>40638</c:v>
                </c:pt>
                <c:pt idx="327">
                  <c:v>40639</c:v>
                </c:pt>
                <c:pt idx="328">
                  <c:v>40640</c:v>
                </c:pt>
                <c:pt idx="329">
                  <c:v>40641</c:v>
                </c:pt>
                <c:pt idx="330">
                  <c:v>40644</c:v>
                </c:pt>
                <c:pt idx="331">
                  <c:v>40645</c:v>
                </c:pt>
                <c:pt idx="332">
                  <c:v>40646</c:v>
                </c:pt>
                <c:pt idx="333">
                  <c:v>40647</c:v>
                </c:pt>
                <c:pt idx="334">
                  <c:v>40648</c:v>
                </c:pt>
                <c:pt idx="335">
                  <c:v>40651</c:v>
                </c:pt>
                <c:pt idx="336">
                  <c:v>40652</c:v>
                </c:pt>
                <c:pt idx="337">
                  <c:v>40653</c:v>
                </c:pt>
                <c:pt idx="338">
                  <c:v>40654</c:v>
                </c:pt>
                <c:pt idx="339">
                  <c:v>40655</c:v>
                </c:pt>
                <c:pt idx="340">
                  <c:v>40658</c:v>
                </c:pt>
                <c:pt idx="341">
                  <c:v>40659</c:v>
                </c:pt>
                <c:pt idx="342">
                  <c:v>40660</c:v>
                </c:pt>
                <c:pt idx="343">
                  <c:v>40661</c:v>
                </c:pt>
                <c:pt idx="344">
                  <c:v>40662</c:v>
                </c:pt>
                <c:pt idx="345">
                  <c:v>40665</c:v>
                </c:pt>
                <c:pt idx="346">
                  <c:v>40666</c:v>
                </c:pt>
                <c:pt idx="347">
                  <c:v>40667</c:v>
                </c:pt>
                <c:pt idx="348">
                  <c:v>40668</c:v>
                </c:pt>
                <c:pt idx="349">
                  <c:v>40669</c:v>
                </c:pt>
                <c:pt idx="350">
                  <c:v>40672</c:v>
                </c:pt>
                <c:pt idx="351">
                  <c:v>40673</c:v>
                </c:pt>
                <c:pt idx="352">
                  <c:v>40674</c:v>
                </c:pt>
                <c:pt idx="353">
                  <c:v>40675</c:v>
                </c:pt>
                <c:pt idx="354">
                  <c:v>40676</c:v>
                </c:pt>
                <c:pt idx="355">
                  <c:v>40679</c:v>
                </c:pt>
                <c:pt idx="356">
                  <c:v>40680</c:v>
                </c:pt>
                <c:pt idx="357">
                  <c:v>40681</c:v>
                </c:pt>
                <c:pt idx="358">
                  <c:v>40682</c:v>
                </c:pt>
                <c:pt idx="359">
                  <c:v>40683</c:v>
                </c:pt>
                <c:pt idx="360">
                  <c:v>40686</c:v>
                </c:pt>
                <c:pt idx="361">
                  <c:v>40687</c:v>
                </c:pt>
                <c:pt idx="362">
                  <c:v>40688</c:v>
                </c:pt>
                <c:pt idx="363">
                  <c:v>40689</c:v>
                </c:pt>
                <c:pt idx="364">
                  <c:v>40690</c:v>
                </c:pt>
                <c:pt idx="365">
                  <c:v>40693</c:v>
                </c:pt>
                <c:pt idx="366">
                  <c:v>40694</c:v>
                </c:pt>
                <c:pt idx="367">
                  <c:v>40695</c:v>
                </c:pt>
                <c:pt idx="368">
                  <c:v>40696</c:v>
                </c:pt>
                <c:pt idx="369">
                  <c:v>40697</c:v>
                </c:pt>
                <c:pt idx="370">
                  <c:v>40700</c:v>
                </c:pt>
                <c:pt idx="371">
                  <c:v>40701</c:v>
                </c:pt>
                <c:pt idx="372">
                  <c:v>40702</c:v>
                </c:pt>
                <c:pt idx="373">
                  <c:v>40703</c:v>
                </c:pt>
                <c:pt idx="374">
                  <c:v>40704</c:v>
                </c:pt>
                <c:pt idx="375">
                  <c:v>40707</c:v>
                </c:pt>
                <c:pt idx="376">
                  <c:v>40708</c:v>
                </c:pt>
                <c:pt idx="377">
                  <c:v>40709</c:v>
                </c:pt>
                <c:pt idx="378">
                  <c:v>40710</c:v>
                </c:pt>
                <c:pt idx="379">
                  <c:v>40711</c:v>
                </c:pt>
                <c:pt idx="380">
                  <c:v>40714</c:v>
                </c:pt>
                <c:pt idx="381">
                  <c:v>40715</c:v>
                </c:pt>
                <c:pt idx="382">
                  <c:v>40716</c:v>
                </c:pt>
                <c:pt idx="383">
                  <c:v>40717</c:v>
                </c:pt>
                <c:pt idx="384">
                  <c:v>40718</c:v>
                </c:pt>
                <c:pt idx="385">
                  <c:v>40721</c:v>
                </c:pt>
                <c:pt idx="386">
                  <c:v>40722</c:v>
                </c:pt>
                <c:pt idx="387">
                  <c:v>40723</c:v>
                </c:pt>
                <c:pt idx="388">
                  <c:v>40724</c:v>
                </c:pt>
                <c:pt idx="389">
                  <c:v>40725</c:v>
                </c:pt>
                <c:pt idx="390">
                  <c:v>40728</c:v>
                </c:pt>
                <c:pt idx="391">
                  <c:v>40729</c:v>
                </c:pt>
                <c:pt idx="392">
                  <c:v>40730</c:v>
                </c:pt>
                <c:pt idx="393">
                  <c:v>40731</c:v>
                </c:pt>
                <c:pt idx="394">
                  <c:v>40732</c:v>
                </c:pt>
                <c:pt idx="395">
                  <c:v>40735</c:v>
                </c:pt>
                <c:pt idx="396">
                  <c:v>40736</c:v>
                </c:pt>
                <c:pt idx="397">
                  <c:v>40737</c:v>
                </c:pt>
                <c:pt idx="398">
                  <c:v>40738</c:v>
                </c:pt>
                <c:pt idx="399">
                  <c:v>40739</c:v>
                </c:pt>
                <c:pt idx="400">
                  <c:v>40742</c:v>
                </c:pt>
                <c:pt idx="401">
                  <c:v>40743</c:v>
                </c:pt>
                <c:pt idx="402">
                  <c:v>40744</c:v>
                </c:pt>
                <c:pt idx="403">
                  <c:v>40745</c:v>
                </c:pt>
                <c:pt idx="404">
                  <c:v>40746</c:v>
                </c:pt>
                <c:pt idx="405">
                  <c:v>40749</c:v>
                </c:pt>
                <c:pt idx="406">
                  <c:v>40750</c:v>
                </c:pt>
                <c:pt idx="407">
                  <c:v>40751</c:v>
                </c:pt>
                <c:pt idx="408">
                  <c:v>40752</c:v>
                </c:pt>
                <c:pt idx="409">
                  <c:v>40753</c:v>
                </c:pt>
                <c:pt idx="410">
                  <c:v>40756</c:v>
                </c:pt>
                <c:pt idx="411">
                  <c:v>40757</c:v>
                </c:pt>
                <c:pt idx="412">
                  <c:v>40758</c:v>
                </c:pt>
                <c:pt idx="413">
                  <c:v>40759</c:v>
                </c:pt>
                <c:pt idx="414">
                  <c:v>40760</c:v>
                </c:pt>
                <c:pt idx="415">
                  <c:v>40763</c:v>
                </c:pt>
                <c:pt idx="416">
                  <c:v>40764</c:v>
                </c:pt>
                <c:pt idx="417">
                  <c:v>40765</c:v>
                </c:pt>
                <c:pt idx="418">
                  <c:v>40766</c:v>
                </c:pt>
                <c:pt idx="419">
                  <c:v>40767</c:v>
                </c:pt>
                <c:pt idx="420">
                  <c:v>40770</c:v>
                </c:pt>
                <c:pt idx="421">
                  <c:v>40771</c:v>
                </c:pt>
                <c:pt idx="422">
                  <c:v>40772</c:v>
                </c:pt>
                <c:pt idx="423">
                  <c:v>40773</c:v>
                </c:pt>
                <c:pt idx="424">
                  <c:v>40774</c:v>
                </c:pt>
                <c:pt idx="425">
                  <c:v>40777</c:v>
                </c:pt>
                <c:pt idx="426">
                  <c:v>40778</c:v>
                </c:pt>
                <c:pt idx="427">
                  <c:v>40779</c:v>
                </c:pt>
                <c:pt idx="428">
                  <c:v>40780</c:v>
                </c:pt>
                <c:pt idx="429">
                  <c:v>40781</c:v>
                </c:pt>
                <c:pt idx="430">
                  <c:v>40784</c:v>
                </c:pt>
                <c:pt idx="431">
                  <c:v>40785</c:v>
                </c:pt>
                <c:pt idx="432">
                  <c:v>40786</c:v>
                </c:pt>
                <c:pt idx="433">
                  <c:v>40787</c:v>
                </c:pt>
                <c:pt idx="434">
                  <c:v>40788</c:v>
                </c:pt>
                <c:pt idx="435">
                  <c:v>40791</c:v>
                </c:pt>
                <c:pt idx="436">
                  <c:v>40792</c:v>
                </c:pt>
                <c:pt idx="437">
                  <c:v>40793</c:v>
                </c:pt>
                <c:pt idx="438">
                  <c:v>40794</c:v>
                </c:pt>
                <c:pt idx="439">
                  <c:v>40795</c:v>
                </c:pt>
                <c:pt idx="440">
                  <c:v>40798</c:v>
                </c:pt>
                <c:pt idx="441">
                  <c:v>40799</c:v>
                </c:pt>
                <c:pt idx="442">
                  <c:v>40800</c:v>
                </c:pt>
                <c:pt idx="443">
                  <c:v>40801</c:v>
                </c:pt>
                <c:pt idx="444">
                  <c:v>40802</c:v>
                </c:pt>
                <c:pt idx="445">
                  <c:v>40805</c:v>
                </c:pt>
                <c:pt idx="446">
                  <c:v>40806</c:v>
                </c:pt>
                <c:pt idx="447">
                  <c:v>40807</c:v>
                </c:pt>
                <c:pt idx="448">
                  <c:v>40808</c:v>
                </c:pt>
                <c:pt idx="449">
                  <c:v>40809</c:v>
                </c:pt>
                <c:pt idx="450">
                  <c:v>40812</c:v>
                </c:pt>
                <c:pt idx="451">
                  <c:v>40813</c:v>
                </c:pt>
                <c:pt idx="452">
                  <c:v>40814</c:v>
                </c:pt>
                <c:pt idx="453">
                  <c:v>40815</c:v>
                </c:pt>
                <c:pt idx="454">
                  <c:v>40816</c:v>
                </c:pt>
                <c:pt idx="455">
                  <c:v>40819</c:v>
                </c:pt>
                <c:pt idx="456">
                  <c:v>40820</c:v>
                </c:pt>
                <c:pt idx="457">
                  <c:v>40821</c:v>
                </c:pt>
                <c:pt idx="458">
                  <c:v>40822</c:v>
                </c:pt>
                <c:pt idx="459">
                  <c:v>40823</c:v>
                </c:pt>
                <c:pt idx="460">
                  <c:v>40826</c:v>
                </c:pt>
                <c:pt idx="461">
                  <c:v>40827</c:v>
                </c:pt>
                <c:pt idx="462">
                  <c:v>40828</c:v>
                </c:pt>
                <c:pt idx="463">
                  <c:v>40829</c:v>
                </c:pt>
                <c:pt idx="464">
                  <c:v>40830</c:v>
                </c:pt>
                <c:pt idx="465">
                  <c:v>40833</c:v>
                </c:pt>
                <c:pt idx="466">
                  <c:v>40834</c:v>
                </c:pt>
                <c:pt idx="467">
                  <c:v>40835</c:v>
                </c:pt>
                <c:pt idx="468">
                  <c:v>40836</c:v>
                </c:pt>
                <c:pt idx="469">
                  <c:v>40837</c:v>
                </c:pt>
                <c:pt idx="470">
                  <c:v>40840</c:v>
                </c:pt>
                <c:pt idx="471">
                  <c:v>40841</c:v>
                </c:pt>
                <c:pt idx="472">
                  <c:v>40842</c:v>
                </c:pt>
                <c:pt idx="473">
                  <c:v>40843</c:v>
                </c:pt>
                <c:pt idx="474">
                  <c:v>40844</c:v>
                </c:pt>
                <c:pt idx="475">
                  <c:v>40847</c:v>
                </c:pt>
                <c:pt idx="476">
                  <c:v>40848</c:v>
                </c:pt>
                <c:pt idx="477">
                  <c:v>40849</c:v>
                </c:pt>
                <c:pt idx="478">
                  <c:v>40850</c:v>
                </c:pt>
                <c:pt idx="479">
                  <c:v>40851</c:v>
                </c:pt>
                <c:pt idx="480">
                  <c:v>40854</c:v>
                </c:pt>
                <c:pt idx="481">
                  <c:v>40855</c:v>
                </c:pt>
                <c:pt idx="482">
                  <c:v>40856</c:v>
                </c:pt>
                <c:pt idx="483">
                  <c:v>40857</c:v>
                </c:pt>
                <c:pt idx="484">
                  <c:v>40858</c:v>
                </c:pt>
                <c:pt idx="485">
                  <c:v>40861</c:v>
                </c:pt>
                <c:pt idx="486">
                  <c:v>40862</c:v>
                </c:pt>
                <c:pt idx="487">
                  <c:v>40863</c:v>
                </c:pt>
                <c:pt idx="488">
                  <c:v>40864</c:v>
                </c:pt>
                <c:pt idx="489">
                  <c:v>40865</c:v>
                </c:pt>
                <c:pt idx="490">
                  <c:v>40868</c:v>
                </c:pt>
                <c:pt idx="491">
                  <c:v>40869</c:v>
                </c:pt>
                <c:pt idx="492">
                  <c:v>40870</c:v>
                </c:pt>
                <c:pt idx="493">
                  <c:v>40871</c:v>
                </c:pt>
                <c:pt idx="494">
                  <c:v>40872</c:v>
                </c:pt>
                <c:pt idx="495">
                  <c:v>40875</c:v>
                </c:pt>
                <c:pt idx="496">
                  <c:v>40876</c:v>
                </c:pt>
                <c:pt idx="497">
                  <c:v>40877</c:v>
                </c:pt>
                <c:pt idx="498">
                  <c:v>40878</c:v>
                </c:pt>
                <c:pt idx="499">
                  <c:v>40879</c:v>
                </c:pt>
                <c:pt idx="500">
                  <c:v>40882</c:v>
                </c:pt>
                <c:pt idx="501">
                  <c:v>40883</c:v>
                </c:pt>
                <c:pt idx="502">
                  <c:v>40884</c:v>
                </c:pt>
                <c:pt idx="503">
                  <c:v>40885</c:v>
                </c:pt>
                <c:pt idx="504">
                  <c:v>40886</c:v>
                </c:pt>
                <c:pt idx="505">
                  <c:v>40889</c:v>
                </c:pt>
                <c:pt idx="506">
                  <c:v>40890</c:v>
                </c:pt>
                <c:pt idx="507">
                  <c:v>40891</c:v>
                </c:pt>
                <c:pt idx="508">
                  <c:v>40892</c:v>
                </c:pt>
                <c:pt idx="509">
                  <c:v>40893</c:v>
                </c:pt>
                <c:pt idx="510">
                  <c:v>40896</c:v>
                </c:pt>
                <c:pt idx="511">
                  <c:v>40897</c:v>
                </c:pt>
                <c:pt idx="512">
                  <c:v>40898</c:v>
                </c:pt>
                <c:pt idx="513">
                  <c:v>40899</c:v>
                </c:pt>
                <c:pt idx="514">
                  <c:v>40900</c:v>
                </c:pt>
                <c:pt idx="515">
                  <c:v>40903</c:v>
                </c:pt>
                <c:pt idx="516">
                  <c:v>40904</c:v>
                </c:pt>
                <c:pt idx="517">
                  <c:v>40905</c:v>
                </c:pt>
                <c:pt idx="518">
                  <c:v>40906</c:v>
                </c:pt>
                <c:pt idx="519">
                  <c:v>40907</c:v>
                </c:pt>
                <c:pt idx="520">
                  <c:v>40910</c:v>
                </c:pt>
                <c:pt idx="521">
                  <c:v>40911</c:v>
                </c:pt>
                <c:pt idx="522">
                  <c:v>40912</c:v>
                </c:pt>
                <c:pt idx="523">
                  <c:v>40913</c:v>
                </c:pt>
                <c:pt idx="524">
                  <c:v>40914</c:v>
                </c:pt>
                <c:pt idx="525">
                  <c:v>40917</c:v>
                </c:pt>
                <c:pt idx="526">
                  <c:v>40918</c:v>
                </c:pt>
                <c:pt idx="527">
                  <c:v>40919</c:v>
                </c:pt>
                <c:pt idx="528">
                  <c:v>40920</c:v>
                </c:pt>
                <c:pt idx="529">
                  <c:v>40921</c:v>
                </c:pt>
                <c:pt idx="530">
                  <c:v>40924</c:v>
                </c:pt>
                <c:pt idx="531">
                  <c:v>40925</c:v>
                </c:pt>
                <c:pt idx="532">
                  <c:v>40926</c:v>
                </c:pt>
                <c:pt idx="533">
                  <c:v>40927</c:v>
                </c:pt>
                <c:pt idx="534">
                  <c:v>40928</c:v>
                </c:pt>
                <c:pt idx="535">
                  <c:v>40931</c:v>
                </c:pt>
                <c:pt idx="536">
                  <c:v>40932</c:v>
                </c:pt>
                <c:pt idx="537">
                  <c:v>40933</c:v>
                </c:pt>
                <c:pt idx="538">
                  <c:v>40934</c:v>
                </c:pt>
                <c:pt idx="539">
                  <c:v>40935</c:v>
                </c:pt>
                <c:pt idx="540">
                  <c:v>40938</c:v>
                </c:pt>
                <c:pt idx="541">
                  <c:v>40939</c:v>
                </c:pt>
                <c:pt idx="542">
                  <c:v>40940</c:v>
                </c:pt>
                <c:pt idx="543">
                  <c:v>40941</c:v>
                </c:pt>
                <c:pt idx="544">
                  <c:v>40942</c:v>
                </c:pt>
                <c:pt idx="545">
                  <c:v>40945</c:v>
                </c:pt>
                <c:pt idx="546">
                  <c:v>40946</c:v>
                </c:pt>
                <c:pt idx="547">
                  <c:v>40947</c:v>
                </c:pt>
                <c:pt idx="548">
                  <c:v>40948</c:v>
                </c:pt>
                <c:pt idx="549">
                  <c:v>40949</c:v>
                </c:pt>
                <c:pt idx="550">
                  <c:v>40952</c:v>
                </c:pt>
                <c:pt idx="551">
                  <c:v>40953</c:v>
                </c:pt>
                <c:pt idx="552">
                  <c:v>40954</c:v>
                </c:pt>
                <c:pt idx="553">
                  <c:v>40955</c:v>
                </c:pt>
                <c:pt idx="554">
                  <c:v>40956</c:v>
                </c:pt>
                <c:pt idx="555">
                  <c:v>40959</c:v>
                </c:pt>
                <c:pt idx="556">
                  <c:v>40960</c:v>
                </c:pt>
                <c:pt idx="557">
                  <c:v>40961</c:v>
                </c:pt>
                <c:pt idx="558">
                  <c:v>40962</c:v>
                </c:pt>
                <c:pt idx="559">
                  <c:v>40963</c:v>
                </c:pt>
                <c:pt idx="560">
                  <c:v>40966</c:v>
                </c:pt>
                <c:pt idx="561">
                  <c:v>40967</c:v>
                </c:pt>
                <c:pt idx="562">
                  <c:v>40968</c:v>
                </c:pt>
                <c:pt idx="563">
                  <c:v>40969</c:v>
                </c:pt>
                <c:pt idx="564">
                  <c:v>40970</c:v>
                </c:pt>
                <c:pt idx="565">
                  <c:v>40973</c:v>
                </c:pt>
                <c:pt idx="566">
                  <c:v>40974</c:v>
                </c:pt>
                <c:pt idx="567">
                  <c:v>40975</c:v>
                </c:pt>
                <c:pt idx="568">
                  <c:v>40976</c:v>
                </c:pt>
                <c:pt idx="569">
                  <c:v>40977</c:v>
                </c:pt>
                <c:pt idx="570">
                  <c:v>40980</c:v>
                </c:pt>
                <c:pt idx="571">
                  <c:v>40981</c:v>
                </c:pt>
                <c:pt idx="572">
                  <c:v>40982</c:v>
                </c:pt>
                <c:pt idx="573">
                  <c:v>40983</c:v>
                </c:pt>
                <c:pt idx="574">
                  <c:v>40984</c:v>
                </c:pt>
                <c:pt idx="575">
                  <c:v>40987</c:v>
                </c:pt>
                <c:pt idx="576">
                  <c:v>40988</c:v>
                </c:pt>
                <c:pt idx="577">
                  <c:v>40989</c:v>
                </c:pt>
                <c:pt idx="578">
                  <c:v>40990</c:v>
                </c:pt>
                <c:pt idx="579">
                  <c:v>40991</c:v>
                </c:pt>
                <c:pt idx="580">
                  <c:v>40994</c:v>
                </c:pt>
                <c:pt idx="581">
                  <c:v>40995</c:v>
                </c:pt>
                <c:pt idx="582">
                  <c:v>40996</c:v>
                </c:pt>
                <c:pt idx="583">
                  <c:v>40997</c:v>
                </c:pt>
                <c:pt idx="584">
                  <c:v>40998</c:v>
                </c:pt>
                <c:pt idx="585">
                  <c:v>41001</c:v>
                </c:pt>
                <c:pt idx="586">
                  <c:v>41002</c:v>
                </c:pt>
                <c:pt idx="587">
                  <c:v>41003</c:v>
                </c:pt>
                <c:pt idx="588">
                  <c:v>41004</c:v>
                </c:pt>
                <c:pt idx="589">
                  <c:v>41005</c:v>
                </c:pt>
                <c:pt idx="590">
                  <c:v>41008</c:v>
                </c:pt>
                <c:pt idx="591">
                  <c:v>41009</c:v>
                </c:pt>
                <c:pt idx="592">
                  <c:v>41010</c:v>
                </c:pt>
                <c:pt idx="593">
                  <c:v>41011</c:v>
                </c:pt>
                <c:pt idx="594">
                  <c:v>41012</c:v>
                </c:pt>
                <c:pt idx="595">
                  <c:v>41015</c:v>
                </c:pt>
                <c:pt idx="596">
                  <c:v>41016</c:v>
                </c:pt>
                <c:pt idx="597">
                  <c:v>41017</c:v>
                </c:pt>
                <c:pt idx="598">
                  <c:v>41018</c:v>
                </c:pt>
                <c:pt idx="599">
                  <c:v>41019</c:v>
                </c:pt>
                <c:pt idx="600">
                  <c:v>41022</c:v>
                </c:pt>
                <c:pt idx="601">
                  <c:v>41023</c:v>
                </c:pt>
                <c:pt idx="602">
                  <c:v>41024</c:v>
                </c:pt>
                <c:pt idx="603">
                  <c:v>41025</c:v>
                </c:pt>
                <c:pt idx="604">
                  <c:v>41026</c:v>
                </c:pt>
                <c:pt idx="605">
                  <c:v>41029</c:v>
                </c:pt>
                <c:pt idx="606">
                  <c:v>41030</c:v>
                </c:pt>
                <c:pt idx="607">
                  <c:v>41031</c:v>
                </c:pt>
                <c:pt idx="608">
                  <c:v>41032</c:v>
                </c:pt>
                <c:pt idx="609">
                  <c:v>41033</c:v>
                </c:pt>
                <c:pt idx="610">
                  <c:v>41036</c:v>
                </c:pt>
                <c:pt idx="611">
                  <c:v>41037</c:v>
                </c:pt>
                <c:pt idx="612">
                  <c:v>41038</c:v>
                </c:pt>
                <c:pt idx="613">
                  <c:v>41039</c:v>
                </c:pt>
                <c:pt idx="614">
                  <c:v>41040</c:v>
                </c:pt>
                <c:pt idx="615">
                  <c:v>41043</c:v>
                </c:pt>
                <c:pt idx="616">
                  <c:v>41044</c:v>
                </c:pt>
                <c:pt idx="617">
                  <c:v>41045</c:v>
                </c:pt>
                <c:pt idx="618">
                  <c:v>41046</c:v>
                </c:pt>
                <c:pt idx="619">
                  <c:v>41047</c:v>
                </c:pt>
                <c:pt idx="620">
                  <c:v>41050</c:v>
                </c:pt>
                <c:pt idx="621">
                  <c:v>41051</c:v>
                </c:pt>
                <c:pt idx="622">
                  <c:v>41052</c:v>
                </c:pt>
                <c:pt idx="623">
                  <c:v>41053</c:v>
                </c:pt>
                <c:pt idx="624">
                  <c:v>41054</c:v>
                </c:pt>
                <c:pt idx="625">
                  <c:v>41057</c:v>
                </c:pt>
                <c:pt idx="626">
                  <c:v>41058</c:v>
                </c:pt>
                <c:pt idx="627">
                  <c:v>41059</c:v>
                </c:pt>
                <c:pt idx="628">
                  <c:v>41060</c:v>
                </c:pt>
                <c:pt idx="629">
                  <c:v>41061</c:v>
                </c:pt>
                <c:pt idx="630">
                  <c:v>41064</c:v>
                </c:pt>
                <c:pt idx="631">
                  <c:v>41065</c:v>
                </c:pt>
                <c:pt idx="632">
                  <c:v>41066</c:v>
                </c:pt>
                <c:pt idx="633">
                  <c:v>41067</c:v>
                </c:pt>
                <c:pt idx="634">
                  <c:v>41068</c:v>
                </c:pt>
                <c:pt idx="635">
                  <c:v>41071</c:v>
                </c:pt>
                <c:pt idx="636">
                  <c:v>41072</c:v>
                </c:pt>
                <c:pt idx="637">
                  <c:v>41073</c:v>
                </c:pt>
                <c:pt idx="638">
                  <c:v>41074</c:v>
                </c:pt>
                <c:pt idx="639">
                  <c:v>41075</c:v>
                </c:pt>
                <c:pt idx="640">
                  <c:v>41078</c:v>
                </c:pt>
                <c:pt idx="641">
                  <c:v>41079</c:v>
                </c:pt>
                <c:pt idx="642">
                  <c:v>41080</c:v>
                </c:pt>
                <c:pt idx="643">
                  <c:v>41081</c:v>
                </c:pt>
                <c:pt idx="644">
                  <c:v>41082</c:v>
                </c:pt>
                <c:pt idx="645">
                  <c:v>41085</c:v>
                </c:pt>
                <c:pt idx="646">
                  <c:v>41086</c:v>
                </c:pt>
                <c:pt idx="647">
                  <c:v>41087</c:v>
                </c:pt>
                <c:pt idx="648">
                  <c:v>41088</c:v>
                </c:pt>
                <c:pt idx="649">
                  <c:v>41089</c:v>
                </c:pt>
                <c:pt idx="650">
                  <c:v>41092</c:v>
                </c:pt>
                <c:pt idx="651">
                  <c:v>41093</c:v>
                </c:pt>
                <c:pt idx="652">
                  <c:v>41094</c:v>
                </c:pt>
                <c:pt idx="653">
                  <c:v>41095</c:v>
                </c:pt>
                <c:pt idx="654">
                  <c:v>41096</c:v>
                </c:pt>
                <c:pt idx="655">
                  <c:v>41099</c:v>
                </c:pt>
                <c:pt idx="656">
                  <c:v>41100</c:v>
                </c:pt>
                <c:pt idx="657">
                  <c:v>41101</c:v>
                </c:pt>
                <c:pt idx="658">
                  <c:v>41102</c:v>
                </c:pt>
                <c:pt idx="659">
                  <c:v>41103</c:v>
                </c:pt>
                <c:pt idx="660">
                  <c:v>41106</c:v>
                </c:pt>
                <c:pt idx="661">
                  <c:v>41107</c:v>
                </c:pt>
                <c:pt idx="662">
                  <c:v>41108</c:v>
                </c:pt>
                <c:pt idx="663">
                  <c:v>41109</c:v>
                </c:pt>
                <c:pt idx="664">
                  <c:v>41110</c:v>
                </c:pt>
                <c:pt idx="665">
                  <c:v>41113</c:v>
                </c:pt>
                <c:pt idx="666">
                  <c:v>41114</c:v>
                </c:pt>
                <c:pt idx="667">
                  <c:v>41115</c:v>
                </c:pt>
                <c:pt idx="668">
                  <c:v>41116</c:v>
                </c:pt>
                <c:pt idx="669">
                  <c:v>41117</c:v>
                </c:pt>
                <c:pt idx="670">
                  <c:v>41120</c:v>
                </c:pt>
                <c:pt idx="671">
                  <c:v>41121</c:v>
                </c:pt>
                <c:pt idx="672">
                  <c:v>41122</c:v>
                </c:pt>
                <c:pt idx="673">
                  <c:v>41123</c:v>
                </c:pt>
                <c:pt idx="674">
                  <c:v>41124</c:v>
                </c:pt>
                <c:pt idx="675">
                  <c:v>41127</c:v>
                </c:pt>
                <c:pt idx="676">
                  <c:v>41128</c:v>
                </c:pt>
                <c:pt idx="677">
                  <c:v>41129</c:v>
                </c:pt>
                <c:pt idx="678">
                  <c:v>41130</c:v>
                </c:pt>
                <c:pt idx="679">
                  <c:v>41131</c:v>
                </c:pt>
                <c:pt idx="680">
                  <c:v>41134</c:v>
                </c:pt>
                <c:pt idx="681">
                  <c:v>41135</c:v>
                </c:pt>
                <c:pt idx="682">
                  <c:v>41136</c:v>
                </c:pt>
                <c:pt idx="683">
                  <c:v>41137</c:v>
                </c:pt>
                <c:pt idx="684">
                  <c:v>41138</c:v>
                </c:pt>
                <c:pt idx="685">
                  <c:v>41141</c:v>
                </c:pt>
                <c:pt idx="686">
                  <c:v>41142</c:v>
                </c:pt>
                <c:pt idx="687">
                  <c:v>41143</c:v>
                </c:pt>
                <c:pt idx="688">
                  <c:v>41144</c:v>
                </c:pt>
                <c:pt idx="689">
                  <c:v>41145</c:v>
                </c:pt>
                <c:pt idx="690">
                  <c:v>41148</c:v>
                </c:pt>
                <c:pt idx="691">
                  <c:v>41149</c:v>
                </c:pt>
                <c:pt idx="692">
                  <c:v>41150</c:v>
                </c:pt>
                <c:pt idx="693">
                  <c:v>41151</c:v>
                </c:pt>
                <c:pt idx="694">
                  <c:v>41152</c:v>
                </c:pt>
                <c:pt idx="695">
                  <c:v>41155</c:v>
                </c:pt>
                <c:pt idx="696">
                  <c:v>41156</c:v>
                </c:pt>
                <c:pt idx="697">
                  <c:v>41157</c:v>
                </c:pt>
                <c:pt idx="698">
                  <c:v>41158</c:v>
                </c:pt>
                <c:pt idx="699">
                  <c:v>41159</c:v>
                </c:pt>
                <c:pt idx="700">
                  <c:v>41162</c:v>
                </c:pt>
                <c:pt idx="701">
                  <c:v>41163</c:v>
                </c:pt>
                <c:pt idx="702">
                  <c:v>41164</c:v>
                </c:pt>
                <c:pt idx="703">
                  <c:v>41165</c:v>
                </c:pt>
                <c:pt idx="704">
                  <c:v>41166</c:v>
                </c:pt>
                <c:pt idx="705">
                  <c:v>41169</c:v>
                </c:pt>
                <c:pt idx="706">
                  <c:v>41170</c:v>
                </c:pt>
                <c:pt idx="707">
                  <c:v>41171</c:v>
                </c:pt>
                <c:pt idx="708">
                  <c:v>41172</c:v>
                </c:pt>
                <c:pt idx="709">
                  <c:v>41173</c:v>
                </c:pt>
                <c:pt idx="710">
                  <c:v>41176</c:v>
                </c:pt>
                <c:pt idx="711">
                  <c:v>41177</c:v>
                </c:pt>
                <c:pt idx="712">
                  <c:v>41178</c:v>
                </c:pt>
                <c:pt idx="713">
                  <c:v>41179</c:v>
                </c:pt>
                <c:pt idx="714">
                  <c:v>41180</c:v>
                </c:pt>
                <c:pt idx="715">
                  <c:v>41183</c:v>
                </c:pt>
                <c:pt idx="716">
                  <c:v>41184</c:v>
                </c:pt>
                <c:pt idx="717">
                  <c:v>41185</c:v>
                </c:pt>
                <c:pt idx="718">
                  <c:v>41186</c:v>
                </c:pt>
                <c:pt idx="719">
                  <c:v>41187</c:v>
                </c:pt>
                <c:pt idx="720">
                  <c:v>41190</c:v>
                </c:pt>
                <c:pt idx="721">
                  <c:v>41191</c:v>
                </c:pt>
                <c:pt idx="722">
                  <c:v>41192</c:v>
                </c:pt>
                <c:pt idx="723">
                  <c:v>41193</c:v>
                </c:pt>
                <c:pt idx="724">
                  <c:v>41194</c:v>
                </c:pt>
                <c:pt idx="725">
                  <c:v>41197</c:v>
                </c:pt>
                <c:pt idx="726">
                  <c:v>41198</c:v>
                </c:pt>
              </c:numCache>
            </c:numRef>
          </c:cat>
          <c:val>
            <c:numRef>
              <c:f>Sheet8!$C$2:$C$728</c:f>
              <c:numCache>
                <c:formatCode>0.00</c:formatCode>
                <c:ptCount val="727"/>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pt idx="29">
                  <c:v>1</c:v>
                </c:pt>
                <c:pt idx="30">
                  <c:v>1</c:v>
                </c:pt>
                <c:pt idx="31">
                  <c:v>1</c:v>
                </c:pt>
                <c:pt idx="32">
                  <c:v>1</c:v>
                </c:pt>
                <c:pt idx="33">
                  <c:v>1</c:v>
                </c:pt>
                <c:pt idx="34">
                  <c:v>1</c:v>
                </c:pt>
                <c:pt idx="35">
                  <c:v>1</c:v>
                </c:pt>
                <c:pt idx="36">
                  <c:v>1</c:v>
                </c:pt>
                <c:pt idx="37">
                  <c:v>1</c:v>
                </c:pt>
                <c:pt idx="38">
                  <c:v>1</c:v>
                </c:pt>
                <c:pt idx="39">
                  <c:v>1</c:v>
                </c:pt>
                <c:pt idx="40">
                  <c:v>1</c:v>
                </c:pt>
                <c:pt idx="41">
                  <c:v>1</c:v>
                </c:pt>
                <c:pt idx="42">
                  <c:v>1</c:v>
                </c:pt>
                <c:pt idx="43">
                  <c:v>1</c:v>
                </c:pt>
                <c:pt idx="44">
                  <c:v>1</c:v>
                </c:pt>
                <c:pt idx="45">
                  <c:v>1</c:v>
                </c:pt>
                <c:pt idx="46">
                  <c:v>1</c:v>
                </c:pt>
                <c:pt idx="47">
                  <c:v>1</c:v>
                </c:pt>
                <c:pt idx="48">
                  <c:v>1</c:v>
                </c:pt>
                <c:pt idx="49">
                  <c:v>1</c:v>
                </c:pt>
                <c:pt idx="50">
                  <c:v>1</c:v>
                </c:pt>
                <c:pt idx="51">
                  <c:v>1</c:v>
                </c:pt>
                <c:pt idx="52">
                  <c:v>1</c:v>
                </c:pt>
                <c:pt idx="53">
                  <c:v>1</c:v>
                </c:pt>
                <c:pt idx="54">
                  <c:v>1</c:v>
                </c:pt>
                <c:pt idx="55">
                  <c:v>1</c:v>
                </c:pt>
                <c:pt idx="56">
                  <c:v>1</c:v>
                </c:pt>
                <c:pt idx="57">
                  <c:v>1</c:v>
                </c:pt>
                <c:pt idx="58">
                  <c:v>1</c:v>
                </c:pt>
                <c:pt idx="59">
                  <c:v>1</c:v>
                </c:pt>
                <c:pt idx="60">
                  <c:v>1</c:v>
                </c:pt>
                <c:pt idx="61">
                  <c:v>1</c:v>
                </c:pt>
                <c:pt idx="62">
                  <c:v>1</c:v>
                </c:pt>
                <c:pt idx="63">
                  <c:v>1</c:v>
                </c:pt>
                <c:pt idx="64">
                  <c:v>1</c:v>
                </c:pt>
                <c:pt idx="65">
                  <c:v>1</c:v>
                </c:pt>
                <c:pt idx="66">
                  <c:v>1</c:v>
                </c:pt>
                <c:pt idx="67">
                  <c:v>1</c:v>
                </c:pt>
                <c:pt idx="68">
                  <c:v>1</c:v>
                </c:pt>
                <c:pt idx="69">
                  <c:v>1</c:v>
                </c:pt>
                <c:pt idx="70">
                  <c:v>1</c:v>
                </c:pt>
                <c:pt idx="71">
                  <c:v>1</c:v>
                </c:pt>
                <c:pt idx="72">
                  <c:v>1</c:v>
                </c:pt>
                <c:pt idx="73">
                  <c:v>1</c:v>
                </c:pt>
                <c:pt idx="74">
                  <c:v>1</c:v>
                </c:pt>
                <c:pt idx="75">
                  <c:v>1</c:v>
                </c:pt>
                <c:pt idx="76">
                  <c:v>1</c:v>
                </c:pt>
                <c:pt idx="77">
                  <c:v>1</c:v>
                </c:pt>
                <c:pt idx="78">
                  <c:v>1</c:v>
                </c:pt>
                <c:pt idx="79">
                  <c:v>1</c:v>
                </c:pt>
                <c:pt idx="80">
                  <c:v>1</c:v>
                </c:pt>
                <c:pt idx="81">
                  <c:v>1</c:v>
                </c:pt>
                <c:pt idx="82">
                  <c:v>1</c:v>
                </c:pt>
                <c:pt idx="83">
                  <c:v>1</c:v>
                </c:pt>
                <c:pt idx="84">
                  <c:v>1</c:v>
                </c:pt>
                <c:pt idx="85">
                  <c:v>1</c:v>
                </c:pt>
                <c:pt idx="86">
                  <c:v>1</c:v>
                </c:pt>
                <c:pt idx="87">
                  <c:v>1</c:v>
                </c:pt>
                <c:pt idx="88">
                  <c:v>1</c:v>
                </c:pt>
                <c:pt idx="89">
                  <c:v>1</c:v>
                </c:pt>
                <c:pt idx="90">
                  <c:v>1</c:v>
                </c:pt>
                <c:pt idx="91">
                  <c:v>1</c:v>
                </c:pt>
                <c:pt idx="92">
                  <c:v>1</c:v>
                </c:pt>
                <c:pt idx="93">
                  <c:v>1</c:v>
                </c:pt>
                <c:pt idx="94">
                  <c:v>1</c:v>
                </c:pt>
                <c:pt idx="95">
                  <c:v>1</c:v>
                </c:pt>
                <c:pt idx="96">
                  <c:v>1</c:v>
                </c:pt>
                <c:pt idx="97">
                  <c:v>1</c:v>
                </c:pt>
                <c:pt idx="98">
                  <c:v>1</c:v>
                </c:pt>
                <c:pt idx="99">
                  <c:v>1</c:v>
                </c:pt>
                <c:pt idx="100">
                  <c:v>1</c:v>
                </c:pt>
                <c:pt idx="101">
                  <c:v>1</c:v>
                </c:pt>
                <c:pt idx="102">
                  <c:v>1</c:v>
                </c:pt>
                <c:pt idx="103">
                  <c:v>1</c:v>
                </c:pt>
                <c:pt idx="104">
                  <c:v>1</c:v>
                </c:pt>
                <c:pt idx="105">
                  <c:v>1</c:v>
                </c:pt>
                <c:pt idx="106">
                  <c:v>1</c:v>
                </c:pt>
                <c:pt idx="107">
                  <c:v>1</c:v>
                </c:pt>
                <c:pt idx="108">
                  <c:v>1</c:v>
                </c:pt>
                <c:pt idx="109">
                  <c:v>1</c:v>
                </c:pt>
                <c:pt idx="110">
                  <c:v>1</c:v>
                </c:pt>
                <c:pt idx="111">
                  <c:v>1</c:v>
                </c:pt>
                <c:pt idx="112">
                  <c:v>1</c:v>
                </c:pt>
                <c:pt idx="113">
                  <c:v>1</c:v>
                </c:pt>
                <c:pt idx="114">
                  <c:v>1</c:v>
                </c:pt>
                <c:pt idx="115">
                  <c:v>1</c:v>
                </c:pt>
                <c:pt idx="116">
                  <c:v>1</c:v>
                </c:pt>
                <c:pt idx="117">
                  <c:v>1</c:v>
                </c:pt>
                <c:pt idx="118">
                  <c:v>1</c:v>
                </c:pt>
                <c:pt idx="119">
                  <c:v>1</c:v>
                </c:pt>
                <c:pt idx="120">
                  <c:v>1</c:v>
                </c:pt>
                <c:pt idx="121">
                  <c:v>1</c:v>
                </c:pt>
                <c:pt idx="122">
                  <c:v>1</c:v>
                </c:pt>
                <c:pt idx="123">
                  <c:v>1</c:v>
                </c:pt>
                <c:pt idx="124">
                  <c:v>1</c:v>
                </c:pt>
                <c:pt idx="125">
                  <c:v>1</c:v>
                </c:pt>
                <c:pt idx="126">
                  <c:v>1</c:v>
                </c:pt>
                <c:pt idx="127">
                  <c:v>1</c:v>
                </c:pt>
                <c:pt idx="128">
                  <c:v>1</c:v>
                </c:pt>
                <c:pt idx="129">
                  <c:v>1</c:v>
                </c:pt>
                <c:pt idx="130">
                  <c:v>1</c:v>
                </c:pt>
                <c:pt idx="131">
                  <c:v>1</c:v>
                </c:pt>
                <c:pt idx="132">
                  <c:v>1</c:v>
                </c:pt>
                <c:pt idx="133">
                  <c:v>1</c:v>
                </c:pt>
                <c:pt idx="134">
                  <c:v>1</c:v>
                </c:pt>
                <c:pt idx="135">
                  <c:v>1</c:v>
                </c:pt>
                <c:pt idx="136">
                  <c:v>1</c:v>
                </c:pt>
                <c:pt idx="137">
                  <c:v>1</c:v>
                </c:pt>
                <c:pt idx="138">
                  <c:v>1</c:v>
                </c:pt>
                <c:pt idx="139">
                  <c:v>1</c:v>
                </c:pt>
                <c:pt idx="140">
                  <c:v>1</c:v>
                </c:pt>
                <c:pt idx="141">
                  <c:v>1</c:v>
                </c:pt>
                <c:pt idx="142">
                  <c:v>1</c:v>
                </c:pt>
                <c:pt idx="143">
                  <c:v>1</c:v>
                </c:pt>
                <c:pt idx="144">
                  <c:v>1</c:v>
                </c:pt>
                <c:pt idx="145">
                  <c:v>1</c:v>
                </c:pt>
                <c:pt idx="146">
                  <c:v>1</c:v>
                </c:pt>
                <c:pt idx="147">
                  <c:v>1</c:v>
                </c:pt>
                <c:pt idx="148">
                  <c:v>1</c:v>
                </c:pt>
                <c:pt idx="149">
                  <c:v>1</c:v>
                </c:pt>
                <c:pt idx="150">
                  <c:v>1</c:v>
                </c:pt>
                <c:pt idx="151">
                  <c:v>1</c:v>
                </c:pt>
                <c:pt idx="152">
                  <c:v>1</c:v>
                </c:pt>
                <c:pt idx="153">
                  <c:v>1</c:v>
                </c:pt>
                <c:pt idx="154">
                  <c:v>1</c:v>
                </c:pt>
                <c:pt idx="155">
                  <c:v>1</c:v>
                </c:pt>
                <c:pt idx="156">
                  <c:v>1</c:v>
                </c:pt>
                <c:pt idx="157">
                  <c:v>1</c:v>
                </c:pt>
                <c:pt idx="158">
                  <c:v>1</c:v>
                </c:pt>
                <c:pt idx="159">
                  <c:v>1</c:v>
                </c:pt>
                <c:pt idx="160">
                  <c:v>1</c:v>
                </c:pt>
                <c:pt idx="161">
                  <c:v>1</c:v>
                </c:pt>
                <c:pt idx="162">
                  <c:v>1</c:v>
                </c:pt>
                <c:pt idx="163">
                  <c:v>1</c:v>
                </c:pt>
                <c:pt idx="164">
                  <c:v>1</c:v>
                </c:pt>
                <c:pt idx="165">
                  <c:v>1</c:v>
                </c:pt>
                <c:pt idx="166">
                  <c:v>1</c:v>
                </c:pt>
                <c:pt idx="167">
                  <c:v>1</c:v>
                </c:pt>
                <c:pt idx="168">
                  <c:v>1</c:v>
                </c:pt>
                <c:pt idx="169">
                  <c:v>1</c:v>
                </c:pt>
                <c:pt idx="170">
                  <c:v>1</c:v>
                </c:pt>
                <c:pt idx="171">
                  <c:v>1</c:v>
                </c:pt>
                <c:pt idx="172">
                  <c:v>1</c:v>
                </c:pt>
                <c:pt idx="173">
                  <c:v>1</c:v>
                </c:pt>
                <c:pt idx="174">
                  <c:v>1</c:v>
                </c:pt>
                <c:pt idx="175">
                  <c:v>1</c:v>
                </c:pt>
                <c:pt idx="176">
                  <c:v>1</c:v>
                </c:pt>
                <c:pt idx="177">
                  <c:v>1</c:v>
                </c:pt>
                <c:pt idx="178">
                  <c:v>1</c:v>
                </c:pt>
                <c:pt idx="179">
                  <c:v>1</c:v>
                </c:pt>
                <c:pt idx="180">
                  <c:v>1</c:v>
                </c:pt>
                <c:pt idx="181">
                  <c:v>1</c:v>
                </c:pt>
                <c:pt idx="182">
                  <c:v>1</c:v>
                </c:pt>
                <c:pt idx="183">
                  <c:v>1</c:v>
                </c:pt>
                <c:pt idx="184">
                  <c:v>1</c:v>
                </c:pt>
                <c:pt idx="185">
                  <c:v>1</c:v>
                </c:pt>
                <c:pt idx="186">
                  <c:v>1</c:v>
                </c:pt>
                <c:pt idx="187">
                  <c:v>1</c:v>
                </c:pt>
                <c:pt idx="188">
                  <c:v>1</c:v>
                </c:pt>
                <c:pt idx="189">
                  <c:v>1</c:v>
                </c:pt>
                <c:pt idx="190">
                  <c:v>1</c:v>
                </c:pt>
                <c:pt idx="191">
                  <c:v>1</c:v>
                </c:pt>
                <c:pt idx="192">
                  <c:v>1</c:v>
                </c:pt>
                <c:pt idx="193">
                  <c:v>1</c:v>
                </c:pt>
                <c:pt idx="194">
                  <c:v>1</c:v>
                </c:pt>
                <c:pt idx="195">
                  <c:v>1</c:v>
                </c:pt>
                <c:pt idx="196">
                  <c:v>1</c:v>
                </c:pt>
                <c:pt idx="197">
                  <c:v>1</c:v>
                </c:pt>
                <c:pt idx="198">
                  <c:v>1</c:v>
                </c:pt>
                <c:pt idx="199">
                  <c:v>1</c:v>
                </c:pt>
                <c:pt idx="200">
                  <c:v>1</c:v>
                </c:pt>
                <c:pt idx="201">
                  <c:v>1</c:v>
                </c:pt>
                <c:pt idx="202">
                  <c:v>1</c:v>
                </c:pt>
                <c:pt idx="203">
                  <c:v>1</c:v>
                </c:pt>
                <c:pt idx="204">
                  <c:v>1</c:v>
                </c:pt>
                <c:pt idx="205">
                  <c:v>1</c:v>
                </c:pt>
                <c:pt idx="206">
                  <c:v>1</c:v>
                </c:pt>
                <c:pt idx="207">
                  <c:v>1</c:v>
                </c:pt>
                <c:pt idx="208">
                  <c:v>1</c:v>
                </c:pt>
                <c:pt idx="209">
                  <c:v>1</c:v>
                </c:pt>
                <c:pt idx="210">
                  <c:v>1</c:v>
                </c:pt>
                <c:pt idx="211">
                  <c:v>1</c:v>
                </c:pt>
                <c:pt idx="212">
                  <c:v>1</c:v>
                </c:pt>
                <c:pt idx="213">
                  <c:v>1</c:v>
                </c:pt>
                <c:pt idx="214">
                  <c:v>1</c:v>
                </c:pt>
                <c:pt idx="215">
                  <c:v>1</c:v>
                </c:pt>
                <c:pt idx="216">
                  <c:v>1</c:v>
                </c:pt>
                <c:pt idx="217">
                  <c:v>1</c:v>
                </c:pt>
                <c:pt idx="218">
                  <c:v>1</c:v>
                </c:pt>
                <c:pt idx="219">
                  <c:v>1</c:v>
                </c:pt>
                <c:pt idx="220">
                  <c:v>1</c:v>
                </c:pt>
                <c:pt idx="221">
                  <c:v>1</c:v>
                </c:pt>
                <c:pt idx="222">
                  <c:v>1</c:v>
                </c:pt>
                <c:pt idx="223">
                  <c:v>1</c:v>
                </c:pt>
                <c:pt idx="224">
                  <c:v>1</c:v>
                </c:pt>
                <c:pt idx="225">
                  <c:v>1</c:v>
                </c:pt>
                <c:pt idx="226">
                  <c:v>1</c:v>
                </c:pt>
                <c:pt idx="227">
                  <c:v>1</c:v>
                </c:pt>
                <c:pt idx="228">
                  <c:v>1</c:v>
                </c:pt>
                <c:pt idx="229">
                  <c:v>1</c:v>
                </c:pt>
                <c:pt idx="230">
                  <c:v>1</c:v>
                </c:pt>
                <c:pt idx="231">
                  <c:v>1</c:v>
                </c:pt>
                <c:pt idx="232">
                  <c:v>1</c:v>
                </c:pt>
                <c:pt idx="233">
                  <c:v>1</c:v>
                </c:pt>
                <c:pt idx="234">
                  <c:v>1</c:v>
                </c:pt>
                <c:pt idx="235">
                  <c:v>1</c:v>
                </c:pt>
                <c:pt idx="236">
                  <c:v>1</c:v>
                </c:pt>
                <c:pt idx="237">
                  <c:v>1</c:v>
                </c:pt>
                <c:pt idx="238">
                  <c:v>1</c:v>
                </c:pt>
                <c:pt idx="239">
                  <c:v>1</c:v>
                </c:pt>
                <c:pt idx="240">
                  <c:v>1</c:v>
                </c:pt>
                <c:pt idx="241">
                  <c:v>1</c:v>
                </c:pt>
                <c:pt idx="242">
                  <c:v>1</c:v>
                </c:pt>
                <c:pt idx="243">
                  <c:v>1</c:v>
                </c:pt>
                <c:pt idx="244">
                  <c:v>1</c:v>
                </c:pt>
                <c:pt idx="245">
                  <c:v>1</c:v>
                </c:pt>
                <c:pt idx="246">
                  <c:v>1</c:v>
                </c:pt>
                <c:pt idx="247">
                  <c:v>1</c:v>
                </c:pt>
                <c:pt idx="248">
                  <c:v>1</c:v>
                </c:pt>
                <c:pt idx="249">
                  <c:v>1</c:v>
                </c:pt>
                <c:pt idx="250">
                  <c:v>1</c:v>
                </c:pt>
                <c:pt idx="251">
                  <c:v>1</c:v>
                </c:pt>
                <c:pt idx="252">
                  <c:v>1</c:v>
                </c:pt>
                <c:pt idx="253">
                  <c:v>1</c:v>
                </c:pt>
                <c:pt idx="254">
                  <c:v>1</c:v>
                </c:pt>
                <c:pt idx="255">
                  <c:v>1</c:v>
                </c:pt>
                <c:pt idx="256">
                  <c:v>1</c:v>
                </c:pt>
                <c:pt idx="257">
                  <c:v>1</c:v>
                </c:pt>
                <c:pt idx="258">
                  <c:v>1</c:v>
                </c:pt>
                <c:pt idx="259">
                  <c:v>1</c:v>
                </c:pt>
                <c:pt idx="260">
                  <c:v>1</c:v>
                </c:pt>
                <c:pt idx="261">
                  <c:v>1</c:v>
                </c:pt>
                <c:pt idx="262">
                  <c:v>1</c:v>
                </c:pt>
                <c:pt idx="263">
                  <c:v>1</c:v>
                </c:pt>
                <c:pt idx="264">
                  <c:v>1</c:v>
                </c:pt>
                <c:pt idx="265">
                  <c:v>1</c:v>
                </c:pt>
                <c:pt idx="266">
                  <c:v>1</c:v>
                </c:pt>
                <c:pt idx="267">
                  <c:v>1</c:v>
                </c:pt>
                <c:pt idx="268">
                  <c:v>1</c:v>
                </c:pt>
                <c:pt idx="269">
                  <c:v>1</c:v>
                </c:pt>
                <c:pt idx="270">
                  <c:v>1</c:v>
                </c:pt>
                <c:pt idx="271">
                  <c:v>1</c:v>
                </c:pt>
                <c:pt idx="272">
                  <c:v>1</c:v>
                </c:pt>
                <c:pt idx="273">
                  <c:v>1</c:v>
                </c:pt>
                <c:pt idx="274">
                  <c:v>1</c:v>
                </c:pt>
                <c:pt idx="275">
                  <c:v>1</c:v>
                </c:pt>
                <c:pt idx="276">
                  <c:v>1</c:v>
                </c:pt>
                <c:pt idx="277">
                  <c:v>1</c:v>
                </c:pt>
                <c:pt idx="278">
                  <c:v>1</c:v>
                </c:pt>
                <c:pt idx="279">
                  <c:v>1</c:v>
                </c:pt>
                <c:pt idx="280">
                  <c:v>1</c:v>
                </c:pt>
                <c:pt idx="281">
                  <c:v>1</c:v>
                </c:pt>
                <c:pt idx="282">
                  <c:v>1</c:v>
                </c:pt>
                <c:pt idx="283">
                  <c:v>1</c:v>
                </c:pt>
                <c:pt idx="284">
                  <c:v>1</c:v>
                </c:pt>
                <c:pt idx="285">
                  <c:v>1</c:v>
                </c:pt>
                <c:pt idx="286">
                  <c:v>1</c:v>
                </c:pt>
                <c:pt idx="287">
                  <c:v>1</c:v>
                </c:pt>
                <c:pt idx="288">
                  <c:v>1</c:v>
                </c:pt>
                <c:pt idx="289">
                  <c:v>1</c:v>
                </c:pt>
                <c:pt idx="290">
                  <c:v>1</c:v>
                </c:pt>
                <c:pt idx="291">
                  <c:v>1</c:v>
                </c:pt>
                <c:pt idx="292">
                  <c:v>1</c:v>
                </c:pt>
                <c:pt idx="293">
                  <c:v>1</c:v>
                </c:pt>
                <c:pt idx="294">
                  <c:v>1</c:v>
                </c:pt>
                <c:pt idx="295">
                  <c:v>1</c:v>
                </c:pt>
                <c:pt idx="296">
                  <c:v>1</c:v>
                </c:pt>
                <c:pt idx="297">
                  <c:v>1</c:v>
                </c:pt>
                <c:pt idx="298">
                  <c:v>1</c:v>
                </c:pt>
                <c:pt idx="299">
                  <c:v>1</c:v>
                </c:pt>
                <c:pt idx="300">
                  <c:v>1</c:v>
                </c:pt>
                <c:pt idx="301">
                  <c:v>1</c:v>
                </c:pt>
                <c:pt idx="302">
                  <c:v>1</c:v>
                </c:pt>
                <c:pt idx="303">
                  <c:v>1</c:v>
                </c:pt>
                <c:pt idx="304">
                  <c:v>1</c:v>
                </c:pt>
                <c:pt idx="305">
                  <c:v>1</c:v>
                </c:pt>
                <c:pt idx="306">
                  <c:v>1</c:v>
                </c:pt>
                <c:pt idx="307">
                  <c:v>1</c:v>
                </c:pt>
                <c:pt idx="308">
                  <c:v>1</c:v>
                </c:pt>
                <c:pt idx="309">
                  <c:v>1</c:v>
                </c:pt>
                <c:pt idx="310">
                  <c:v>1</c:v>
                </c:pt>
                <c:pt idx="311">
                  <c:v>1</c:v>
                </c:pt>
                <c:pt idx="312">
                  <c:v>1</c:v>
                </c:pt>
                <c:pt idx="313">
                  <c:v>1</c:v>
                </c:pt>
                <c:pt idx="314">
                  <c:v>1</c:v>
                </c:pt>
                <c:pt idx="315">
                  <c:v>1</c:v>
                </c:pt>
                <c:pt idx="316">
                  <c:v>1</c:v>
                </c:pt>
                <c:pt idx="317">
                  <c:v>1</c:v>
                </c:pt>
                <c:pt idx="318">
                  <c:v>1</c:v>
                </c:pt>
                <c:pt idx="319">
                  <c:v>1</c:v>
                </c:pt>
                <c:pt idx="320">
                  <c:v>1</c:v>
                </c:pt>
                <c:pt idx="321">
                  <c:v>1</c:v>
                </c:pt>
                <c:pt idx="322">
                  <c:v>1</c:v>
                </c:pt>
                <c:pt idx="323">
                  <c:v>1</c:v>
                </c:pt>
                <c:pt idx="324">
                  <c:v>1</c:v>
                </c:pt>
                <c:pt idx="325">
                  <c:v>1</c:v>
                </c:pt>
                <c:pt idx="326">
                  <c:v>1</c:v>
                </c:pt>
                <c:pt idx="327">
                  <c:v>1</c:v>
                </c:pt>
                <c:pt idx="328">
                  <c:v>1.25</c:v>
                </c:pt>
                <c:pt idx="329">
                  <c:v>1.25</c:v>
                </c:pt>
                <c:pt idx="330">
                  <c:v>1.25</c:v>
                </c:pt>
                <c:pt idx="331">
                  <c:v>1.25</c:v>
                </c:pt>
                <c:pt idx="332">
                  <c:v>1.25</c:v>
                </c:pt>
                <c:pt idx="333">
                  <c:v>1.25</c:v>
                </c:pt>
                <c:pt idx="334">
                  <c:v>1.25</c:v>
                </c:pt>
                <c:pt idx="335">
                  <c:v>1.25</c:v>
                </c:pt>
                <c:pt idx="336">
                  <c:v>1.25</c:v>
                </c:pt>
                <c:pt idx="337">
                  <c:v>1.25</c:v>
                </c:pt>
                <c:pt idx="338">
                  <c:v>1.25</c:v>
                </c:pt>
                <c:pt idx="339">
                  <c:v>1.25</c:v>
                </c:pt>
                <c:pt idx="340">
                  <c:v>1.25</c:v>
                </c:pt>
                <c:pt idx="341">
                  <c:v>1.25</c:v>
                </c:pt>
                <c:pt idx="342">
                  <c:v>1.25</c:v>
                </c:pt>
                <c:pt idx="343">
                  <c:v>1.25</c:v>
                </c:pt>
                <c:pt idx="344">
                  <c:v>1.25</c:v>
                </c:pt>
                <c:pt idx="345">
                  <c:v>1.25</c:v>
                </c:pt>
                <c:pt idx="346">
                  <c:v>1.25</c:v>
                </c:pt>
                <c:pt idx="347">
                  <c:v>1.25</c:v>
                </c:pt>
                <c:pt idx="348">
                  <c:v>1.25</c:v>
                </c:pt>
                <c:pt idx="349">
                  <c:v>1.25</c:v>
                </c:pt>
                <c:pt idx="350">
                  <c:v>1.25</c:v>
                </c:pt>
                <c:pt idx="351">
                  <c:v>1.25</c:v>
                </c:pt>
                <c:pt idx="352">
                  <c:v>1.25</c:v>
                </c:pt>
                <c:pt idx="353">
                  <c:v>1.25</c:v>
                </c:pt>
                <c:pt idx="354">
                  <c:v>1.25</c:v>
                </c:pt>
                <c:pt idx="355">
                  <c:v>1.25</c:v>
                </c:pt>
                <c:pt idx="356">
                  <c:v>1.25</c:v>
                </c:pt>
                <c:pt idx="357">
                  <c:v>1.25</c:v>
                </c:pt>
                <c:pt idx="358">
                  <c:v>1.25</c:v>
                </c:pt>
                <c:pt idx="359">
                  <c:v>1.25</c:v>
                </c:pt>
                <c:pt idx="360">
                  <c:v>1.25</c:v>
                </c:pt>
                <c:pt idx="361">
                  <c:v>1.25</c:v>
                </c:pt>
                <c:pt idx="362">
                  <c:v>1.25</c:v>
                </c:pt>
                <c:pt idx="363">
                  <c:v>1.25</c:v>
                </c:pt>
                <c:pt idx="364">
                  <c:v>1.25</c:v>
                </c:pt>
                <c:pt idx="365">
                  <c:v>1.25</c:v>
                </c:pt>
                <c:pt idx="366">
                  <c:v>1.25</c:v>
                </c:pt>
                <c:pt idx="367">
                  <c:v>1.25</c:v>
                </c:pt>
                <c:pt idx="368">
                  <c:v>1.25</c:v>
                </c:pt>
                <c:pt idx="369">
                  <c:v>1.25</c:v>
                </c:pt>
                <c:pt idx="370">
                  <c:v>1.25</c:v>
                </c:pt>
                <c:pt idx="371">
                  <c:v>1.25</c:v>
                </c:pt>
                <c:pt idx="372">
                  <c:v>1.25</c:v>
                </c:pt>
                <c:pt idx="373">
                  <c:v>1.25</c:v>
                </c:pt>
                <c:pt idx="374">
                  <c:v>1.25</c:v>
                </c:pt>
                <c:pt idx="375">
                  <c:v>1.25</c:v>
                </c:pt>
                <c:pt idx="376">
                  <c:v>1.25</c:v>
                </c:pt>
                <c:pt idx="377">
                  <c:v>1.25</c:v>
                </c:pt>
                <c:pt idx="378">
                  <c:v>1.25</c:v>
                </c:pt>
                <c:pt idx="379">
                  <c:v>1.25</c:v>
                </c:pt>
                <c:pt idx="380">
                  <c:v>1.25</c:v>
                </c:pt>
                <c:pt idx="381">
                  <c:v>1.25</c:v>
                </c:pt>
                <c:pt idx="382">
                  <c:v>1.25</c:v>
                </c:pt>
                <c:pt idx="383">
                  <c:v>1.25</c:v>
                </c:pt>
                <c:pt idx="384">
                  <c:v>1.25</c:v>
                </c:pt>
                <c:pt idx="385">
                  <c:v>1.25</c:v>
                </c:pt>
                <c:pt idx="386">
                  <c:v>1.25</c:v>
                </c:pt>
                <c:pt idx="387">
                  <c:v>1.25</c:v>
                </c:pt>
                <c:pt idx="388">
                  <c:v>1.25</c:v>
                </c:pt>
                <c:pt idx="389">
                  <c:v>1.25</c:v>
                </c:pt>
                <c:pt idx="390">
                  <c:v>1.25</c:v>
                </c:pt>
                <c:pt idx="391">
                  <c:v>1.25</c:v>
                </c:pt>
                <c:pt idx="392">
                  <c:v>1.5</c:v>
                </c:pt>
                <c:pt idx="393">
                  <c:v>1.5</c:v>
                </c:pt>
                <c:pt idx="394">
                  <c:v>1.5</c:v>
                </c:pt>
                <c:pt idx="395">
                  <c:v>1.5</c:v>
                </c:pt>
                <c:pt idx="396">
                  <c:v>1.5</c:v>
                </c:pt>
                <c:pt idx="397">
                  <c:v>1.5</c:v>
                </c:pt>
                <c:pt idx="398">
                  <c:v>1.5</c:v>
                </c:pt>
                <c:pt idx="399">
                  <c:v>1.5</c:v>
                </c:pt>
                <c:pt idx="400">
                  <c:v>1.5</c:v>
                </c:pt>
                <c:pt idx="401">
                  <c:v>1.5</c:v>
                </c:pt>
                <c:pt idx="402">
                  <c:v>1.5</c:v>
                </c:pt>
                <c:pt idx="403">
                  <c:v>1.5</c:v>
                </c:pt>
                <c:pt idx="404">
                  <c:v>1.5</c:v>
                </c:pt>
                <c:pt idx="405">
                  <c:v>1.5</c:v>
                </c:pt>
                <c:pt idx="406">
                  <c:v>1.5</c:v>
                </c:pt>
                <c:pt idx="407">
                  <c:v>1.5</c:v>
                </c:pt>
                <c:pt idx="408">
                  <c:v>1.5</c:v>
                </c:pt>
                <c:pt idx="409">
                  <c:v>1.5</c:v>
                </c:pt>
                <c:pt idx="410">
                  <c:v>1.5</c:v>
                </c:pt>
                <c:pt idx="411">
                  <c:v>1.5</c:v>
                </c:pt>
                <c:pt idx="412">
                  <c:v>1.5</c:v>
                </c:pt>
                <c:pt idx="413">
                  <c:v>1.5</c:v>
                </c:pt>
                <c:pt idx="414">
                  <c:v>1.5</c:v>
                </c:pt>
                <c:pt idx="415">
                  <c:v>1.5</c:v>
                </c:pt>
                <c:pt idx="416">
                  <c:v>1.5</c:v>
                </c:pt>
                <c:pt idx="417">
                  <c:v>1.5</c:v>
                </c:pt>
                <c:pt idx="418">
                  <c:v>1.5</c:v>
                </c:pt>
                <c:pt idx="419">
                  <c:v>1.5</c:v>
                </c:pt>
                <c:pt idx="420">
                  <c:v>1.5</c:v>
                </c:pt>
                <c:pt idx="421">
                  <c:v>1.5</c:v>
                </c:pt>
                <c:pt idx="422">
                  <c:v>1.5</c:v>
                </c:pt>
                <c:pt idx="423">
                  <c:v>1.5</c:v>
                </c:pt>
                <c:pt idx="424">
                  <c:v>1.5</c:v>
                </c:pt>
                <c:pt idx="425">
                  <c:v>1.5</c:v>
                </c:pt>
                <c:pt idx="426">
                  <c:v>1.5</c:v>
                </c:pt>
                <c:pt idx="427">
                  <c:v>1.5</c:v>
                </c:pt>
                <c:pt idx="428">
                  <c:v>1.5</c:v>
                </c:pt>
                <c:pt idx="429">
                  <c:v>1.5</c:v>
                </c:pt>
                <c:pt idx="430">
                  <c:v>1.5</c:v>
                </c:pt>
                <c:pt idx="431">
                  <c:v>1.5</c:v>
                </c:pt>
                <c:pt idx="432">
                  <c:v>1.5</c:v>
                </c:pt>
                <c:pt idx="433">
                  <c:v>1.5</c:v>
                </c:pt>
                <c:pt idx="434">
                  <c:v>1.5</c:v>
                </c:pt>
                <c:pt idx="435">
                  <c:v>1.5</c:v>
                </c:pt>
                <c:pt idx="436">
                  <c:v>1.5</c:v>
                </c:pt>
                <c:pt idx="437">
                  <c:v>1.5</c:v>
                </c:pt>
                <c:pt idx="438">
                  <c:v>1.5</c:v>
                </c:pt>
                <c:pt idx="439">
                  <c:v>1.5</c:v>
                </c:pt>
                <c:pt idx="440">
                  <c:v>1.5</c:v>
                </c:pt>
                <c:pt idx="441">
                  <c:v>1.5</c:v>
                </c:pt>
                <c:pt idx="442">
                  <c:v>1.5</c:v>
                </c:pt>
                <c:pt idx="443">
                  <c:v>1.5</c:v>
                </c:pt>
                <c:pt idx="444">
                  <c:v>1.5</c:v>
                </c:pt>
                <c:pt idx="445">
                  <c:v>1.5</c:v>
                </c:pt>
                <c:pt idx="446">
                  <c:v>1.5</c:v>
                </c:pt>
                <c:pt idx="447">
                  <c:v>1.5</c:v>
                </c:pt>
                <c:pt idx="448">
                  <c:v>1.5</c:v>
                </c:pt>
                <c:pt idx="449">
                  <c:v>1.5</c:v>
                </c:pt>
                <c:pt idx="450">
                  <c:v>1.5</c:v>
                </c:pt>
                <c:pt idx="451">
                  <c:v>1.5</c:v>
                </c:pt>
                <c:pt idx="452">
                  <c:v>1.5</c:v>
                </c:pt>
                <c:pt idx="453">
                  <c:v>1.5</c:v>
                </c:pt>
                <c:pt idx="454">
                  <c:v>1.5</c:v>
                </c:pt>
                <c:pt idx="455">
                  <c:v>1.5</c:v>
                </c:pt>
                <c:pt idx="456">
                  <c:v>1.5</c:v>
                </c:pt>
                <c:pt idx="457">
                  <c:v>1.5</c:v>
                </c:pt>
                <c:pt idx="458">
                  <c:v>1.5</c:v>
                </c:pt>
                <c:pt idx="459">
                  <c:v>1.5</c:v>
                </c:pt>
                <c:pt idx="460">
                  <c:v>1.5</c:v>
                </c:pt>
                <c:pt idx="461">
                  <c:v>1.5</c:v>
                </c:pt>
                <c:pt idx="462">
                  <c:v>1.5</c:v>
                </c:pt>
                <c:pt idx="463">
                  <c:v>1.5</c:v>
                </c:pt>
                <c:pt idx="464">
                  <c:v>1.5</c:v>
                </c:pt>
                <c:pt idx="465">
                  <c:v>1.5</c:v>
                </c:pt>
                <c:pt idx="466">
                  <c:v>1.5</c:v>
                </c:pt>
                <c:pt idx="467">
                  <c:v>1.5</c:v>
                </c:pt>
                <c:pt idx="468">
                  <c:v>1.5</c:v>
                </c:pt>
                <c:pt idx="469">
                  <c:v>1.5</c:v>
                </c:pt>
                <c:pt idx="470">
                  <c:v>1.5</c:v>
                </c:pt>
                <c:pt idx="471">
                  <c:v>1.5</c:v>
                </c:pt>
                <c:pt idx="472">
                  <c:v>1.5</c:v>
                </c:pt>
                <c:pt idx="473">
                  <c:v>1.5</c:v>
                </c:pt>
                <c:pt idx="474">
                  <c:v>1.5</c:v>
                </c:pt>
                <c:pt idx="475">
                  <c:v>1.5</c:v>
                </c:pt>
                <c:pt idx="476">
                  <c:v>1.5</c:v>
                </c:pt>
                <c:pt idx="477">
                  <c:v>1.25</c:v>
                </c:pt>
                <c:pt idx="478">
                  <c:v>1.25</c:v>
                </c:pt>
                <c:pt idx="479">
                  <c:v>1.25</c:v>
                </c:pt>
                <c:pt idx="480">
                  <c:v>1.25</c:v>
                </c:pt>
                <c:pt idx="481">
                  <c:v>1.25</c:v>
                </c:pt>
                <c:pt idx="482">
                  <c:v>1.25</c:v>
                </c:pt>
                <c:pt idx="483">
                  <c:v>1.25</c:v>
                </c:pt>
                <c:pt idx="484">
                  <c:v>1.25</c:v>
                </c:pt>
                <c:pt idx="485">
                  <c:v>1.25</c:v>
                </c:pt>
                <c:pt idx="486">
                  <c:v>1.25</c:v>
                </c:pt>
                <c:pt idx="487">
                  <c:v>1.25</c:v>
                </c:pt>
                <c:pt idx="488">
                  <c:v>1.25</c:v>
                </c:pt>
                <c:pt idx="489">
                  <c:v>1.25</c:v>
                </c:pt>
                <c:pt idx="490">
                  <c:v>1.25</c:v>
                </c:pt>
                <c:pt idx="491">
                  <c:v>1.25</c:v>
                </c:pt>
                <c:pt idx="492">
                  <c:v>1.25</c:v>
                </c:pt>
                <c:pt idx="493">
                  <c:v>1.25</c:v>
                </c:pt>
                <c:pt idx="494">
                  <c:v>1.25</c:v>
                </c:pt>
                <c:pt idx="495">
                  <c:v>1.25</c:v>
                </c:pt>
                <c:pt idx="496">
                  <c:v>1.25</c:v>
                </c:pt>
                <c:pt idx="497">
                  <c:v>1.25</c:v>
                </c:pt>
                <c:pt idx="498">
                  <c:v>1.25</c:v>
                </c:pt>
                <c:pt idx="499">
                  <c:v>1.25</c:v>
                </c:pt>
                <c:pt idx="500">
                  <c:v>1.25</c:v>
                </c:pt>
                <c:pt idx="501">
                  <c:v>1.25</c:v>
                </c:pt>
                <c:pt idx="502">
                  <c:v>1</c:v>
                </c:pt>
                <c:pt idx="503">
                  <c:v>1</c:v>
                </c:pt>
                <c:pt idx="504">
                  <c:v>1</c:v>
                </c:pt>
                <c:pt idx="505">
                  <c:v>1</c:v>
                </c:pt>
                <c:pt idx="506">
                  <c:v>1</c:v>
                </c:pt>
                <c:pt idx="507">
                  <c:v>1</c:v>
                </c:pt>
                <c:pt idx="508">
                  <c:v>1</c:v>
                </c:pt>
                <c:pt idx="509">
                  <c:v>1</c:v>
                </c:pt>
                <c:pt idx="510">
                  <c:v>1</c:v>
                </c:pt>
                <c:pt idx="511">
                  <c:v>1</c:v>
                </c:pt>
                <c:pt idx="512">
                  <c:v>1</c:v>
                </c:pt>
                <c:pt idx="513">
                  <c:v>1</c:v>
                </c:pt>
                <c:pt idx="514">
                  <c:v>1</c:v>
                </c:pt>
                <c:pt idx="515">
                  <c:v>1</c:v>
                </c:pt>
                <c:pt idx="516">
                  <c:v>1</c:v>
                </c:pt>
                <c:pt idx="517">
                  <c:v>1</c:v>
                </c:pt>
                <c:pt idx="518">
                  <c:v>1</c:v>
                </c:pt>
                <c:pt idx="519">
                  <c:v>1</c:v>
                </c:pt>
                <c:pt idx="520">
                  <c:v>1</c:v>
                </c:pt>
                <c:pt idx="521">
                  <c:v>1</c:v>
                </c:pt>
                <c:pt idx="522">
                  <c:v>1</c:v>
                </c:pt>
                <c:pt idx="523">
                  <c:v>1</c:v>
                </c:pt>
                <c:pt idx="524">
                  <c:v>1</c:v>
                </c:pt>
                <c:pt idx="525">
                  <c:v>1</c:v>
                </c:pt>
                <c:pt idx="526">
                  <c:v>1</c:v>
                </c:pt>
                <c:pt idx="527">
                  <c:v>1</c:v>
                </c:pt>
                <c:pt idx="528">
                  <c:v>1</c:v>
                </c:pt>
                <c:pt idx="529">
                  <c:v>1</c:v>
                </c:pt>
                <c:pt idx="530">
                  <c:v>1</c:v>
                </c:pt>
                <c:pt idx="531">
                  <c:v>1</c:v>
                </c:pt>
                <c:pt idx="532">
                  <c:v>1</c:v>
                </c:pt>
                <c:pt idx="533">
                  <c:v>1</c:v>
                </c:pt>
                <c:pt idx="534">
                  <c:v>1</c:v>
                </c:pt>
                <c:pt idx="535">
                  <c:v>1</c:v>
                </c:pt>
                <c:pt idx="536">
                  <c:v>1</c:v>
                </c:pt>
                <c:pt idx="537">
                  <c:v>1</c:v>
                </c:pt>
                <c:pt idx="538">
                  <c:v>1</c:v>
                </c:pt>
                <c:pt idx="539">
                  <c:v>1</c:v>
                </c:pt>
                <c:pt idx="540">
                  <c:v>1</c:v>
                </c:pt>
                <c:pt idx="541">
                  <c:v>1</c:v>
                </c:pt>
                <c:pt idx="542">
                  <c:v>1</c:v>
                </c:pt>
                <c:pt idx="543">
                  <c:v>1</c:v>
                </c:pt>
                <c:pt idx="544">
                  <c:v>1</c:v>
                </c:pt>
                <c:pt idx="545">
                  <c:v>1</c:v>
                </c:pt>
                <c:pt idx="546">
                  <c:v>1</c:v>
                </c:pt>
                <c:pt idx="547">
                  <c:v>1</c:v>
                </c:pt>
                <c:pt idx="548">
                  <c:v>1</c:v>
                </c:pt>
                <c:pt idx="549">
                  <c:v>1</c:v>
                </c:pt>
                <c:pt idx="550">
                  <c:v>1</c:v>
                </c:pt>
                <c:pt idx="551">
                  <c:v>1</c:v>
                </c:pt>
                <c:pt idx="552">
                  <c:v>1</c:v>
                </c:pt>
                <c:pt idx="553">
                  <c:v>1</c:v>
                </c:pt>
                <c:pt idx="554">
                  <c:v>1</c:v>
                </c:pt>
                <c:pt idx="555">
                  <c:v>1</c:v>
                </c:pt>
                <c:pt idx="556">
                  <c:v>1</c:v>
                </c:pt>
                <c:pt idx="557">
                  <c:v>1</c:v>
                </c:pt>
                <c:pt idx="558">
                  <c:v>1</c:v>
                </c:pt>
                <c:pt idx="559">
                  <c:v>1</c:v>
                </c:pt>
                <c:pt idx="560">
                  <c:v>1</c:v>
                </c:pt>
                <c:pt idx="561">
                  <c:v>1</c:v>
                </c:pt>
                <c:pt idx="562">
                  <c:v>1</c:v>
                </c:pt>
                <c:pt idx="563">
                  <c:v>1</c:v>
                </c:pt>
                <c:pt idx="564">
                  <c:v>1</c:v>
                </c:pt>
                <c:pt idx="565">
                  <c:v>1</c:v>
                </c:pt>
                <c:pt idx="566">
                  <c:v>1</c:v>
                </c:pt>
                <c:pt idx="567">
                  <c:v>1</c:v>
                </c:pt>
                <c:pt idx="568">
                  <c:v>1</c:v>
                </c:pt>
                <c:pt idx="569">
                  <c:v>1</c:v>
                </c:pt>
                <c:pt idx="570">
                  <c:v>1</c:v>
                </c:pt>
                <c:pt idx="571">
                  <c:v>1</c:v>
                </c:pt>
                <c:pt idx="572">
                  <c:v>1</c:v>
                </c:pt>
                <c:pt idx="573">
                  <c:v>1</c:v>
                </c:pt>
                <c:pt idx="574">
                  <c:v>1</c:v>
                </c:pt>
                <c:pt idx="575">
                  <c:v>1</c:v>
                </c:pt>
                <c:pt idx="576">
                  <c:v>1</c:v>
                </c:pt>
                <c:pt idx="577">
                  <c:v>1</c:v>
                </c:pt>
                <c:pt idx="578">
                  <c:v>1</c:v>
                </c:pt>
                <c:pt idx="579">
                  <c:v>1</c:v>
                </c:pt>
                <c:pt idx="580">
                  <c:v>1</c:v>
                </c:pt>
                <c:pt idx="581">
                  <c:v>1</c:v>
                </c:pt>
                <c:pt idx="582">
                  <c:v>1</c:v>
                </c:pt>
                <c:pt idx="583">
                  <c:v>1</c:v>
                </c:pt>
                <c:pt idx="584">
                  <c:v>1</c:v>
                </c:pt>
                <c:pt idx="585">
                  <c:v>1</c:v>
                </c:pt>
                <c:pt idx="586">
                  <c:v>1</c:v>
                </c:pt>
                <c:pt idx="587">
                  <c:v>1</c:v>
                </c:pt>
                <c:pt idx="588">
                  <c:v>1</c:v>
                </c:pt>
                <c:pt idx="589">
                  <c:v>1</c:v>
                </c:pt>
                <c:pt idx="590">
                  <c:v>1</c:v>
                </c:pt>
                <c:pt idx="591">
                  <c:v>1</c:v>
                </c:pt>
                <c:pt idx="592">
                  <c:v>1</c:v>
                </c:pt>
                <c:pt idx="593">
                  <c:v>1</c:v>
                </c:pt>
                <c:pt idx="594">
                  <c:v>1</c:v>
                </c:pt>
                <c:pt idx="595">
                  <c:v>1</c:v>
                </c:pt>
                <c:pt idx="596">
                  <c:v>1</c:v>
                </c:pt>
                <c:pt idx="597">
                  <c:v>1</c:v>
                </c:pt>
                <c:pt idx="598">
                  <c:v>1</c:v>
                </c:pt>
                <c:pt idx="599">
                  <c:v>1</c:v>
                </c:pt>
                <c:pt idx="600">
                  <c:v>1</c:v>
                </c:pt>
                <c:pt idx="601">
                  <c:v>1</c:v>
                </c:pt>
                <c:pt idx="602">
                  <c:v>1</c:v>
                </c:pt>
                <c:pt idx="603">
                  <c:v>1</c:v>
                </c:pt>
                <c:pt idx="604">
                  <c:v>1</c:v>
                </c:pt>
                <c:pt idx="605">
                  <c:v>1</c:v>
                </c:pt>
                <c:pt idx="606">
                  <c:v>1</c:v>
                </c:pt>
                <c:pt idx="607">
                  <c:v>1</c:v>
                </c:pt>
                <c:pt idx="608">
                  <c:v>1</c:v>
                </c:pt>
                <c:pt idx="609">
                  <c:v>1</c:v>
                </c:pt>
                <c:pt idx="610">
                  <c:v>1</c:v>
                </c:pt>
                <c:pt idx="611">
                  <c:v>1</c:v>
                </c:pt>
                <c:pt idx="612">
                  <c:v>1</c:v>
                </c:pt>
                <c:pt idx="613">
                  <c:v>1</c:v>
                </c:pt>
                <c:pt idx="614">
                  <c:v>1</c:v>
                </c:pt>
                <c:pt idx="615">
                  <c:v>1</c:v>
                </c:pt>
                <c:pt idx="616">
                  <c:v>1</c:v>
                </c:pt>
                <c:pt idx="617">
                  <c:v>1</c:v>
                </c:pt>
                <c:pt idx="618">
                  <c:v>1</c:v>
                </c:pt>
                <c:pt idx="619">
                  <c:v>1</c:v>
                </c:pt>
                <c:pt idx="620">
                  <c:v>1</c:v>
                </c:pt>
                <c:pt idx="621">
                  <c:v>1</c:v>
                </c:pt>
                <c:pt idx="622">
                  <c:v>1</c:v>
                </c:pt>
                <c:pt idx="623">
                  <c:v>1</c:v>
                </c:pt>
                <c:pt idx="624">
                  <c:v>1</c:v>
                </c:pt>
                <c:pt idx="625">
                  <c:v>1</c:v>
                </c:pt>
                <c:pt idx="626">
                  <c:v>1</c:v>
                </c:pt>
                <c:pt idx="627">
                  <c:v>1</c:v>
                </c:pt>
                <c:pt idx="628">
                  <c:v>1</c:v>
                </c:pt>
                <c:pt idx="629">
                  <c:v>1</c:v>
                </c:pt>
                <c:pt idx="630">
                  <c:v>1</c:v>
                </c:pt>
                <c:pt idx="631">
                  <c:v>1</c:v>
                </c:pt>
                <c:pt idx="632">
                  <c:v>1</c:v>
                </c:pt>
                <c:pt idx="633">
                  <c:v>1</c:v>
                </c:pt>
                <c:pt idx="634">
                  <c:v>1</c:v>
                </c:pt>
                <c:pt idx="635">
                  <c:v>1</c:v>
                </c:pt>
                <c:pt idx="636">
                  <c:v>1</c:v>
                </c:pt>
                <c:pt idx="637">
                  <c:v>1</c:v>
                </c:pt>
                <c:pt idx="638">
                  <c:v>1</c:v>
                </c:pt>
                <c:pt idx="639">
                  <c:v>1</c:v>
                </c:pt>
                <c:pt idx="640">
                  <c:v>1</c:v>
                </c:pt>
                <c:pt idx="641">
                  <c:v>1</c:v>
                </c:pt>
                <c:pt idx="642">
                  <c:v>1</c:v>
                </c:pt>
                <c:pt idx="643">
                  <c:v>1</c:v>
                </c:pt>
                <c:pt idx="644">
                  <c:v>1</c:v>
                </c:pt>
                <c:pt idx="645">
                  <c:v>1</c:v>
                </c:pt>
                <c:pt idx="646">
                  <c:v>1</c:v>
                </c:pt>
                <c:pt idx="647">
                  <c:v>1</c:v>
                </c:pt>
                <c:pt idx="648">
                  <c:v>1</c:v>
                </c:pt>
                <c:pt idx="649">
                  <c:v>1</c:v>
                </c:pt>
                <c:pt idx="650">
                  <c:v>0.75000000000000122</c:v>
                </c:pt>
                <c:pt idx="651">
                  <c:v>0.75000000000000122</c:v>
                </c:pt>
                <c:pt idx="652">
                  <c:v>0.75000000000000122</c:v>
                </c:pt>
                <c:pt idx="653">
                  <c:v>0.75000000000000122</c:v>
                </c:pt>
                <c:pt idx="654">
                  <c:v>0.75000000000000122</c:v>
                </c:pt>
                <c:pt idx="655">
                  <c:v>0.75000000000000122</c:v>
                </c:pt>
                <c:pt idx="656">
                  <c:v>0.75000000000000122</c:v>
                </c:pt>
                <c:pt idx="657">
                  <c:v>0.75000000000000122</c:v>
                </c:pt>
                <c:pt idx="658">
                  <c:v>0.75000000000000122</c:v>
                </c:pt>
                <c:pt idx="659">
                  <c:v>0.75000000000000122</c:v>
                </c:pt>
                <c:pt idx="660">
                  <c:v>0.75000000000000122</c:v>
                </c:pt>
                <c:pt idx="661">
                  <c:v>0.75000000000000122</c:v>
                </c:pt>
                <c:pt idx="662">
                  <c:v>0.75000000000000122</c:v>
                </c:pt>
                <c:pt idx="663">
                  <c:v>0.75000000000000122</c:v>
                </c:pt>
                <c:pt idx="664">
                  <c:v>0.75000000000000122</c:v>
                </c:pt>
                <c:pt idx="665">
                  <c:v>0.75000000000000122</c:v>
                </c:pt>
                <c:pt idx="666">
                  <c:v>0.75000000000000122</c:v>
                </c:pt>
                <c:pt idx="667">
                  <c:v>0.75000000000000122</c:v>
                </c:pt>
                <c:pt idx="668">
                  <c:v>0.75000000000000122</c:v>
                </c:pt>
                <c:pt idx="669">
                  <c:v>0.75000000000000122</c:v>
                </c:pt>
                <c:pt idx="670">
                  <c:v>0.75000000000000122</c:v>
                </c:pt>
                <c:pt idx="671">
                  <c:v>0.75000000000000122</c:v>
                </c:pt>
                <c:pt idx="672">
                  <c:v>0.75000000000000122</c:v>
                </c:pt>
                <c:pt idx="673">
                  <c:v>0.75000000000000122</c:v>
                </c:pt>
                <c:pt idx="674">
                  <c:v>0.75000000000000122</c:v>
                </c:pt>
                <c:pt idx="675">
                  <c:v>0.75000000000000122</c:v>
                </c:pt>
                <c:pt idx="676">
                  <c:v>0.75000000000000122</c:v>
                </c:pt>
                <c:pt idx="677">
                  <c:v>0.75000000000000122</c:v>
                </c:pt>
                <c:pt idx="678">
                  <c:v>0.75000000000000122</c:v>
                </c:pt>
                <c:pt idx="679">
                  <c:v>0.75000000000000122</c:v>
                </c:pt>
                <c:pt idx="680">
                  <c:v>0.75000000000000122</c:v>
                </c:pt>
                <c:pt idx="681">
                  <c:v>0.75000000000000122</c:v>
                </c:pt>
                <c:pt idx="682">
                  <c:v>0.75000000000000122</c:v>
                </c:pt>
                <c:pt idx="683">
                  <c:v>0.75000000000000122</c:v>
                </c:pt>
                <c:pt idx="684">
                  <c:v>0.75000000000000122</c:v>
                </c:pt>
                <c:pt idx="685">
                  <c:v>0.75000000000000122</c:v>
                </c:pt>
                <c:pt idx="686">
                  <c:v>0.75000000000000122</c:v>
                </c:pt>
                <c:pt idx="687">
                  <c:v>0.75000000000000122</c:v>
                </c:pt>
                <c:pt idx="688">
                  <c:v>0.75000000000000122</c:v>
                </c:pt>
                <c:pt idx="689">
                  <c:v>0.75000000000000122</c:v>
                </c:pt>
                <c:pt idx="690">
                  <c:v>0.75000000000000122</c:v>
                </c:pt>
                <c:pt idx="691">
                  <c:v>0.75000000000000122</c:v>
                </c:pt>
                <c:pt idx="692">
                  <c:v>0.75000000000000122</c:v>
                </c:pt>
                <c:pt idx="693">
                  <c:v>0.75000000000000122</c:v>
                </c:pt>
                <c:pt idx="694">
                  <c:v>0.75000000000000122</c:v>
                </c:pt>
                <c:pt idx="695">
                  <c:v>0.75000000000000122</c:v>
                </c:pt>
                <c:pt idx="696">
                  <c:v>0.75000000000000122</c:v>
                </c:pt>
                <c:pt idx="697">
                  <c:v>0.75000000000000122</c:v>
                </c:pt>
                <c:pt idx="698">
                  <c:v>0.75000000000000122</c:v>
                </c:pt>
                <c:pt idx="699">
                  <c:v>0.75000000000000122</c:v>
                </c:pt>
                <c:pt idx="700">
                  <c:v>0.75000000000000122</c:v>
                </c:pt>
                <c:pt idx="701">
                  <c:v>0.75000000000000122</c:v>
                </c:pt>
                <c:pt idx="702">
                  <c:v>0.75000000000000122</c:v>
                </c:pt>
                <c:pt idx="703">
                  <c:v>0.75000000000000122</c:v>
                </c:pt>
                <c:pt idx="704">
                  <c:v>0.75000000000000122</c:v>
                </c:pt>
                <c:pt idx="705">
                  <c:v>0.75000000000000122</c:v>
                </c:pt>
                <c:pt idx="706">
                  <c:v>0.75000000000000122</c:v>
                </c:pt>
                <c:pt idx="707">
                  <c:v>0.75000000000000122</c:v>
                </c:pt>
                <c:pt idx="708">
                  <c:v>0.75000000000000122</c:v>
                </c:pt>
                <c:pt idx="709">
                  <c:v>0.75000000000000122</c:v>
                </c:pt>
                <c:pt idx="710">
                  <c:v>0.75000000000000122</c:v>
                </c:pt>
                <c:pt idx="711">
                  <c:v>0.75000000000000122</c:v>
                </c:pt>
                <c:pt idx="712">
                  <c:v>0.75000000000000122</c:v>
                </c:pt>
                <c:pt idx="713">
                  <c:v>0.75000000000000122</c:v>
                </c:pt>
                <c:pt idx="714">
                  <c:v>0.75000000000000122</c:v>
                </c:pt>
                <c:pt idx="715">
                  <c:v>0.75000000000000122</c:v>
                </c:pt>
                <c:pt idx="716">
                  <c:v>0.75000000000000122</c:v>
                </c:pt>
                <c:pt idx="717">
                  <c:v>0.75000000000000122</c:v>
                </c:pt>
                <c:pt idx="718">
                  <c:v>0.75000000000000122</c:v>
                </c:pt>
                <c:pt idx="719">
                  <c:v>0.75000000000000122</c:v>
                </c:pt>
                <c:pt idx="720">
                  <c:v>0.75000000000000122</c:v>
                </c:pt>
                <c:pt idx="721">
                  <c:v>0.75000000000000122</c:v>
                </c:pt>
                <c:pt idx="722">
                  <c:v>0.75000000000000122</c:v>
                </c:pt>
                <c:pt idx="723">
                  <c:v>0.75000000000000122</c:v>
                </c:pt>
                <c:pt idx="724">
                  <c:v>0.75000000000000122</c:v>
                </c:pt>
                <c:pt idx="725">
                  <c:v>0.75000000000000122</c:v>
                </c:pt>
                <c:pt idx="726">
                  <c:v>0.75000000000000122</c:v>
                </c:pt>
              </c:numCache>
            </c:numRef>
          </c:val>
          <c:smooth val="0"/>
        </c:ser>
        <c:dLbls>
          <c:showLegendKey val="0"/>
          <c:showVal val="0"/>
          <c:showCatName val="0"/>
          <c:showSerName val="0"/>
          <c:showPercent val="0"/>
          <c:showBubbleSize val="0"/>
        </c:dLbls>
        <c:marker val="1"/>
        <c:smooth val="0"/>
        <c:axId val="129164416"/>
        <c:axId val="129165952"/>
      </c:lineChart>
      <c:lineChart>
        <c:grouping val="standard"/>
        <c:varyColors val="0"/>
        <c:ser>
          <c:idx val="2"/>
          <c:order val="2"/>
          <c:tx>
            <c:strRef>
              <c:f>Sheet8!$D$1</c:f>
              <c:strCache>
                <c:ptCount val="1"/>
                <c:pt idx="0">
                  <c:v>Romania 5Y CDS (USD)</c:v>
                </c:pt>
              </c:strCache>
            </c:strRef>
          </c:tx>
          <c:spPr>
            <a:ln>
              <a:solidFill>
                <a:srgbClr val="FF5200"/>
              </a:solidFill>
            </a:ln>
          </c:spPr>
          <c:marker>
            <c:symbol val="none"/>
          </c:marker>
          <c:cat>
            <c:numRef>
              <c:f>Sheet8!$A$2:$A$728</c:f>
              <c:numCache>
                <c:formatCode>[$-409]mmm\-yy;@</c:formatCode>
                <c:ptCount val="727"/>
                <c:pt idx="0">
                  <c:v>40182</c:v>
                </c:pt>
                <c:pt idx="1">
                  <c:v>40183</c:v>
                </c:pt>
                <c:pt idx="2">
                  <c:v>40184</c:v>
                </c:pt>
                <c:pt idx="3">
                  <c:v>40185</c:v>
                </c:pt>
                <c:pt idx="4">
                  <c:v>40186</c:v>
                </c:pt>
                <c:pt idx="5">
                  <c:v>40189</c:v>
                </c:pt>
                <c:pt idx="6">
                  <c:v>40190</c:v>
                </c:pt>
                <c:pt idx="7">
                  <c:v>40191</c:v>
                </c:pt>
                <c:pt idx="8">
                  <c:v>40192</c:v>
                </c:pt>
                <c:pt idx="9">
                  <c:v>40193</c:v>
                </c:pt>
                <c:pt idx="10">
                  <c:v>40196</c:v>
                </c:pt>
                <c:pt idx="11">
                  <c:v>40197</c:v>
                </c:pt>
                <c:pt idx="12">
                  <c:v>40198</c:v>
                </c:pt>
                <c:pt idx="13">
                  <c:v>40199</c:v>
                </c:pt>
                <c:pt idx="14">
                  <c:v>40200</c:v>
                </c:pt>
                <c:pt idx="15">
                  <c:v>40203</c:v>
                </c:pt>
                <c:pt idx="16">
                  <c:v>40204</c:v>
                </c:pt>
                <c:pt idx="17">
                  <c:v>40205</c:v>
                </c:pt>
                <c:pt idx="18">
                  <c:v>40206</c:v>
                </c:pt>
                <c:pt idx="19">
                  <c:v>40207</c:v>
                </c:pt>
                <c:pt idx="20">
                  <c:v>40210</c:v>
                </c:pt>
                <c:pt idx="21">
                  <c:v>40211</c:v>
                </c:pt>
                <c:pt idx="22">
                  <c:v>40212</c:v>
                </c:pt>
                <c:pt idx="23">
                  <c:v>40213</c:v>
                </c:pt>
                <c:pt idx="24">
                  <c:v>40214</c:v>
                </c:pt>
                <c:pt idx="25">
                  <c:v>40217</c:v>
                </c:pt>
                <c:pt idx="26">
                  <c:v>40218</c:v>
                </c:pt>
                <c:pt idx="27">
                  <c:v>40219</c:v>
                </c:pt>
                <c:pt idx="28">
                  <c:v>40220</c:v>
                </c:pt>
                <c:pt idx="29">
                  <c:v>40221</c:v>
                </c:pt>
                <c:pt idx="30">
                  <c:v>40224</c:v>
                </c:pt>
                <c:pt idx="31">
                  <c:v>40225</c:v>
                </c:pt>
                <c:pt idx="32">
                  <c:v>40226</c:v>
                </c:pt>
                <c:pt idx="33">
                  <c:v>40227</c:v>
                </c:pt>
                <c:pt idx="34">
                  <c:v>40228</c:v>
                </c:pt>
                <c:pt idx="35">
                  <c:v>40231</c:v>
                </c:pt>
                <c:pt idx="36">
                  <c:v>40232</c:v>
                </c:pt>
                <c:pt idx="37">
                  <c:v>40233</c:v>
                </c:pt>
                <c:pt idx="38">
                  <c:v>40234</c:v>
                </c:pt>
                <c:pt idx="39">
                  <c:v>40235</c:v>
                </c:pt>
                <c:pt idx="40">
                  <c:v>40238</c:v>
                </c:pt>
                <c:pt idx="41">
                  <c:v>40239</c:v>
                </c:pt>
                <c:pt idx="42">
                  <c:v>40240</c:v>
                </c:pt>
                <c:pt idx="43">
                  <c:v>40241</c:v>
                </c:pt>
                <c:pt idx="44">
                  <c:v>40242</c:v>
                </c:pt>
                <c:pt idx="45">
                  <c:v>40245</c:v>
                </c:pt>
                <c:pt idx="46">
                  <c:v>40246</c:v>
                </c:pt>
                <c:pt idx="47">
                  <c:v>40247</c:v>
                </c:pt>
                <c:pt idx="48">
                  <c:v>40248</c:v>
                </c:pt>
                <c:pt idx="49">
                  <c:v>40249</c:v>
                </c:pt>
                <c:pt idx="50">
                  <c:v>40252</c:v>
                </c:pt>
                <c:pt idx="51">
                  <c:v>40253</c:v>
                </c:pt>
                <c:pt idx="52">
                  <c:v>40254</c:v>
                </c:pt>
                <c:pt idx="53">
                  <c:v>40255</c:v>
                </c:pt>
                <c:pt idx="54">
                  <c:v>40256</c:v>
                </c:pt>
                <c:pt idx="55">
                  <c:v>40259</c:v>
                </c:pt>
                <c:pt idx="56">
                  <c:v>40260</c:v>
                </c:pt>
                <c:pt idx="57">
                  <c:v>40261</c:v>
                </c:pt>
                <c:pt idx="58">
                  <c:v>40262</c:v>
                </c:pt>
                <c:pt idx="59">
                  <c:v>40263</c:v>
                </c:pt>
                <c:pt idx="60">
                  <c:v>40266</c:v>
                </c:pt>
                <c:pt idx="61">
                  <c:v>40267</c:v>
                </c:pt>
                <c:pt idx="62">
                  <c:v>40268</c:v>
                </c:pt>
                <c:pt idx="63">
                  <c:v>40269</c:v>
                </c:pt>
                <c:pt idx="64">
                  <c:v>40270</c:v>
                </c:pt>
                <c:pt idx="65">
                  <c:v>40273</c:v>
                </c:pt>
                <c:pt idx="66">
                  <c:v>40274</c:v>
                </c:pt>
                <c:pt idx="67">
                  <c:v>40275</c:v>
                </c:pt>
                <c:pt idx="68">
                  <c:v>40276</c:v>
                </c:pt>
                <c:pt idx="69">
                  <c:v>40277</c:v>
                </c:pt>
                <c:pt idx="70">
                  <c:v>40280</c:v>
                </c:pt>
                <c:pt idx="71">
                  <c:v>40281</c:v>
                </c:pt>
                <c:pt idx="72">
                  <c:v>40282</c:v>
                </c:pt>
                <c:pt idx="73">
                  <c:v>40283</c:v>
                </c:pt>
                <c:pt idx="74">
                  <c:v>40284</c:v>
                </c:pt>
                <c:pt idx="75">
                  <c:v>40287</c:v>
                </c:pt>
                <c:pt idx="76">
                  <c:v>40288</c:v>
                </c:pt>
                <c:pt idx="77">
                  <c:v>40289</c:v>
                </c:pt>
                <c:pt idx="78">
                  <c:v>40290</c:v>
                </c:pt>
                <c:pt idx="79">
                  <c:v>40291</c:v>
                </c:pt>
                <c:pt idx="80">
                  <c:v>40294</c:v>
                </c:pt>
                <c:pt idx="81">
                  <c:v>40295</c:v>
                </c:pt>
                <c:pt idx="82">
                  <c:v>40296</c:v>
                </c:pt>
                <c:pt idx="83">
                  <c:v>40297</c:v>
                </c:pt>
                <c:pt idx="84">
                  <c:v>40298</c:v>
                </c:pt>
                <c:pt idx="85">
                  <c:v>40301</c:v>
                </c:pt>
                <c:pt idx="86">
                  <c:v>40302</c:v>
                </c:pt>
                <c:pt idx="87">
                  <c:v>40303</c:v>
                </c:pt>
                <c:pt idx="88">
                  <c:v>40304</c:v>
                </c:pt>
                <c:pt idx="89">
                  <c:v>40305</c:v>
                </c:pt>
                <c:pt idx="90">
                  <c:v>40308</c:v>
                </c:pt>
                <c:pt idx="91">
                  <c:v>40309</c:v>
                </c:pt>
                <c:pt idx="92">
                  <c:v>40310</c:v>
                </c:pt>
                <c:pt idx="93">
                  <c:v>40311</c:v>
                </c:pt>
                <c:pt idx="94">
                  <c:v>40312</c:v>
                </c:pt>
                <c:pt idx="95">
                  <c:v>40315</c:v>
                </c:pt>
                <c:pt idx="96">
                  <c:v>40316</c:v>
                </c:pt>
                <c:pt idx="97">
                  <c:v>40317</c:v>
                </c:pt>
                <c:pt idx="98">
                  <c:v>40318</c:v>
                </c:pt>
                <c:pt idx="99">
                  <c:v>40319</c:v>
                </c:pt>
                <c:pt idx="100">
                  <c:v>40322</c:v>
                </c:pt>
                <c:pt idx="101">
                  <c:v>40323</c:v>
                </c:pt>
                <c:pt idx="102">
                  <c:v>40324</c:v>
                </c:pt>
                <c:pt idx="103">
                  <c:v>40325</c:v>
                </c:pt>
                <c:pt idx="104">
                  <c:v>40326</c:v>
                </c:pt>
                <c:pt idx="105">
                  <c:v>40329</c:v>
                </c:pt>
                <c:pt idx="106">
                  <c:v>40330</c:v>
                </c:pt>
                <c:pt idx="107">
                  <c:v>40331</c:v>
                </c:pt>
                <c:pt idx="108">
                  <c:v>40332</c:v>
                </c:pt>
                <c:pt idx="109">
                  <c:v>40333</c:v>
                </c:pt>
                <c:pt idx="110">
                  <c:v>40336</c:v>
                </c:pt>
                <c:pt idx="111">
                  <c:v>40337</c:v>
                </c:pt>
                <c:pt idx="112">
                  <c:v>40338</c:v>
                </c:pt>
                <c:pt idx="113">
                  <c:v>40339</c:v>
                </c:pt>
                <c:pt idx="114">
                  <c:v>40340</c:v>
                </c:pt>
                <c:pt idx="115">
                  <c:v>40343</c:v>
                </c:pt>
                <c:pt idx="116">
                  <c:v>40344</c:v>
                </c:pt>
                <c:pt idx="117">
                  <c:v>40345</c:v>
                </c:pt>
                <c:pt idx="118">
                  <c:v>40346</c:v>
                </c:pt>
                <c:pt idx="119">
                  <c:v>40347</c:v>
                </c:pt>
                <c:pt idx="120">
                  <c:v>40350</c:v>
                </c:pt>
                <c:pt idx="121">
                  <c:v>40351</c:v>
                </c:pt>
                <c:pt idx="122">
                  <c:v>40352</c:v>
                </c:pt>
                <c:pt idx="123">
                  <c:v>40353</c:v>
                </c:pt>
                <c:pt idx="124">
                  <c:v>40354</c:v>
                </c:pt>
                <c:pt idx="125">
                  <c:v>40357</c:v>
                </c:pt>
                <c:pt idx="126">
                  <c:v>40358</c:v>
                </c:pt>
                <c:pt idx="127">
                  <c:v>40359</c:v>
                </c:pt>
                <c:pt idx="128">
                  <c:v>40360</c:v>
                </c:pt>
                <c:pt idx="129">
                  <c:v>40361</c:v>
                </c:pt>
                <c:pt idx="130">
                  <c:v>40364</c:v>
                </c:pt>
                <c:pt idx="131">
                  <c:v>40365</c:v>
                </c:pt>
                <c:pt idx="132">
                  <c:v>40366</c:v>
                </c:pt>
                <c:pt idx="133">
                  <c:v>40367</c:v>
                </c:pt>
                <c:pt idx="134">
                  <c:v>40368</c:v>
                </c:pt>
                <c:pt idx="135">
                  <c:v>40371</c:v>
                </c:pt>
                <c:pt idx="136">
                  <c:v>40372</c:v>
                </c:pt>
                <c:pt idx="137">
                  <c:v>40373</c:v>
                </c:pt>
                <c:pt idx="138">
                  <c:v>40374</c:v>
                </c:pt>
                <c:pt idx="139">
                  <c:v>40375</c:v>
                </c:pt>
                <c:pt idx="140">
                  <c:v>40378</c:v>
                </c:pt>
                <c:pt idx="141">
                  <c:v>40379</c:v>
                </c:pt>
                <c:pt idx="142">
                  <c:v>40380</c:v>
                </c:pt>
                <c:pt idx="143">
                  <c:v>40381</c:v>
                </c:pt>
                <c:pt idx="144">
                  <c:v>40382</c:v>
                </c:pt>
                <c:pt idx="145">
                  <c:v>40385</c:v>
                </c:pt>
                <c:pt idx="146">
                  <c:v>40386</c:v>
                </c:pt>
                <c:pt idx="147">
                  <c:v>40387</c:v>
                </c:pt>
                <c:pt idx="148">
                  <c:v>40388</c:v>
                </c:pt>
                <c:pt idx="149">
                  <c:v>40389</c:v>
                </c:pt>
                <c:pt idx="150">
                  <c:v>40392</c:v>
                </c:pt>
                <c:pt idx="151">
                  <c:v>40393</c:v>
                </c:pt>
                <c:pt idx="152">
                  <c:v>40394</c:v>
                </c:pt>
                <c:pt idx="153">
                  <c:v>40395</c:v>
                </c:pt>
                <c:pt idx="154">
                  <c:v>40396</c:v>
                </c:pt>
                <c:pt idx="155">
                  <c:v>40399</c:v>
                </c:pt>
                <c:pt idx="156">
                  <c:v>40400</c:v>
                </c:pt>
                <c:pt idx="157">
                  <c:v>40401</c:v>
                </c:pt>
                <c:pt idx="158">
                  <c:v>40402</c:v>
                </c:pt>
                <c:pt idx="159">
                  <c:v>40403</c:v>
                </c:pt>
                <c:pt idx="160">
                  <c:v>40406</c:v>
                </c:pt>
                <c:pt idx="161">
                  <c:v>40407</c:v>
                </c:pt>
                <c:pt idx="162">
                  <c:v>40408</c:v>
                </c:pt>
                <c:pt idx="163">
                  <c:v>40409</c:v>
                </c:pt>
                <c:pt idx="164">
                  <c:v>40410</c:v>
                </c:pt>
                <c:pt idx="165">
                  <c:v>40413</c:v>
                </c:pt>
                <c:pt idx="166">
                  <c:v>40414</c:v>
                </c:pt>
                <c:pt idx="167">
                  <c:v>40415</c:v>
                </c:pt>
                <c:pt idx="168">
                  <c:v>40416</c:v>
                </c:pt>
                <c:pt idx="169">
                  <c:v>40417</c:v>
                </c:pt>
                <c:pt idx="170">
                  <c:v>40420</c:v>
                </c:pt>
                <c:pt idx="171">
                  <c:v>40421</c:v>
                </c:pt>
                <c:pt idx="172">
                  <c:v>40422</c:v>
                </c:pt>
                <c:pt idx="173">
                  <c:v>40423</c:v>
                </c:pt>
                <c:pt idx="174">
                  <c:v>40424</c:v>
                </c:pt>
                <c:pt idx="175">
                  <c:v>40427</c:v>
                </c:pt>
                <c:pt idx="176">
                  <c:v>40428</c:v>
                </c:pt>
                <c:pt idx="177">
                  <c:v>40429</c:v>
                </c:pt>
                <c:pt idx="178">
                  <c:v>40430</c:v>
                </c:pt>
                <c:pt idx="179">
                  <c:v>40431</c:v>
                </c:pt>
                <c:pt idx="180">
                  <c:v>40434</c:v>
                </c:pt>
                <c:pt idx="181">
                  <c:v>40435</c:v>
                </c:pt>
                <c:pt idx="182">
                  <c:v>40436</c:v>
                </c:pt>
                <c:pt idx="183">
                  <c:v>40437</c:v>
                </c:pt>
                <c:pt idx="184">
                  <c:v>40438</c:v>
                </c:pt>
                <c:pt idx="185">
                  <c:v>40441</c:v>
                </c:pt>
                <c:pt idx="186">
                  <c:v>40442</c:v>
                </c:pt>
                <c:pt idx="187">
                  <c:v>40443</c:v>
                </c:pt>
                <c:pt idx="188">
                  <c:v>40444</c:v>
                </c:pt>
                <c:pt idx="189">
                  <c:v>40445</c:v>
                </c:pt>
                <c:pt idx="190">
                  <c:v>40448</c:v>
                </c:pt>
                <c:pt idx="191">
                  <c:v>40449</c:v>
                </c:pt>
                <c:pt idx="192">
                  <c:v>40450</c:v>
                </c:pt>
                <c:pt idx="193">
                  <c:v>40451</c:v>
                </c:pt>
                <c:pt idx="194">
                  <c:v>40452</c:v>
                </c:pt>
                <c:pt idx="195">
                  <c:v>40455</c:v>
                </c:pt>
                <c:pt idx="196">
                  <c:v>40456</c:v>
                </c:pt>
                <c:pt idx="197">
                  <c:v>40457</c:v>
                </c:pt>
                <c:pt idx="198">
                  <c:v>40458</c:v>
                </c:pt>
                <c:pt idx="199">
                  <c:v>40459</c:v>
                </c:pt>
                <c:pt idx="200">
                  <c:v>40462</c:v>
                </c:pt>
                <c:pt idx="201">
                  <c:v>40463</c:v>
                </c:pt>
                <c:pt idx="202">
                  <c:v>40464</c:v>
                </c:pt>
                <c:pt idx="203">
                  <c:v>40465</c:v>
                </c:pt>
                <c:pt idx="204">
                  <c:v>40466</c:v>
                </c:pt>
                <c:pt idx="205">
                  <c:v>40469</c:v>
                </c:pt>
                <c:pt idx="206">
                  <c:v>40470</c:v>
                </c:pt>
                <c:pt idx="207">
                  <c:v>40471</c:v>
                </c:pt>
                <c:pt idx="208">
                  <c:v>40472</c:v>
                </c:pt>
                <c:pt idx="209">
                  <c:v>40473</c:v>
                </c:pt>
                <c:pt idx="210">
                  <c:v>40476</c:v>
                </c:pt>
                <c:pt idx="211">
                  <c:v>40477</c:v>
                </c:pt>
                <c:pt idx="212">
                  <c:v>40478</c:v>
                </c:pt>
                <c:pt idx="213">
                  <c:v>40479</c:v>
                </c:pt>
                <c:pt idx="214">
                  <c:v>40480</c:v>
                </c:pt>
                <c:pt idx="215">
                  <c:v>40483</c:v>
                </c:pt>
                <c:pt idx="216">
                  <c:v>40484</c:v>
                </c:pt>
                <c:pt idx="217">
                  <c:v>40485</c:v>
                </c:pt>
                <c:pt idx="218">
                  <c:v>40486</c:v>
                </c:pt>
                <c:pt idx="219">
                  <c:v>40487</c:v>
                </c:pt>
                <c:pt idx="220">
                  <c:v>40490</c:v>
                </c:pt>
                <c:pt idx="221">
                  <c:v>40491</c:v>
                </c:pt>
                <c:pt idx="222">
                  <c:v>40492</c:v>
                </c:pt>
                <c:pt idx="223">
                  <c:v>40493</c:v>
                </c:pt>
                <c:pt idx="224">
                  <c:v>40494</c:v>
                </c:pt>
                <c:pt idx="225">
                  <c:v>40497</c:v>
                </c:pt>
                <c:pt idx="226">
                  <c:v>40498</c:v>
                </c:pt>
                <c:pt idx="227">
                  <c:v>40499</c:v>
                </c:pt>
                <c:pt idx="228">
                  <c:v>40500</c:v>
                </c:pt>
                <c:pt idx="229">
                  <c:v>40501</c:v>
                </c:pt>
                <c:pt idx="230">
                  <c:v>40504</c:v>
                </c:pt>
                <c:pt idx="231">
                  <c:v>40505</c:v>
                </c:pt>
                <c:pt idx="232">
                  <c:v>40506</c:v>
                </c:pt>
                <c:pt idx="233">
                  <c:v>40507</c:v>
                </c:pt>
                <c:pt idx="234">
                  <c:v>40508</c:v>
                </c:pt>
                <c:pt idx="235">
                  <c:v>40511</c:v>
                </c:pt>
                <c:pt idx="236">
                  <c:v>40512</c:v>
                </c:pt>
                <c:pt idx="237">
                  <c:v>40513</c:v>
                </c:pt>
                <c:pt idx="238">
                  <c:v>40514</c:v>
                </c:pt>
                <c:pt idx="239">
                  <c:v>40515</c:v>
                </c:pt>
                <c:pt idx="240">
                  <c:v>40518</c:v>
                </c:pt>
                <c:pt idx="241">
                  <c:v>40519</c:v>
                </c:pt>
                <c:pt idx="242">
                  <c:v>40520</c:v>
                </c:pt>
                <c:pt idx="243">
                  <c:v>40521</c:v>
                </c:pt>
                <c:pt idx="244">
                  <c:v>40522</c:v>
                </c:pt>
                <c:pt idx="245">
                  <c:v>40525</c:v>
                </c:pt>
                <c:pt idx="246">
                  <c:v>40526</c:v>
                </c:pt>
                <c:pt idx="247">
                  <c:v>40527</c:v>
                </c:pt>
                <c:pt idx="248">
                  <c:v>40528</c:v>
                </c:pt>
                <c:pt idx="249">
                  <c:v>40529</c:v>
                </c:pt>
                <c:pt idx="250">
                  <c:v>40532</c:v>
                </c:pt>
                <c:pt idx="251">
                  <c:v>40533</c:v>
                </c:pt>
                <c:pt idx="252">
                  <c:v>40534</c:v>
                </c:pt>
                <c:pt idx="253">
                  <c:v>40535</c:v>
                </c:pt>
                <c:pt idx="254">
                  <c:v>40536</c:v>
                </c:pt>
                <c:pt idx="255">
                  <c:v>40539</c:v>
                </c:pt>
                <c:pt idx="256">
                  <c:v>40540</c:v>
                </c:pt>
                <c:pt idx="257">
                  <c:v>40541</c:v>
                </c:pt>
                <c:pt idx="258">
                  <c:v>40542</c:v>
                </c:pt>
                <c:pt idx="259">
                  <c:v>40543</c:v>
                </c:pt>
                <c:pt idx="260">
                  <c:v>40546</c:v>
                </c:pt>
                <c:pt idx="261">
                  <c:v>40547</c:v>
                </c:pt>
                <c:pt idx="262">
                  <c:v>40548</c:v>
                </c:pt>
                <c:pt idx="263">
                  <c:v>40549</c:v>
                </c:pt>
                <c:pt idx="264">
                  <c:v>40550</c:v>
                </c:pt>
                <c:pt idx="265">
                  <c:v>40553</c:v>
                </c:pt>
                <c:pt idx="266">
                  <c:v>40554</c:v>
                </c:pt>
                <c:pt idx="267">
                  <c:v>40555</c:v>
                </c:pt>
                <c:pt idx="268">
                  <c:v>40556</c:v>
                </c:pt>
                <c:pt idx="269">
                  <c:v>40557</c:v>
                </c:pt>
                <c:pt idx="270">
                  <c:v>40560</c:v>
                </c:pt>
                <c:pt idx="271">
                  <c:v>40561</c:v>
                </c:pt>
                <c:pt idx="272">
                  <c:v>40562</c:v>
                </c:pt>
                <c:pt idx="273">
                  <c:v>40563</c:v>
                </c:pt>
                <c:pt idx="274">
                  <c:v>40564</c:v>
                </c:pt>
                <c:pt idx="275">
                  <c:v>40567</c:v>
                </c:pt>
                <c:pt idx="276">
                  <c:v>40568</c:v>
                </c:pt>
                <c:pt idx="277">
                  <c:v>40569</c:v>
                </c:pt>
                <c:pt idx="278">
                  <c:v>40570</c:v>
                </c:pt>
                <c:pt idx="279">
                  <c:v>40571</c:v>
                </c:pt>
                <c:pt idx="280">
                  <c:v>40574</c:v>
                </c:pt>
                <c:pt idx="281">
                  <c:v>40575</c:v>
                </c:pt>
                <c:pt idx="282">
                  <c:v>40576</c:v>
                </c:pt>
                <c:pt idx="283">
                  <c:v>40577</c:v>
                </c:pt>
                <c:pt idx="284">
                  <c:v>40578</c:v>
                </c:pt>
                <c:pt idx="285">
                  <c:v>40581</c:v>
                </c:pt>
                <c:pt idx="286">
                  <c:v>40582</c:v>
                </c:pt>
                <c:pt idx="287">
                  <c:v>40583</c:v>
                </c:pt>
                <c:pt idx="288">
                  <c:v>40584</c:v>
                </c:pt>
                <c:pt idx="289">
                  <c:v>40585</c:v>
                </c:pt>
                <c:pt idx="290">
                  <c:v>40588</c:v>
                </c:pt>
                <c:pt idx="291">
                  <c:v>40589</c:v>
                </c:pt>
                <c:pt idx="292">
                  <c:v>40590</c:v>
                </c:pt>
                <c:pt idx="293">
                  <c:v>40591</c:v>
                </c:pt>
                <c:pt idx="294">
                  <c:v>40592</c:v>
                </c:pt>
                <c:pt idx="295">
                  <c:v>40595</c:v>
                </c:pt>
                <c:pt idx="296">
                  <c:v>40596</c:v>
                </c:pt>
                <c:pt idx="297">
                  <c:v>40597</c:v>
                </c:pt>
                <c:pt idx="298">
                  <c:v>40598</c:v>
                </c:pt>
                <c:pt idx="299">
                  <c:v>40599</c:v>
                </c:pt>
                <c:pt idx="300">
                  <c:v>40602</c:v>
                </c:pt>
                <c:pt idx="301">
                  <c:v>40603</c:v>
                </c:pt>
                <c:pt idx="302">
                  <c:v>40604</c:v>
                </c:pt>
                <c:pt idx="303">
                  <c:v>40605</c:v>
                </c:pt>
                <c:pt idx="304">
                  <c:v>40606</c:v>
                </c:pt>
                <c:pt idx="305">
                  <c:v>40609</c:v>
                </c:pt>
                <c:pt idx="306">
                  <c:v>40610</c:v>
                </c:pt>
                <c:pt idx="307">
                  <c:v>40611</c:v>
                </c:pt>
                <c:pt idx="308">
                  <c:v>40612</c:v>
                </c:pt>
                <c:pt idx="309">
                  <c:v>40613</c:v>
                </c:pt>
                <c:pt idx="310">
                  <c:v>40616</c:v>
                </c:pt>
                <c:pt idx="311">
                  <c:v>40617</c:v>
                </c:pt>
                <c:pt idx="312">
                  <c:v>40618</c:v>
                </c:pt>
                <c:pt idx="313">
                  <c:v>40619</c:v>
                </c:pt>
                <c:pt idx="314">
                  <c:v>40620</c:v>
                </c:pt>
                <c:pt idx="315">
                  <c:v>40623</c:v>
                </c:pt>
                <c:pt idx="316">
                  <c:v>40624</c:v>
                </c:pt>
                <c:pt idx="317">
                  <c:v>40625</c:v>
                </c:pt>
                <c:pt idx="318">
                  <c:v>40626</c:v>
                </c:pt>
                <c:pt idx="319">
                  <c:v>40627</c:v>
                </c:pt>
                <c:pt idx="320">
                  <c:v>40630</c:v>
                </c:pt>
                <c:pt idx="321">
                  <c:v>40631</c:v>
                </c:pt>
                <c:pt idx="322">
                  <c:v>40632</c:v>
                </c:pt>
                <c:pt idx="323">
                  <c:v>40633</c:v>
                </c:pt>
                <c:pt idx="324">
                  <c:v>40634</c:v>
                </c:pt>
                <c:pt idx="325">
                  <c:v>40637</c:v>
                </c:pt>
                <c:pt idx="326">
                  <c:v>40638</c:v>
                </c:pt>
                <c:pt idx="327">
                  <c:v>40639</c:v>
                </c:pt>
                <c:pt idx="328">
                  <c:v>40640</c:v>
                </c:pt>
                <c:pt idx="329">
                  <c:v>40641</c:v>
                </c:pt>
                <c:pt idx="330">
                  <c:v>40644</c:v>
                </c:pt>
                <c:pt idx="331">
                  <c:v>40645</c:v>
                </c:pt>
                <c:pt idx="332">
                  <c:v>40646</c:v>
                </c:pt>
                <c:pt idx="333">
                  <c:v>40647</c:v>
                </c:pt>
                <c:pt idx="334">
                  <c:v>40648</c:v>
                </c:pt>
                <c:pt idx="335">
                  <c:v>40651</c:v>
                </c:pt>
                <c:pt idx="336">
                  <c:v>40652</c:v>
                </c:pt>
                <c:pt idx="337">
                  <c:v>40653</c:v>
                </c:pt>
                <c:pt idx="338">
                  <c:v>40654</c:v>
                </c:pt>
                <c:pt idx="339">
                  <c:v>40655</c:v>
                </c:pt>
                <c:pt idx="340">
                  <c:v>40658</c:v>
                </c:pt>
                <c:pt idx="341">
                  <c:v>40659</c:v>
                </c:pt>
                <c:pt idx="342">
                  <c:v>40660</c:v>
                </c:pt>
                <c:pt idx="343">
                  <c:v>40661</c:v>
                </c:pt>
                <c:pt idx="344">
                  <c:v>40662</c:v>
                </c:pt>
                <c:pt idx="345">
                  <c:v>40665</c:v>
                </c:pt>
                <c:pt idx="346">
                  <c:v>40666</c:v>
                </c:pt>
                <c:pt idx="347">
                  <c:v>40667</c:v>
                </c:pt>
                <c:pt idx="348">
                  <c:v>40668</c:v>
                </c:pt>
                <c:pt idx="349">
                  <c:v>40669</c:v>
                </c:pt>
                <c:pt idx="350">
                  <c:v>40672</c:v>
                </c:pt>
                <c:pt idx="351">
                  <c:v>40673</c:v>
                </c:pt>
                <c:pt idx="352">
                  <c:v>40674</c:v>
                </c:pt>
                <c:pt idx="353">
                  <c:v>40675</c:v>
                </c:pt>
                <c:pt idx="354">
                  <c:v>40676</c:v>
                </c:pt>
                <c:pt idx="355">
                  <c:v>40679</c:v>
                </c:pt>
                <c:pt idx="356">
                  <c:v>40680</c:v>
                </c:pt>
                <c:pt idx="357">
                  <c:v>40681</c:v>
                </c:pt>
                <c:pt idx="358">
                  <c:v>40682</c:v>
                </c:pt>
                <c:pt idx="359">
                  <c:v>40683</c:v>
                </c:pt>
                <c:pt idx="360">
                  <c:v>40686</c:v>
                </c:pt>
                <c:pt idx="361">
                  <c:v>40687</c:v>
                </c:pt>
                <c:pt idx="362">
                  <c:v>40688</c:v>
                </c:pt>
                <c:pt idx="363">
                  <c:v>40689</c:v>
                </c:pt>
                <c:pt idx="364">
                  <c:v>40690</c:v>
                </c:pt>
                <c:pt idx="365">
                  <c:v>40693</c:v>
                </c:pt>
                <c:pt idx="366">
                  <c:v>40694</c:v>
                </c:pt>
                <c:pt idx="367">
                  <c:v>40695</c:v>
                </c:pt>
                <c:pt idx="368">
                  <c:v>40696</c:v>
                </c:pt>
                <c:pt idx="369">
                  <c:v>40697</c:v>
                </c:pt>
                <c:pt idx="370">
                  <c:v>40700</c:v>
                </c:pt>
                <c:pt idx="371">
                  <c:v>40701</c:v>
                </c:pt>
                <c:pt idx="372">
                  <c:v>40702</c:v>
                </c:pt>
                <c:pt idx="373">
                  <c:v>40703</c:v>
                </c:pt>
                <c:pt idx="374">
                  <c:v>40704</c:v>
                </c:pt>
                <c:pt idx="375">
                  <c:v>40707</c:v>
                </c:pt>
                <c:pt idx="376">
                  <c:v>40708</c:v>
                </c:pt>
                <c:pt idx="377">
                  <c:v>40709</c:v>
                </c:pt>
                <c:pt idx="378">
                  <c:v>40710</c:v>
                </c:pt>
                <c:pt idx="379">
                  <c:v>40711</c:v>
                </c:pt>
                <c:pt idx="380">
                  <c:v>40714</c:v>
                </c:pt>
                <c:pt idx="381">
                  <c:v>40715</c:v>
                </c:pt>
                <c:pt idx="382">
                  <c:v>40716</c:v>
                </c:pt>
                <c:pt idx="383">
                  <c:v>40717</c:v>
                </c:pt>
                <c:pt idx="384">
                  <c:v>40718</c:v>
                </c:pt>
                <c:pt idx="385">
                  <c:v>40721</c:v>
                </c:pt>
                <c:pt idx="386">
                  <c:v>40722</c:v>
                </c:pt>
                <c:pt idx="387">
                  <c:v>40723</c:v>
                </c:pt>
                <c:pt idx="388">
                  <c:v>40724</c:v>
                </c:pt>
                <c:pt idx="389">
                  <c:v>40725</c:v>
                </c:pt>
                <c:pt idx="390">
                  <c:v>40728</c:v>
                </c:pt>
                <c:pt idx="391">
                  <c:v>40729</c:v>
                </c:pt>
                <c:pt idx="392">
                  <c:v>40730</c:v>
                </c:pt>
                <c:pt idx="393">
                  <c:v>40731</c:v>
                </c:pt>
                <c:pt idx="394">
                  <c:v>40732</c:v>
                </c:pt>
                <c:pt idx="395">
                  <c:v>40735</c:v>
                </c:pt>
                <c:pt idx="396">
                  <c:v>40736</c:v>
                </c:pt>
                <c:pt idx="397">
                  <c:v>40737</c:v>
                </c:pt>
                <c:pt idx="398">
                  <c:v>40738</c:v>
                </c:pt>
                <c:pt idx="399">
                  <c:v>40739</c:v>
                </c:pt>
                <c:pt idx="400">
                  <c:v>40742</c:v>
                </c:pt>
                <c:pt idx="401">
                  <c:v>40743</c:v>
                </c:pt>
                <c:pt idx="402">
                  <c:v>40744</c:v>
                </c:pt>
                <c:pt idx="403">
                  <c:v>40745</c:v>
                </c:pt>
                <c:pt idx="404">
                  <c:v>40746</c:v>
                </c:pt>
                <c:pt idx="405">
                  <c:v>40749</c:v>
                </c:pt>
                <c:pt idx="406">
                  <c:v>40750</c:v>
                </c:pt>
                <c:pt idx="407">
                  <c:v>40751</c:v>
                </c:pt>
                <c:pt idx="408">
                  <c:v>40752</c:v>
                </c:pt>
                <c:pt idx="409">
                  <c:v>40753</c:v>
                </c:pt>
                <c:pt idx="410">
                  <c:v>40756</c:v>
                </c:pt>
                <c:pt idx="411">
                  <c:v>40757</c:v>
                </c:pt>
                <c:pt idx="412">
                  <c:v>40758</c:v>
                </c:pt>
                <c:pt idx="413">
                  <c:v>40759</c:v>
                </c:pt>
                <c:pt idx="414">
                  <c:v>40760</c:v>
                </c:pt>
                <c:pt idx="415">
                  <c:v>40763</c:v>
                </c:pt>
                <c:pt idx="416">
                  <c:v>40764</c:v>
                </c:pt>
                <c:pt idx="417">
                  <c:v>40765</c:v>
                </c:pt>
                <c:pt idx="418">
                  <c:v>40766</c:v>
                </c:pt>
                <c:pt idx="419">
                  <c:v>40767</c:v>
                </c:pt>
                <c:pt idx="420">
                  <c:v>40770</c:v>
                </c:pt>
                <c:pt idx="421">
                  <c:v>40771</c:v>
                </c:pt>
                <c:pt idx="422">
                  <c:v>40772</c:v>
                </c:pt>
                <c:pt idx="423">
                  <c:v>40773</c:v>
                </c:pt>
                <c:pt idx="424">
                  <c:v>40774</c:v>
                </c:pt>
                <c:pt idx="425">
                  <c:v>40777</c:v>
                </c:pt>
                <c:pt idx="426">
                  <c:v>40778</c:v>
                </c:pt>
                <c:pt idx="427">
                  <c:v>40779</c:v>
                </c:pt>
                <c:pt idx="428">
                  <c:v>40780</c:v>
                </c:pt>
                <c:pt idx="429">
                  <c:v>40781</c:v>
                </c:pt>
                <c:pt idx="430">
                  <c:v>40784</c:v>
                </c:pt>
                <c:pt idx="431">
                  <c:v>40785</c:v>
                </c:pt>
                <c:pt idx="432">
                  <c:v>40786</c:v>
                </c:pt>
                <c:pt idx="433">
                  <c:v>40787</c:v>
                </c:pt>
                <c:pt idx="434">
                  <c:v>40788</c:v>
                </c:pt>
                <c:pt idx="435">
                  <c:v>40791</c:v>
                </c:pt>
                <c:pt idx="436">
                  <c:v>40792</c:v>
                </c:pt>
                <c:pt idx="437">
                  <c:v>40793</c:v>
                </c:pt>
                <c:pt idx="438">
                  <c:v>40794</c:v>
                </c:pt>
                <c:pt idx="439">
                  <c:v>40795</c:v>
                </c:pt>
                <c:pt idx="440">
                  <c:v>40798</c:v>
                </c:pt>
                <c:pt idx="441">
                  <c:v>40799</c:v>
                </c:pt>
                <c:pt idx="442">
                  <c:v>40800</c:v>
                </c:pt>
                <c:pt idx="443">
                  <c:v>40801</c:v>
                </c:pt>
                <c:pt idx="444">
                  <c:v>40802</c:v>
                </c:pt>
                <c:pt idx="445">
                  <c:v>40805</c:v>
                </c:pt>
                <c:pt idx="446">
                  <c:v>40806</c:v>
                </c:pt>
                <c:pt idx="447">
                  <c:v>40807</c:v>
                </c:pt>
                <c:pt idx="448">
                  <c:v>40808</c:v>
                </c:pt>
                <c:pt idx="449">
                  <c:v>40809</c:v>
                </c:pt>
                <c:pt idx="450">
                  <c:v>40812</c:v>
                </c:pt>
                <c:pt idx="451">
                  <c:v>40813</c:v>
                </c:pt>
                <c:pt idx="452">
                  <c:v>40814</c:v>
                </c:pt>
                <c:pt idx="453">
                  <c:v>40815</c:v>
                </c:pt>
                <c:pt idx="454">
                  <c:v>40816</c:v>
                </c:pt>
                <c:pt idx="455">
                  <c:v>40819</c:v>
                </c:pt>
                <c:pt idx="456">
                  <c:v>40820</c:v>
                </c:pt>
                <c:pt idx="457">
                  <c:v>40821</c:v>
                </c:pt>
                <c:pt idx="458">
                  <c:v>40822</c:v>
                </c:pt>
                <c:pt idx="459">
                  <c:v>40823</c:v>
                </c:pt>
                <c:pt idx="460">
                  <c:v>40826</c:v>
                </c:pt>
                <c:pt idx="461">
                  <c:v>40827</c:v>
                </c:pt>
                <c:pt idx="462">
                  <c:v>40828</c:v>
                </c:pt>
                <c:pt idx="463">
                  <c:v>40829</c:v>
                </c:pt>
                <c:pt idx="464">
                  <c:v>40830</c:v>
                </c:pt>
                <c:pt idx="465">
                  <c:v>40833</c:v>
                </c:pt>
                <c:pt idx="466">
                  <c:v>40834</c:v>
                </c:pt>
                <c:pt idx="467">
                  <c:v>40835</c:v>
                </c:pt>
                <c:pt idx="468">
                  <c:v>40836</c:v>
                </c:pt>
                <c:pt idx="469">
                  <c:v>40837</c:v>
                </c:pt>
                <c:pt idx="470">
                  <c:v>40840</c:v>
                </c:pt>
                <c:pt idx="471">
                  <c:v>40841</c:v>
                </c:pt>
                <c:pt idx="472">
                  <c:v>40842</c:v>
                </c:pt>
                <c:pt idx="473">
                  <c:v>40843</c:v>
                </c:pt>
                <c:pt idx="474">
                  <c:v>40844</c:v>
                </c:pt>
                <c:pt idx="475">
                  <c:v>40847</c:v>
                </c:pt>
                <c:pt idx="476">
                  <c:v>40848</c:v>
                </c:pt>
                <c:pt idx="477">
                  <c:v>40849</c:v>
                </c:pt>
                <c:pt idx="478">
                  <c:v>40850</c:v>
                </c:pt>
                <c:pt idx="479">
                  <c:v>40851</c:v>
                </c:pt>
                <c:pt idx="480">
                  <c:v>40854</c:v>
                </c:pt>
                <c:pt idx="481">
                  <c:v>40855</c:v>
                </c:pt>
                <c:pt idx="482">
                  <c:v>40856</c:v>
                </c:pt>
                <c:pt idx="483">
                  <c:v>40857</c:v>
                </c:pt>
                <c:pt idx="484">
                  <c:v>40858</c:v>
                </c:pt>
                <c:pt idx="485">
                  <c:v>40861</c:v>
                </c:pt>
                <c:pt idx="486">
                  <c:v>40862</c:v>
                </c:pt>
                <c:pt idx="487">
                  <c:v>40863</c:v>
                </c:pt>
                <c:pt idx="488">
                  <c:v>40864</c:v>
                </c:pt>
                <c:pt idx="489">
                  <c:v>40865</c:v>
                </c:pt>
                <c:pt idx="490">
                  <c:v>40868</c:v>
                </c:pt>
                <c:pt idx="491">
                  <c:v>40869</c:v>
                </c:pt>
                <c:pt idx="492">
                  <c:v>40870</c:v>
                </c:pt>
                <c:pt idx="493">
                  <c:v>40871</c:v>
                </c:pt>
                <c:pt idx="494">
                  <c:v>40872</c:v>
                </c:pt>
                <c:pt idx="495">
                  <c:v>40875</c:v>
                </c:pt>
                <c:pt idx="496">
                  <c:v>40876</c:v>
                </c:pt>
                <c:pt idx="497">
                  <c:v>40877</c:v>
                </c:pt>
                <c:pt idx="498">
                  <c:v>40878</c:v>
                </c:pt>
                <c:pt idx="499">
                  <c:v>40879</c:v>
                </c:pt>
                <c:pt idx="500">
                  <c:v>40882</c:v>
                </c:pt>
                <c:pt idx="501">
                  <c:v>40883</c:v>
                </c:pt>
                <c:pt idx="502">
                  <c:v>40884</c:v>
                </c:pt>
                <c:pt idx="503">
                  <c:v>40885</c:v>
                </c:pt>
                <c:pt idx="504">
                  <c:v>40886</c:v>
                </c:pt>
                <c:pt idx="505">
                  <c:v>40889</c:v>
                </c:pt>
                <c:pt idx="506">
                  <c:v>40890</c:v>
                </c:pt>
                <c:pt idx="507">
                  <c:v>40891</c:v>
                </c:pt>
                <c:pt idx="508">
                  <c:v>40892</c:v>
                </c:pt>
                <c:pt idx="509">
                  <c:v>40893</c:v>
                </c:pt>
                <c:pt idx="510">
                  <c:v>40896</c:v>
                </c:pt>
                <c:pt idx="511">
                  <c:v>40897</c:v>
                </c:pt>
                <c:pt idx="512">
                  <c:v>40898</c:v>
                </c:pt>
                <c:pt idx="513">
                  <c:v>40899</c:v>
                </c:pt>
                <c:pt idx="514">
                  <c:v>40900</c:v>
                </c:pt>
                <c:pt idx="515">
                  <c:v>40903</c:v>
                </c:pt>
                <c:pt idx="516">
                  <c:v>40904</c:v>
                </c:pt>
                <c:pt idx="517">
                  <c:v>40905</c:v>
                </c:pt>
                <c:pt idx="518">
                  <c:v>40906</c:v>
                </c:pt>
                <c:pt idx="519">
                  <c:v>40907</c:v>
                </c:pt>
                <c:pt idx="520">
                  <c:v>40910</c:v>
                </c:pt>
                <c:pt idx="521">
                  <c:v>40911</c:v>
                </c:pt>
                <c:pt idx="522">
                  <c:v>40912</c:v>
                </c:pt>
                <c:pt idx="523">
                  <c:v>40913</c:v>
                </c:pt>
                <c:pt idx="524">
                  <c:v>40914</c:v>
                </c:pt>
                <c:pt idx="525">
                  <c:v>40917</c:v>
                </c:pt>
                <c:pt idx="526">
                  <c:v>40918</c:v>
                </c:pt>
                <c:pt idx="527">
                  <c:v>40919</c:v>
                </c:pt>
                <c:pt idx="528">
                  <c:v>40920</c:v>
                </c:pt>
                <c:pt idx="529">
                  <c:v>40921</c:v>
                </c:pt>
                <c:pt idx="530">
                  <c:v>40924</c:v>
                </c:pt>
                <c:pt idx="531">
                  <c:v>40925</c:v>
                </c:pt>
                <c:pt idx="532">
                  <c:v>40926</c:v>
                </c:pt>
                <c:pt idx="533">
                  <c:v>40927</c:v>
                </c:pt>
                <c:pt idx="534">
                  <c:v>40928</c:v>
                </c:pt>
                <c:pt idx="535">
                  <c:v>40931</c:v>
                </c:pt>
                <c:pt idx="536">
                  <c:v>40932</c:v>
                </c:pt>
                <c:pt idx="537">
                  <c:v>40933</c:v>
                </c:pt>
                <c:pt idx="538">
                  <c:v>40934</c:v>
                </c:pt>
                <c:pt idx="539">
                  <c:v>40935</c:v>
                </c:pt>
                <c:pt idx="540">
                  <c:v>40938</c:v>
                </c:pt>
                <c:pt idx="541">
                  <c:v>40939</c:v>
                </c:pt>
                <c:pt idx="542">
                  <c:v>40940</c:v>
                </c:pt>
                <c:pt idx="543">
                  <c:v>40941</c:v>
                </c:pt>
                <c:pt idx="544">
                  <c:v>40942</c:v>
                </c:pt>
                <c:pt idx="545">
                  <c:v>40945</c:v>
                </c:pt>
                <c:pt idx="546">
                  <c:v>40946</c:v>
                </c:pt>
                <c:pt idx="547">
                  <c:v>40947</c:v>
                </c:pt>
                <c:pt idx="548">
                  <c:v>40948</c:v>
                </c:pt>
                <c:pt idx="549">
                  <c:v>40949</c:v>
                </c:pt>
                <c:pt idx="550">
                  <c:v>40952</c:v>
                </c:pt>
                <c:pt idx="551">
                  <c:v>40953</c:v>
                </c:pt>
                <c:pt idx="552">
                  <c:v>40954</c:v>
                </c:pt>
                <c:pt idx="553">
                  <c:v>40955</c:v>
                </c:pt>
                <c:pt idx="554">
                  <c:v>40956</c:v>
                </c:pt>
                <c:pt idx="555">
                  <c:v>40959</c:v>
                </c:pt>
                <c:pt idx="556">
                  <c:v>40960</c:v>
                </c:pt>
                <c:pt idx="557">
                  <c:v>40961</c:v>
                </c:pt>
                <c:pt idx="558">
                  <c:v>40962</c:v>
                </c:pt>
                <c:pt idx="559">
                  <c:v>40963</c:v>
                </c:pt>
                <c:pt idx="560">
                  <c:v>40966</c:v>
                </c:pt>
                <c:pt idx="561">
                  <c:v>40967</c:v>
                </c:pt>
                <c:pt idx="562">
                  <c:v>40968</c:v>
                </c:pt>
                <c:pt idx="563">
                  <c:v>40969</c:v>
                </c:pt>
                <c:pt idx="564">
                  <c:v>40970</c:v>
                </c:pt>
                <c:pt idx="565">
                  <c:v>40973</c:v>
                </c:pt>
                <c:pt idx="566">
                  <c:v>40974</c:v>
                </c:pt>
                <c:pt idx="567">
                  <c:v>40975</c:v>
                </c:pt>
                <c:pt idx="568">
                  <c:v>40976</c:v>
                </c:pt>
                <c:pt idx="569">
                  <c:v>40977</c:v>
                </c:pt>
                <c:pt idx="570">
                  <c:v>40980</c:v>
                </c:pt>
                <c:pt idx="571">
                  <c:v>40981</c:v>
                </c:pt>
                <c:pt idx="572">
                  <c:v>40982</c:v>
                </c:pt>
                <c:pt idx="573">
                  <c:v>40983</c:v>
                </c:pt>
                <c:pt idx="574">
                  <c:v>40984</c:v>
                </c:pt>
                <c:pt idx="575">
                  <c:v>40987</c:v>
                </c:pt>
                <c:pt idx="576">
                  <c:v>40988</c:v>
                </c:pt>
                <c:pt idx="577">
                  <c:v>40989</c:v>
                </c:pt>
                <c:pt idx="578">
                  <c:v>40990</c:v>
                </c:pt>
                <c:pt idx="579">
                  <c:v>40991</c:v>
                </c:pt>
                <c:pt idx="580">
                  <c:v>40994</c:v>
                </c:pt>
                <c:pt idx="581">
                  <c:v>40995</c:v>
                </c:pt>
                <c:pt idx="582">
                  <c:v>40996</c:v>
                </c:pt>
                <c:pt idx="583">
                  <c:v>40997</c:v>
                </c:pt>
                <c:pt idx="584">
                  <c:v>40998</c:v>
                </c:pt>
                <c:pt idx="585">
                  <c:v>41001</c:v>
                </c:pt>
                <c:pt idx="586">
                  <c:v>41002</c:v>
                </c:pt>
                <c:pt idx="587">
                  <c:v>41003</c:v>
                </c:pt>
                <c:pt idx="588">
                  <c:v>41004</c:v>
                </c:pt>
                <c:pt idx="589">
                  <c:v>41005</c:v>
                </c:pt>
                <c:pt idx="590">
                  <c:v>41008</c:v>
                </c:pt>
                <c:pt idx="591">
                  <c:v>41009</c:v>
                </c:pt>
                <c:pt idx="592">
                  <c:v>41010</c:v>
                </c:pt>
                <c:pt idx="593">
                  <c:v>41011</c:v>
                </c:pt>
                <c:pt idx="594">
                  <c:v>41012</c:v>
                </c:pt>
                <c:pt idx="595">
                  <c:v>41015</c:v>
                </c:pt>
                <c:pt idx="596">
                  <c:v>41016</c:v>
                </c:pt>
                <c:pt idx="597">
                  <c:v>41017</c:v>
                </c:pt>
                <c:pt idx="598">
                  <c:v>41018</c:v>
                </c:pt>
                <c:pt idx="599">
                  <c:v>41019</c:v>
                </c:pt>
                <c:pt idx="600">
                  <c:v>41022</c:v>
                </c:pt>
                <c:pt idx="601">
                  <c:v>41023</c:v>
                </c:pt>
                <c:pt idx="602">
                  <c:v>41024</c:v>
                </c:pt>
                <c:pt idx="603">
                  <c:v>41025</c:v>
                </c:pt>
                <c:pt idx="604">
                  <c:v>41026</c:v>
                </c:pt>
                <c:pt idx="605">
                  <c:v>41029</c:v>
                </c:pt>
                <c:pt idx="606">
                  <c:v>41030</c:v>
                </c:pt>
                <c:pt idx="607">
                  <c:v>41031</c:v>
                </c:pt>
                <c:pt idx="608">
                  <c:v>41032</c:v>
                </c:pt>
                <c:pt idx="609">
                  <c:v>41033</c:v>
                </c:pt>
                <c:pt idx="610">
                  <c:v>41036</c:v>
                </c:pt>
                <c:pt idx="611">
                  <c:v>41037</c:v>
                </c:pt>
                <c:pt idx="612">
                  <c:v>41038</c:v>
                </c:pt>
                <c:pt idx="613">
                  <c:v>41039</c:v>
                </c:pt>
                <c:pt idx="614">
                  <c:v>41040</c:v>
                </c:pt>
                <c:pt idx="615">
                  <c:v>41043</c:v>
                </c:pt>
                <c:pt idx="616">
                  <c:v>41044</c:v>
                </c:pt>
                <c:pt idx="617">
                  <c:v>41045</c:v>
                </c:pt>
                <c:pt idx="618">
                  <c:v>41046</c:v>
                </c:pt>
                <c:pt idx="619">
                  <c:v>41047</c:v>
                </c:pt>
                <c:pt idx="620">
                  <c:v>41050</c:v>
                </c:pt>
                <c:pt idx="621">
                  <c:v>41051</c:v>
                </c:pt>
                <c:pt idx="622">
                  <c:v>41052</c:v>
                </c:pt>
                <c:pt idx="623">
                  <c:v>41053</c:v>
                </c:pt>
                <c:pt idx="624">
                  <c:v>41054</c:v>
                </c:pt>
                <c:pt idx="625">
                  <c:v>41057</c:v>
                </c:pt>
                <c:pt idx="626">
                  <c:v>41058</c:v>
                </c:pt>
                <c:pt idx="627">
                  <c:v>41059</c:v>
                </c:pt>
                <c:pt idx="628">
                  <c:v>41060</c:v>
                </c:pt>
                <c:pt idx="629">
                  <c:v>41061</c:v>
                </c:pt>
                <c:pt idx="630">
                  <c:v>41064</c:v>
                </c:pt>
                <c:pt idx="631">
                  <c:v>41065</c:v>
                </c:pt>
                <c:pt idx="632">
                  <c:v>41066</c:v>
                </c:pt>
                <c:pt idx="633">
                  <c:v>41067</c:v>
                </c:pt>
                <c:pt idx="634">
                  <c:v>41068</c:v>
                </c:pt>
                <c:pt idx="635">
                  <c:v>41071</c:v>
                </c:pt>
                <c:pt idx="636">
                  <c:v>41072</c:v>
                </c:pt>
                <c:pt idx="637">
                  <c:v>41073</c:v>
                </c:pt>
                <c:pt idx="638">
                  <c:v>41074</c:v>
                </c:pt>
                <c:pt idx="639">
                  <c:v>41075</c:v>
                </c:pt>
                <c:pt idx="640">
                  <c:v>41078</c:v>
                </c:pt>
                <c:pt idx="641">
                  <c:v>41079</c:v>
                </c:pt>
                <c:pt idx="642">
                  <c:v>41080</c:v>
                </c:pt>
                <c:pt idx="643">
                  <c:v>41081</c:v>
                </c:pt>
                <c:pt idx="644">
                  <c:v>41082</c:v>
                </c:pt>
                <c:pt idx="645">
                  <c:v>41085</c:v>
                </c:pt>
                <c:pt idx="646">
                  <c:v>41086</c:v>
                </c:pt>
                <c:pt idx="647">
                  <c:v>41087</c:v>
                </c:pt>
                <c:pt idx="648">
                  <c:v>41088</c:v>
                </c:pt>
                <c:pt idx="649">
                  <c:v>41089</c:v>
                </c:pt>
                <c:pt idx="650">
                  <c:v>41092</c:v>
                </c:pt>
                <c:pt idx="651">
                  <c:v>41093</c:v>
                </c:pt>
                <c:pt idx="652">
                  <c:v>41094</c:v>
                </c:pt>
                <c:pt idx="653">
                  <c:v>41095</c:v>
                </c:pt>
                <c:pt idx="654">
                  <c:v>41096</c:v>
                </c:pt>
                <c:pt idx="655">
                  <c:v>41099</c:v>
                </c:pt>
                <c:pt idx="656">
                  <c:v>41100</c:v>
                </c:pt>
                <c:pt idx="657">
                  <c:v>41101</c:v>
                </c:pt>
                <c:pt idx="658">
                  <c:v>41102</c:v>
                </c:pt>
                <c:pt idx="659">
                  <c:v>41103</c:v>
                </c:pt>
                <c:pt idx="660">
                  <c:v>41106</c:v>
                </c:pt>
                <c:pt idx="661">
                  <c:v>41107</c:v>
                </c:pt>
                <c:pt idx="662">
                  <c:v>41108</c:v>
                </c:pt>
                <c:pt idx="663">
                  <c:v>41109</c:v>
                </c:pt>
                <c:pt idx="664">
                  <c:v>41110</c:v>
                </c:pt>
                <c:pt idx="665">
                  <c:v>41113</c:v>
                </c:pt>
                <c:pt idx="666">
                  <c:v>41114</c:v>
                </c:pt>
                <c:pt idx="667">
                  <c:v>41115</c:v>
                </c:pt>
                <c:pt idx="668">
                  <c:v>41116</c:v>
                </c:pt>
                <c:pt idx="669">
                  <c:v>41117</c:v>
                </c:pt>
                <c:pt idx="670">
                  <c:v>41120</c:v>
                </c:pt>
                <c:pt idx="671">
                  <c:v>41121</c:v>
                </c:pt>
                <c:pt idx="672">
                  <c:v>41122</c:v>
                </c:pt>
                <c:pt idx="673">
                  <c:v>41123</c:v>
                </c:pt>
                <c:pt idx="674">
                  <c:v>41124</c:v>
                </c:pt>
                <c:pt idx="675">
                  <c:v>41127</c:v>
                </c:pt>
                <c:pt idx="676">
                  <c:v>41128</c:v>
                </c:pt>
                <c:pt idx="677">
                  <c:v>41129</c:v>
                </c:pt>
                <c:pt idx="678">
                  <c:v>41130</c:v>
                </c:pt>
                <c:pt idx="679">
                  <c:v>41131</c:v>
                </c:pt>
                <c:pt idx="680">
                  <c:v>41134</c:v>
                </c:pt>
                <c:pt idx="681">
                  <c:v>41135</c:v>
                </c:pt>
                <c:pt idx="682">
                  <c:v>41136</c:v>
                </c:pt>
                <c:pt idx="683">
                  <c:v>41137</c:v>
                </c:pt>
                <c:pt idx="684">
                  <c:v>41138</c:v>
                </c:pt>
                <c:pt idx="685">
                  <c:v>41141</c:v>
                </c:pt>
                <c:pt idx="686">
                  <c:v>41142</c:v>
                </c:pt>
                <c:pt idx="687">
                  <c:v>41143</c:v>
                </c:pt>
                <c:pt idx="688">
                  <c:v>41144</c:v>
                </c:pt>
                <c:pt idx="689">
                  <c:v>41145</c:v>
                </c:pt>
                <c:pt idx="690">
                  <c:v>41148</c:v>
                </c:pt>
                <c:pt idx="691">
                  <c:v>41149</c:v>
                </c:pt>
                <c:pt idx="692">
                  <c:v>41150</c:v>
                </c:pt>
                <c:pt idx="693">
                  <c:v>41151</c:v>
                </c:pt>
                <c:pt idx="694">
                  <c:v>41152</c:v>
                </c:pt>
                <c:pt idx="695">
                  <c:v>41155</c:v>
                </c:pt>
                <c:pt idx="696">
                  <c:v>41156</c:v>
                </c:pt>
                <c:pt idx="697">
                  <c:v>41157</c:v>
                </c:pt>
                <c:pt idx="698">
                  <c:v>41158</c:v>
                </c:pt>
                <c:pt idx="699">
                  <c:v>41159</c:v>
                </c:pt>
                <c:pt idx="700">
                  <c:v>41162</c:v>
                </c:pt>
                <c:pt idx="701">
                  <c:v>41163</c:v>
                </c:pt>
                <c:pt idx="702">
                  <c:v>41164</c:v>
                </c:pt>
                <c:pt idx="703">
                  <c:v>41165</c:v>
                </c:pt>
                <c:pt idx="704">
                  <c:v>41166</c:v>
                </c:pt>
                <c:pt idx="705">
                  <c:v>41169</c:v>
                </c:pt>
                <c:pt idx="706">
                  <c:v>41170</c:v>
                </c:pt>
                <c:pt idx="707">
                  <c:v>41171</c:v>
                </c:pt>
                <c:pt idx="708">
                  <c:v>41172</c:v>
                </c:pt>
                <c:pt idx="709">
                  <c:v>41173</c:v>
                </c:pt>
                <c:pt idx="710">
                  <c:v>41176</c:v>
                </c:pt>
                <c:pt idx="711">
                  <c:v>41177</c:v>
                </c:pt>
                <c:pt idx="712">
                  <c:v>41178</c:v>
                </c:pt>
                <c:pt idx="713">
                  <c:v>41179</c:v>
                </c:pt>
                <c:pt idx="714">
                  <c:v>41180</c:v>
                </c:pt>
                <c:pt idx="715">
                  <c:v>41183</c:v>
                </c:pt>
                <c:pt idx="716">
                  <c:v>41184</c:v>
                </c:pt>
                <c:pt idx="717">
                  <c:v>41185</c:v>
                </c:pt>
                <c:pt idx="718">
                  <c:v>41186</c:v>
                </c:pt>
                <c:pt idx="719">
                  <c:v>41187</c:v>
                </c:pt>
                <c:pt idx="720">
                  <c:v>41190</c:v>
                </c:pt>
                <c:pt idx="721">
                  <c:v>41191</c:v>
                </c:pt>
                <c:pt idx="722">
                  <c:v>41192</c:v>
                </c:pt>
                <c:pt idx="723">
                  <c:v>41193</c:v>
                </c:pt>
                <c:pt idx="724">
                  <c:v>41194</c:v>
                </c:pt>
                <c:pt idx="725">
                  <c:v>41197</c:v>
                </c:pt>
                <c:pt idx="726">
                  <c:v>41198</c:v>
                </c:pt>
              </c:numCache>
            </c:numRef>
          </c:cat>
          <c:val>
            <c:numRef>
              <c:f>Sheet8!$D$2:$D$728</c:f>
              <c:numCache>
                <c:formatCode>0</c:formatCode>
                <c:ptCount val="727"/>
                <c:pt idx="0">
                  <c:v>284</c:v>
                </c:pt>
                <c:pt idx="1">
                  <c:v>253</c:v>
                </c:pt>
                <c:pt idx="2">
                  <c:v>250.5</c:v>
                </c:pt>
                <c:pt idx="3">
                  <c:v>242.5</c:v>
                </c:pt>
                <c:pt idx="4">
                  <c:v>238.5</c:v>
                </c:pt>
                <c:pt idx="5">
                  <c:v>234</c:v>
                </c:pt>
                <c:pt idx="6">
                  <c:v>239</c:v>
                </c:pt>
                <c:pt idx="7">
                  <c:v>247</c:v>
                </c:pt>
                <c:pt idx="8">
                  <c:v>252.5</c:v>
                </c:pt>
                <c:pt idx="9">
                  <c:v>239</c:v>
                </c:pt>
                <c:pt idx="10">
                  <c:v>239.5</c:v>
                </c:pt>
                <c:pt idx="11">
                  <c:v>233.5</c:v>
                </c:pt>
                <c:pt idx="12">
                  <c:v>236</c:v>
                </c:pt>
                <c:pt idx="13">
                  <c:v>239</c:v>
                </c:pt>
                <c:pt idx="14">
                  <c:v>242</c:v>
                </c:pt>
                <c:pt idx="15">
                  <c:v>229.5</c:v>
                </c:pt>
                <c:pt idx="16">
                  <c:v>229.5</c:v>
                </c:pt>
                <c:pt idx="17">
                  <c:v>251.5</c:v>
                </c:pt>
                <c:pt idx="18">
                  <c:v>259.5</c:v>
                </c:pt>
                <c:pt idx="19">
                  <c:v>259.5</c:v>
                </c:pt>
                <c:pt idx="20">
                  <c:v>257.5</c:v>
                </c:pt>
                <c:pt idx="21">
                  <c:v>252</c:v>
                </c:pt>
                <c:pt idx="22">
                  <c:v>250.5</c:v>
                </c:pt>
                <c:pt idx="23">
                  <c:v>268.5</c:v>
                </c:pt>
                <c:pt idx="24">
                  <c:v>274.5</c:v>
                </c:pt>
                <c:pt idx="25">
                  <c:v>296</c:v>
                </c:pt>
                <c:pt idx="26">
                  <c:v>289.5</c:v>
                </c:pt>
                <c:pt idx="27">
                  <c:v>288.5</c:v>
                </c:pt>
                <c:pt idx="28">
                  <c:v>269</c:v>
                </c:pt>
                <c:pt idx="29">
                  <c:v>278</c:v>
                </c:pt>
                <c:pt idx="30">
                  <c:v>280</c:v>
                </c:pt>
                <c:pt idx="31">
                  <c:v>277</c:v>
                </c:pt>
                <c:pt idx="32">
                  <c:v>279</c:v>
                </c:pt>
                <c:pt idx="33">
                  <c:v>279</c:v>
                </c:pt>
                <c:pt idx="34">
                  <c:v>272</c:v>
                </c:pt>
                <c:pt idx="35">
                  <c:v>271.5</c:v>
                </c:pt>
                <c:pt idx="36">
                  <c:v>272</c:v>
                </c:pt>
                <c:pt idx="37">
                  <c:v>271</c:v>
                </c:pt>
                <c:pt idx="38">
                  <c:v>269</c:v>
                </c:pt>
                <c:pt idx="39">
                  <c:v>258</c:v>
                </c:pt>
                <c:pt idx="40">
                  <c:v>251</c:v>
                </c:pt>
                <c:pt idx="41">
                  <c:v>245</c:v>
                </c:pt>
                <c:pt idx="42">
                  <c:v>237.5</c:v>
                </c:pt>
                <c:pt idx="43">
                  <c:v>234</c:v>
                </c:pt>
                <c:pt idx="44">
                  <c:v>230</c:v>
                </c:pt>
                <c:pt idx="45">
                  <c:v>220.5</c:v>
                </c:pt>
                <c:pt idx="46">
                  <c:v>215</c:v>
                </c:pt>
                <c:pt idx="47">
                  <c:v>205.5</c:v>
                </c:pt>
                <c:pt idx="48">
                  <c:v>207</c:v>
                </c:pt>
                <c:pt idx="49">
                  <c:v>198</c:v>
                </c:pt>
                <c:pt idx="50">
                  <c:v>198.5</c:v>
                </c:pt>
                <c:pt idx="51">
                  <c:v>198.5</c:v>
                </c:pt>
                <c:pt idx="52">
                  <c:v>188.5</c:v>
                </c:pt>
                <c:pt idx="53">
                  <c:v>190</c:v>
                </c:pt>
                <c:pt idx="54">
                  <c:v>192</c:v>
                </c:pt>
                <c:pt idx="55">
                  <c:v>196</c:v>
                </c:pt>
                <c:pt idx="56">
                  <c:v>191</c:v>
                </c:pt>
                <c:pt idx="57">
                  <c:v>196.5</c:v>
                </c:pt>
                <c:pt idx="58">
                  <c:v>200</c:v>
                </c:pt>
                <c:pt idx="59">
                  <c:v>200.5</c:v>
                </c:pt>
                <c:pt idx="60">
                  <c:v>203</c:v>
                </c:pt>
                <c:pt idx="61">
                  <c:v>204</c:v>
                </c:pt>
                <c:pt idx="62">
                  <c:v>207.5</c:v>
                </c:pt>
                <c:pt idx="63">
                  <c:v>205</c:v>
                </c:pt>
                <c:pt idx="64">
                  <c:v>204</c:v>
                </c:pt>
                <c:pt idx="65">
                  <c:v>205</c:v>
                </c:pt>
                <c:pt idx="66">
                  <c:v>199.5</c:v>
                </c:pt>
                <c:pt idx="67">
                  <c:v>205</c:v>
                </c:pt>
                <c:pt idx="68">
                  <c:v>215</c:v>
                </c:pt>
                <c:pt idx="69">
                  <c:v>209.5</c:v>
                </c:pt>
                <c:pt idx="70">
                  <c:v>203.5</c:v>
                </c:pt>
                <c:pt idx="71">
                  <c:v>205.5</c:v>
                </c:pt>
                <c:pt idx="72">
                  <c:v>203</c:v>
                </c:pt>
                <c:pt idx="73">
                  <c:v>206</c:v>
                </c:pt>
                <c:pt idx="74">
                  <c:v>209</c:v>
                </c:pt>
                <c:pt idx="75">
                  <c:v>217.5</c:v>
                </c:pt>
                <c:pt idx="76">
                  <c:v>216</c:v>
                </c:pt>
                <c:pt idx="77">
                  <c:v>219.5</c:v>
                </c:pt>
                <c:pt idx="78">
                  <c:v>231.333</c:v>
                </c:pt>
                <c:pt idx="79">
                  <c:v>235.5</c:v>
                </c:pt>
                <c:pt idx="80">
                  <c:v>235.33</c:v>
                </c:pt>
                <c:pt idx="81">
                  <c:v>240.667</c:v>
                </c:pt>
                <c:pt idx="82">
                  <c:v>246.667</c:v>
                </c:pt>
                <c:pt idx="83">
                  <c:v>230</c:v>
                </c:pt>
                <c:pt idx="84">
                  <c:v>224.333</c:v>
                </c:pt>
                <c:pt idx="85">
                  <c:v>224.5</c:v>
                </c:pt>
                <c:pt idx="86">
                  <c:v>234.667</c:v>
                </c:pt>
                <c:pt idx="87">
                  <c:v>255</c:v>
                </c:pt>
                <c:pt idx="88">
                  <c:v>290.33300000000003</c:v>
                </c:pt>
                <c:pt idx="89">
                  <c:v>312</c:v>
                </c:pt>
                <c:pt idx="90">
                  <c:v>249.667</c:v>
                </c:pt>
                <c:pt idx="91">
                  <c:v>251.667</c:v>
                </c:pt>
                <c:pt idx="92">
                  <c:v>224.66</c:v>
                </c:pt>
                <c:pt idx="93">
                  <c:v>223.33</c:v>
                </c:pt>
                <c:pt idx="94">
                  <c:v>244.66</c:v>
                </c:pt>
                <c:pt idx="95">
                  <c:v>247</c:v>
                </c:pt>
                <c:pt idx="96">
                  <c:v>240</c:v>
                </c:pt>
                <c:pt idx="97">
                  <c:v>253</c:v>
                </c:pt>
                <c:pt idx="98">
                  <c:v>281.33</c:v>
                </c:pt>
                <c:pt idx="99">
                  <c:v>271.66000000000008</c:v>
                </c:pt>
                <c:pt idx="100">
                  <c:v>275</c:v>
                </c:pt>
                <c:pt idx="101">
                  <c:v>296.33300000000003</c:v>
                </c:pt>
                <c:pt idx="102">
                  <c:v>277</c:v>
                </c:pt>
                <c:pt idx="103">
                  <c:v>258.33300000000003</c:v>
                </c:pt>
                <c:pt idx="104">
                  <c:v>264.66699999999969</c:v>
                </c:pt>
                <c:pt idx="105">
                  <c:v>262</c:v>
                </c:pt>
                <c:pt idx="106">
                  <c:v>277</c:v>
                </c:pt>
                <c:pt idx="107">
                  <c:v>287</c:v>
                </c:pt>
                <c:pt idx="108">
                  <c:v>309.33300000000003</c:v>
                </c:pt>
                <c:pt idx="109">
                  <c:v>387.5</c:v>
                </c:pt>
                <c:pt idx="110">
                  <c:v>397.5</c:v>
                </c:pt>
                <c:pt idx="111">
                  <c:v>416.66</c:v>
                </c:pt>
                <c:pt idx="112">
                  <c:v>412.66</c:v>
                </c:pt>
                <c:pt idx="113">
                  <c:v>391</c:v>
                </c:pt>
                <c:pt idx="114">
                  <c:v>372.66</c:v>
                </c:pt>
                <c:pt idx="115">
                  <c:v>371</c:v>
                </c:pt>
                <c:pt idx="116">
                  <c:v>362.66</c:v>
                </c:pt>
                <c:pt idx="117">
                  <c:v>366</c:v>
                </c:pt>
                <c:pt idx="118">
                  <c:v>364.33</c:v>
                </c:pt>
                <c:pt idx="119">
                  <c:v>361</c:v>
                </c:pt>
                <c:pt idx="120">
                  <c:v>349.33</c:v>
                </c:pt>
                <c:pt idx="121">
                  <c:v>363</c:v>
                </c:pt>
                <c:pt idx="122">
                  <c:v>371.33</c:v>
                </c:pt>
                <c:pt idx="123">
                  <c:v>378.33</c:v>
                </c:pt>
                <c:pt idx="124">
                  <c:v>404.33</c:v>
                </c:pt>
                <c:pt idx="125">
                  <c:v>404.33</c:v>
                </c:pt>
                <c:pt idx="126">
                  <c:v>426.66</c:v>
                </c:pt>
                <c:pt idx="127">
                  <c:v>414.33</c:v>
                </c:pt>
                <c:pt idx="128">
                  <c:v>426</c:v>
                </c:pt>
                <c:pt idx="129">
                  <c:v>416</c:v>
                </c:pt>
                <c:pt idx="130">
                  <c:v>411.5</c:v>
                </c:pt>
                <c:pt idx="131">
                  <c:v>394.33</c:v>
                </c:pt>
                <c:pt idx="132">
                  <c:v>396</c:v>
                </c:pt>
                <c:pt idx="133">
                  <c:v>387.66</c:v>
                </c:pt>
                <c:pt idx="134">
                  <c:v>382.66</c:v>
                </c:pt>
                <c:pt idx="135">
                  <c:v>381.66</c:v>
                </c:pt>
                <c:pt idx="136">
                  <c:v>374</c:v>
                </c:pt>
                <c:pt idx="137">
                  <c:v>371</c:v>
                </c:pt>
                <c:pt idx="138">
                  <c:v>374.33</c:v>
                </c:pt>
                <c:pt idx="139">
                  <c:v>374</c:v>
                </c:pt>
                <c:pt idx="140">
                  <c:v>388.33</c:v>
                </c:pt>
                <c:pt idx="141">
                  <c:v>385.66</c:v>
                </c:pt>
                <c:pt idx="142">
                  <c:v>376.33</c:v>
                </c:pt>
                <c:pt idx="143">
                  <c:v>368.33</c:v>
                </c:pt>
                <c:pt idx="144">
                  <c:v>371.66</c:v>
                </c:pt>
                <c:pt idx="145">
                  <c:v>365.66</c:v>
                </c:pt>
                <c:pt idx="146">
                  <c:v>357.33</c:v>
                </c:pt>
                <c:pt idx="147">
                  <c:v>356.66</c:v>
                </c:pt>
                <c:pt idx="148">
                  <c:v>355</c:v>
                </c:pt>
                <c:pt idx="149">
                  <c:v>355.66</c:v>
                </c:pt>
                <c:pt idx="150">
                  <c:v>347.66</c:v>
                </c:pt>
                <c:pt idx="151">
                  <c:v>348.33</c:v>
                </c:pt>
                <c:pt idx="152">
                  <c:v>346.66</c:v>
                </c:pt>
                <c:pt idx="153">
                  <c:v>340.33</c:v>
                </c:pt>
                <c:pt idx="154">
                  <c:v>338.66</c:v>
                </c:pt>
                <c:pt idx="155">
                  <c:v>331.33</c:v>
                </c:pt>
                <c:pt idx="156">
                  <c:v>329.33</c:v>
                </c:pt>
                <c:pt idx="157">
                  <c:v>338</c:v>
                </c:pt>
                <c:pt idx="158">
                  <c:v>341.83</c:v>
                </c:pt>
                <c:pt idx="159">
                  <c:v>339.33</c:v>
                </c:pt>
                <c:pt idx="160">
                  <c:v>340.66</c:v>
                </c:pt>
                <c:pt idx="161">
                  <c:v>337.66</c:v>
                </c:pt>
                <c:pt idx="162">
                  <c:v>337.66</c:v>
                </c:pt>
                <c:pt idx="163">
                  <c:v>332</c:v>
                </c:pt>
                <c:pt idx="164">
                  <c:v>340</c:v>
                </c:pt>
                <c:pt idx="165">
                  <c:v>338.33</c:v>
                </c:pt>
                <c:pt idx="166">
                  <c:v>353</c:v>
                </c:pt>
                <c:pt idx="167">
                  <c:v>365</c:v>
                </c:pt>
                <c:pt idx="168">
                  <c:v>375.83</c:v>
                </c:pt>
                <c:pt idx="169">
                  <c:v>380.83</c:v>
                </c:pt>
                <c:pt idx="170">
                  <c:v>380.83</c:v>
                </c:pt>
                <c:pt idx="171">
                  <c:v>387.66</c:v>
                </c:pt>
                <c:pt idx="172">
                  <c:v>383.66</c:v>
                </c:pt>
                <c:pt idx="173">
                  <c:v>378.66</c:v>
                </c:pt>
                <c:pt idx="174">
                  <c:v>382.5</c:v>
                </c:pt>
                <c:pt idx="175">
                  <c:v>382.75</c:v>
                </c:pt>
                <c:pt idx="176">
                  <c:v>391.16</c:v>
                </c:pt>
                <c:pt idx="177">
                  <c:v>395.16</c:v>
                </c:pt>
                <c:pt idx="178">
                  <c:v>380</c:v>
                </c:pt>
                <c:pt idx="179">
                  <c:v>376.33</c:v>
                </c:pt>
                <c:pt idx="180">
                  <c:v>370.03</c:v>
                </c:pt>
                <c:pt idx="181">
                  <c:v>370.33</c:v>
                </c:pt>
                <c:pt idx="182">
                  <c:v>369.66</c:v>
                </c:pt>
                <c:pt idx="183">
                  <c:v>366</c:v>
                </c:pt>
                <c:pt idx="184">
                  <c:v>362.83</c:v>
                </c:pt>
                <c:pt idx="185">
                  <c:v>362.33</c:v>
                </c:pt>
                <c:pt idx="186">
                  <c:v>351.66</c:v>
                </c:pt>
                <c:pt idx="187">
                  <c:v>356</c:v>
                </c:pt>
                <c:pt idx="188">
                  <c:v>363.66</c:v>
                </c:pt>
                <c:pt idx="189">
                  <c:v>358</c:v>
                </c:pt>
                <c:pt idx="190">
                  <c:v>357.66</c:v>
                </c:pt>
                <c:pt idx="191">
                  <c:v>363.36</c:v>
                </c:pt>
                <c:pt idx="192">
                  <c:v>364.66</c:v>
                </c:pt>
                <c:pt idx="193">
                  <c:v>359.33</c:v>
                </c:pt>
                <c:pt idx="194">
                  <c:v>350.33</c:v>
                </c:pt>
                <c:pt idx="195">
                  <c:v>348</c:v>
                </c:pt>
                <c:pt idx="196">
                  <c:v>338.66</c:v>
                </c:pt>
                <c:pt idx="197">
                  <c:v>329.33</c:v>
                </c:pt>
                <c:pt idx="198">
                  <c:v>327.33</c:v>
                </c:pt>
                <c:pt idx="199">
                  <c:v>315.66000000000008</c:v>
                </c:pt>
                <c:pt idx="200">
                  <c:v>315.66000000000008</c:v>
                </c:pt>
                <c:pt idx="201">
                  <c:v>301.33</c:v>
                </c:pt>
                <c:pt idx="202">
                  <c:v>282</c:v>
                </c:pt>
                <c:pt idx="203">
                  <c:v>280.33</c:v>
                </c:pt>
                <c:pt idx="204">
                  <c:v>287</c:v>
                </c:pt>
                <c:pt idx="205">
                  <c:v>292</c:v>
                </c:pt>
                <c:pt idx="206">
                  <c:v>303.66000000000008</c:v>
                </c:pt>
                <c:pt idx="207">
                  <c:v>308.33</c:v>
                </c:pt>
                <c:pt idx="208">
                  <c:v>321.33</c:v>
                </c:pt>
                <c:pt idx="209">
                  <c:v>312.66000000000008</c:v>
                </c:pt>
                <c:pt idx="210">
                  <c:v>310</c:v>
                </c:pt>
                <c:pt idx="211">
                  <c:v>309.7</c:v>
                </c:pt>
                <c:pt idx="212">
                  <c:v>308.5</c:v>
                </c:pt>
                <c:pt idx="213">
                  <c:v>302</c:v>
                </c:pt>
                <c:pt idx="214">
                  <c:v>298.66000000000008</c:v>
                </c:pt>
                <c:pt idx="215">
                  <c:v>293.66000000000008</c:v>
                </c:pt>
                <c:pt idx="216">
                  <c:v>287.66000000000008</c:v>
                </c:pt>
                <c:pt idx="217">
                  <c:v>280.33</c:v>
                </c:pt>
                <c:pt idx="218">
                  <c:v>268.66000000000008</c:v>
                </c:pt>
                <c:pt idx="219">
                  <c:v>267.66000000000008</c:v>
                </c:pt>
                <c:pt idx="220">
                  <c:v>273.33</c:v>
                </c:pt>
                <c:pt idx="221">
                  <c:v>273.66000000000008</c:v>
                </c:pt>
                <c:pt idx="222">
                  <c:v>278.66000000000008</c:v>
                </c:pt>
                <c:pt idx="223">
                  <c:v>279.02999999999969</c:v>
                </c:pt>
                <c:pt idx="224">
                  <c:v>284.33</c:v>
                </c:pt>
                <c:pt idx="225">
                  <c:v>286</c:v>
                </c:pt>
                <c:pt idx="226">
                  <c:v>296.33</c:v>
                </c:pt>
                <c:pt idx="227">
                  <c:v>294.33</c:v>
                </c:pt>
                <c:pt idx="228">
                  <c:v>285.5</c:v>
                </c:pt>
                <c:pt idx="229">
                  <c:v>286</c:v>
                </c:pt>
                <c:pt idx="230">
                  <c:v>286.5</c:v>
                </c:pt>
                <c:pt idx="231">
                  <c:v>294.5</c:v>
                </c:pt>
                <c:pt idx="232">
                  <c:v>298.33</c:v>
                </c:pt>
                <c:pt idx="233">
                  <c:v>298.5</c:v>
                </c:pt>
                <c:pt idx="234">
                  <c:v>310</c:v>
                </c:pt>
                <c:pt idx="235">
                  <c:v>325.5</c:v>
                </c:pt>
                <c:pt idx="236">
                  <c:v>332.5</c:v>
                </c:pt>
                <c:pt idx="237">
                  <c:v>320</c:v>
                </c:pt>
                <c:pt idx="238">
                  <c:v>314</c:v>
                </c:pt>
                <c:pt idx="239">
                  <c:v>310.33</c:v>
                </c:pt>
                <c:pt idx="240">
                  <c:v>305.83</c:v>
                </c:pt>
                <c:pt idx="241">
                  <c:v>294.33</c:v>
                </c:pt>
                <c:pt idx="242">
                  <c:v>298</c:v>
                </c:pt>
                <c:pt idx="243">
                  <c:v>301.33</c:v>
                </c:pt>
                <c:pt idx="244">
                  <c:v>303.66000000000008</c:v>
                </c:pt>
                <c:pt idx="245">
                  <c:v>304.33</c:v>
                </c:pt>
                <c:pt idx="246">
                  <c:v>296.33</c:v>
                </c:pt>
                <c:pt idx="247">
                  <c:v>292</c:v>
                </c:pt>
                <c:pt idx="248">
                  <c:v>292</c:v>
                </c:pt>
                <c:pt idx="249">
                  <c:v>293.7</c:v>
                </c:pt>
                <c:pt idx="250">
                  <c:v>295.66000000000008</c:v>
                </c:pt>
                <c:pt idx="251">
                  <c:v>296.66000000000008</c:v>
                </c:pt>
                <c:pt idx="252">
                  <c:v>296.66000000000008</c:v>
                </c:pt>
                <c:pt idx="253">
                  <c:v>297.33</c:v>
                </c:pt>
                <c:pt idx="254">
                  <c:v>296</c:v>
                </c:pt>
                <c:pt idx="255">
                  <c:v>297.33</c:v>
                </c:pt>
                <c:pt idx="256">
                  <c:v>297.33</c:v>
                </c:pt>
                <c:pt idx="257">
                  <c:v>297.33</c:v>
                </c:pt>
                <c:pt idx="258">
                  <c:v>297.33</c:v>
                </c:pt>
                <c:pt idx="259">
                  <c:v>296</c:v>
                </c:pt>
                <c:pt idx="260">
                  <c:v>296</c:v>
                </c:pt>
                <c:pt idx="261">
                  <c:v>291</c:v>
                </c:pt>
                <c:pt idx="262">
                  <c:v>296.33</c:v>
                </c:pt>
                <c:pt idx="263">
                  <c:v>303.66000000000008</c:v>
                </c:pt>
                <c:pt idx="264">
                  <c:v>310</c:v>
                </c:pt>
                <c:pt idx="265">
                  <c:v>315.33</c:v>
                </c:pt>
                <c:pt idx="266">
                  <c:v>312.66000000000008</c:v>
                </c:pt>
                <c:pt idx="267">
                  <c:v>302.33</c:v>
                </c:pt>
                <c:pt idx="268">
                  <c:v>303</c:v>
                </c:pt>
                <c:pt idx="269">
                  <c:v>303.33</c:v>
                </c:pt>
                <c:pt idx="270">
                  <c:v>304</c:v>
                </c:pt>
                <c:pt idx="271">
                  <c:v>297.66000000000008</c:v>
                </c:pt>
                <c:pt idx="272">
                  <c:v>299.33300000000003</c:v>
                </c:pt>
                <c:pt idx="273">
                  <c:v>302</c:v>
                </c:pt>
                <c:pt idx="274">
                  <c:v>300</c:v>
                </c:pt>
                <c:pt idx="275">
                  <c:v>297.666</c:v>
                </c:pt>
                <c:pt idx="276">
                  <c:v>294.33300000000003</c:v>
                </c:pt>
                <c:pt idx="277">
                  <c:v>295</c:v>
                </c:pt>
                <c:pt idx="278">
                  <c:v>296</c:v>
                </c:pt>
                <c:pt idx="279">
                  <c:v>305</c:v>
                </c:pt>
                <c:pt idx="280">
                  <c:v>302.666</c:v>
                </c:pt>
                <c:pt idx="281">
                  <c:v>290.33300000000003</c:v>
                </c:pt>
                <c:pt idx="282">
                  <c:v>290.33300000000003</c:v>
                </c:pt>
                <c:pt idx="283">
                  <c:v>291</c:v>
                </c:pt>
                <c:pt idx="284">
                  <c:v>280.33</c:v>
                </c:pt>
                <c:pt idx="285">
                  <c:v>277.66000000000008</c:v>
                </c:pt>
                <c:pt idx="286">
                  <c:v>277.66000000000008</c:v>
                </c:pt>
                <c:pt idx="287">
                  <c:v>282.666</c:v>
                </c:pt>
                <c:pt idx="288">
                  <c:v>290</c:v>
                </c:pt>
                <c:pt idx="289">
                  <c:v>291</c:v>
                </c:pt>
                <c:pt idx="290">
                  <c:v>292.66000000000008</c:v>
                </c:pt>
                <c:pt idx="291">
                  <c:v>291.86399999999969</c:v>
                </c:pt>
                <c:pt idx="292">
                  <c:v>291.88599999999963</c:v>
                </c:pt>
                <c:pt idx="293">
                  <c:v>290.89</c:v>
                </c:pt>
                <c:pt idx="294">
                  <c:v>290.14000000000038</c:v>
                </c:pt>
                <c:pt idx="295">
                  <c:v>290.54500000000002</c:v>
                </c:pt>
                <c:pt idx="296">
                  <c:v>291.91000000000003</c:v>
                </c:pt>
                <c:pt idx="297">
                  <c:v>292.39</c:v>
                </c:pt>
                <c:pt idx="298">
                  <c:v>294.39499999999964</c:v>
                </c:pt>
                <c:pt idx="299">
                  <c:v>290.64499999999998</c:v>
                </c:pt>
                <c:pt idx="300">
                  <c:v>287.43099999999913</c:v>
                </c:pt>
                <c:pt idx="301">
                  <c:v>285.94600000000003</c:v>
                </c:pt>
                <c:pt idx="302">
                  <c:v>284.96599999999938</c:v>
                </c:pt>
                <c:pt idx="303">
                  <c:v>280.7189999999992</c:v>
                </c:pt>
                <c:pt idx="304">
                  <c:v>279.99199999999894</c:v>
                </c:pt>
                <c:pt idx="305">
                  <c:v>276.50900000000001</c:v>
                </c:pt>
                <c:pt idx="306">
                  <c:v>277.25400000000002</c:v>
                </c:pt>
                <c:pt idx="307">
                  <c:v>277.26799999999969</c:v>
                </c:pt>
                <c:pt idx="308">
                  <c:v>276.52599999999939</c:v>
                </c:pt>
                <c:pt idx="309">
                  <c:v>275.05200000000002</c:v>
                </c:pt>
                <c:pt idx="310">
                  <c:v>273.80700000000002</c:v>
                </c:pt>
                <c:pt idx="311">
                  <c:v>272.81400000000002</c:v>
                </c:pt>
                <c:pt idx="312">
                  <c:v>272.07499999999999</c:v>
                </c:pt>
                <c:pt idx="313">
                  <c:v>269.11200000000002</c:v>
                </c:pt>
                <c:pt idx="314">
                  <c:v>267.10399999999993</c:v>
                </c:pt>
                <c:pt idx="315">
                  <c:v>262.76900000000001</c:v>
                </c:pt>
                <c:pt idx="316">
                  <c:v>258.26900000000001</c:v>
                </c:pt>
                <c:pt idx="317">
                  <c:v>253</c:v>
                </c:pt>
                <c:pt idx="318">
                  <c:v>248.01</c:v>
                </c:pt>
                <c:pt idx="319">
                  <c:v>240.77799999999999</c:v>
                </c:pt>
                <c:pt idx="320">
                  <c:v>239.56900000000002</c:v>
                </c:pt>
                <c:pt idx="321">
                  <c:v>239.58200000000028</c:v>
                </c:pt>
                <c:pt idx="322">
                  <c:v>237.54399999999998</c:v>
                </c:pt>
                <c:pt idx="323">
                  <c:v>234.524</c:v>
                </c:pt>
                <c:pt idx="324">
                  <c:v>222.084</c:v>
                </c:pt>
                <c:pt idx="325">
                  <c:v>217.01499999999999</c:v>
                </c:pt>
                <c:pt idx="326">
                  <c:v>220</c:v>
                </c:pt>
                <c:pt idx="327">
                  <c:v>214.66200000000001</c:v>
                </c:pt>
                <c:pt idx="328">
                  <c:v>215.167</c:v>
                </c:pt>
                <c:pt idx="329">
                  <c:v>215.178</c:v>
                </c:pt>
                <c:pt idx="330">
                  <c:v>214.83100000000007</c:v>
                </c:pt>
                <c:pt idx="331">
                  <c:v>218.083</c:v>
                </c:pt>
                <c:pt idx="332">
                  <c:v>218.471</c:v>
                </c:pt>
                <c:pt idx="333">
                  <c:v>221.47300000000001</c:v>
                </c:pt>
                <c:pt idx="334">
                  <c:v>221.48100000000028</c:v>
                </c:pt>
                <c:pt idx="335">
                  <c:v>237.33500000000001</c:v>
                </c:pt>
                <c:pt idx="336">
                  <c:v>235.59</c:v>
                </c:pt>
                <c:pt idx="337">
                  <c:v>233.10900000000001</c:v>
                </c:pt>
                <c:pt idx="338">
                  <c:v>233.125</c:v>
                </c:pt>
                <c:pt idx="339">
                  <c:v>232.834</c:v>
                </c:pt>
                <c:pt idx="340">
                  <c:v>233.125</c:v>
                </c:pt>
                <c:pt idx="341">
                  <c:v>233.91300000000001</c:v>
                </c:pt>
                <c:pt idx="342">
                  <c:v>232.70099999999999</c:v>
                </c:pt>
                <c:pt idx="343">
                  <c:v>228.626</c:v>
                </c:pt>
                <c:pt idx="344">
                  <c:v>228.626</c:v>
                </c:pt>
                <c:pt idx="345">
                  <c:v>228.626</c:v>
                </c:pt>
                <c:pt idx="346">
                  <c:v>228.40900000000002</c:v>
                </c:pt>
                <c:pt idx="347">
                  <c:v>224.55700000000004</c:v>
                </c:pt>
                <c:pt idx="348">
                  <c:v>224.93200000000004</c:v>
                </c:pt>
                <c:pt idx="349">
                  <c:v>224.464</c:v>
                </c:pt>
                <c:pt idx="350">
                  <c:v>226.73699999999999</c:v>
                </c:pt>
                <c:pt idx="351">
                  <c:v>225.256</c:v>
                </c:pt>
                <c:pt idx="352">
                  <c:v>223.39500000000001</c:v>
                </c:pt>
                <c:pt idx="353">
                  <c:v>227.45400000000001</c:v>
                </c:pt>
                <c:pt idx="354">
                  <c:v>225.59399999999999</c:v>
                </c:pt>
                <c:pt idx="355">
                  <c:v>227.25399999999999</c:v>
                </c:pt>
                <c:pt idx="356">
                  <c:v>225.73</c:v>
                </c:pt>
                <c:pt idx="357">
                  <c:v>226.24699999999999</c:v>
                </c:pt>
                <c:pt idx="358">
                  <c:v>224.262</c:v>
                </c:pt>
                <c:pt idx="359">
                  <c:v>226.02100000000004</c:v>
                </c:pt>
                <c:pt idx="360">
                  <c:v>231.291</c:v>
                </c:pt>
                <c:pt idx="361">
                  <c:v>228.69900000000001</c:v>
                </c:pt>
                <c:pt idx="362">
                  <c:v>229.95700000000028</c:v>
                </c:pt>
                <c:pt idx="363">
                  <c:v>232.46300000000002</c:v>
                </c:pt>
                <c:pt idx="364">
                  <c:v>231.97200000000001</c:v>
                </c:pt>
                <c:pt idx="365">
                  <c:v>231.29599999999999</c:v>
                </c:pt>
                <c:pt idx="366">
                  <c:v>229.792</c:v>
                </c:pt>
                <c:pt idx="367">
                  <c:v>232.03300000000002</c:v>
                </c:pt>
                <c:pt idx="368">
                  <c:v>231.809</c:v>
                </c:pt>
                <c:pt idx="369">
                  <c:v>230.065</c:v>
                </c:pt>
                <c:pt idx="370">
                  <c:v>230.10999999999999</c:v>
                </c:pt>
                <c:pt idx="371">
                  <c:v>224.64399999999998</c:v>
                </c:pt>
                <c:pt idx="372">
                  <c:v>229.529</c:v>
                </c:pt>
                <c:pt idx="373">
                  <c:v>235.51399999999998</c:v>
                </c:pt>
                <c:pt idx="374">
                  <c:v>238.38300000000001</c:v>
                </c:pt>
                <c:pt idx="375">
                  <c:v>239.66499999999999</c:v>
                </c:pt>
                <c:pt idx="376">
                  <c:v>235.19900000000001</c:v>
                </c:pt>
                <c:pt idx="377">
                  <c:v>239.19900000000001</c:v>
                </c:pt>
                <c:pt idx="378">
                  <c:v>251.87700000000001</c:v>
                </c:pt>
                <c:pt idx="379">
                  <c:v>254.91300000000001</c:v>
                </c:pt>
                <c:pt idx="380">
                  <c:v>269.06200000000001</c:v>
                </c:pt>
                <c:pt idx="381">
                  <c:v>256.85700000000008</c:v>
                </c:pt>
                <c:pt idx="382">
                  <c:v>262.35700000000008</c:v>
                </c:pt>
                <c:pt idx="383">
                  <c:v>275.93400000000003</c:v>
                </c:pt>
                <c:pt idx="384">
                  <c:v>274.92499999999939</c:v>
                </c:pt>
                <c:pt idx="385">
                  <c:v>276.23799999999937</c:v>
                </c:pt>
                <c:pt idx="386">
                  <c:v>265.68200000000002</c:v>
                </c:pt>
                <c:pt idx="387">
                  <c:v>253.98700000000028</c:v>
                </c:pt>
                <c:pt idx="388">
                  <c:v>248.37700000000001</c:v>
                </c:pt>
                <c:pt idx="389">
                  <c:v>238.78</c:v>
                </c:pt>
                <c:pt idx="390">
                  <c:v>240.108</c:v>
                </c:pt>
                <c:pt idx="391">
                  <c:v>233.375</c:v>
                </c:pt>
                <c:pt idx="392">
                  <c:v>244.47900000000001</c:v>
                </c:pt>
                <c:pt idx="393">
                  <c:v>241.74099999999999</c:v>
                </c:pt>
                <c:pt idx="394">
                  <c:v>247.11199999999999</c:v>
                </c:pt>
                <c:pt idx="395">
                  <c:v>264.59299999999945</c:v>
                </c:pt>
                <c:pt idx="396">
                  <c:v>262.86799999999999</c:v>
                </c:pt>
                <c:pt idx="397">
                  <c:v>258.50200000000001</c:v>
                </c:pt>
                <c:pt idx="398">
                  <c:v>256.27699999999919</c:v>
                </c:pt>
                <c:pt idx="399">
                  <c:v>258.87599999999969</c:v>
                </c:pt>
                <c:pt idx="400">
                  <c:v>273.13299999999964</c:v>
                </c:pt>
                <c:pt idx="401">
                  <c:v>266.92799999999926</c:v>
                </c:pt>
                <c:pt idx="402">
                  <c:v>263.46499999999969</c:v>
                </c:pt>
                <c:pt idx="403">
                  <c:v>246.89600000000004</c:v>
                </c:pt>
                <c:pt idx="404">
                  <c:v>237.685</c:v>
                </c:pt>
                <c:pt idx="405">
                  <c:v>239.48400000000001</c:v>
                </c:pt>
                <c:pt idx="406">
                  <c:v>238.73</c:v>
                </c:pt>
                <c:pt idx="407">
                  <c:v>235.78200000000001</c:v>
                </c:pt>
                <c:pt idx="408">
                  <c:v>235.78200000000001</c:v>
                </c:pt>
                <c:pt idx="409">
                  <c:v>238.28300000000002</c:v>
                </c:pt>
                <c:pt idx="410">
                  <c:v>240.03300000000002</c:v>
                </c:pt>
                <c:pt idx="411">
                  <c:v>246.286</c:v>
                </c:pt>
                <c:pt idx="412">
                  <c:v>259.55399999999969</c:v>
                </c:pt>
                <c:pt idx="413">
                  <c:v>279.887</c:v>
                </c:pt>
                <c:pt idx="414">
                  <c:v>283.23399999999896</c:v>
                </c:pt>
                <c:pt idx="415">
                  <c:v>289.19200000000001</c:v>
                </c:pt>
                <c:pt idx="416">
                  <c:v>305.387</c:v>
                </c:pt>
                <c:pt idx="417">
                  <c:v>314.34399999999999</c:v>
                </c:pt>
                <c:pt idx="418">
                  <c:v>322.12299999999999</c:v>
                </c:pt>
                <c:pt idx="419">
                  <c:v>303.262</c:v>
                </c:pt>
                <c:pt idx="420">
                  <c:v>293.33599999999944</c:v>
                </c:pt>
                <c:pt idx="421">
                  <c:v>293.33499999999964</c:v>
                </c:pt>
                <c:pt idx="422">
                  <c:v>278.78299999999945</c:v>
                </c:pt>
                <c:pt idx="423">
                  <c:v>290.06</c:v>
                </c:pt>
                <c:pt idx="424">
                  <c:v>296.892</c:v>
                </c:pt>
                <c:pt idx="425">
                  <c:v>299.66699999999969</c:v>
                </c:pt>
                <c:pt idx="426">
                  <c:v>304.90199999999919</c:v>
                </c:pt>
                <c:pt idx="427">
                  <c:v>309.09899999999919</c:v>
                </c:pt>
                <c:pt idx="428">
                  <c:v>313.04899999999969</c:v>
                </c:pt>
                <c:pt idx="429">
                  <c:v>313.577</c:v>
                </c:pt>
                <c:pt idx="430">
                  <c:v>313.577</c:v>
                </c:pt>
                <c:pt idx="431">
                  <c:v>312.577</c:v>
                </c:pt>
                <c:pt idx="432">
                  <c:v>311.827</c:v>
                </c:pt>
                <c:pt idx="433">
                  <c:v>315.077</c:v>
                </c:pt>
                <c:pt idx="434">
                  <c:v>319.827</c:v>
                </c:pt>
                <c:pt idx="435">
                  <c:v>318.10300000000001</c:v>
                </c:pt>
                <c:pt idx="436">
                  <c:v>332.202</c:v>
                </c:pt>
                <c:pt idx="437">
                  <c:v>323.75599999999969</c:v>
                </c:pt>
                <c:pt idx="438">
                  <c:v>325.02</c:v>
                </c:pt>
                <c:pt idx="439">
                  <c:v>345.07</c:v>
                </c:pt>
                <c:pt idx="440">
                  <c:v>360.47799999999938</c:v>
                </c:pt>
                <c:pt idx="441">
                  <c:v>366.40599999999938</c:v>
                </c:pt>
                <c:pt idx="442">
                  <c:v>367.19900000000001</c:v>
                </c:pt>
                <c:pt idx="443">
                  <c:v>357.49499999999938</c:v>
                </c:pt>
                <c:pt idx="444">
                  <c:v>354.245</c:v>
                </c:pt>
                <c:pt idx="445">
                  <c:v>359.245</c:v>
                </c:pt>
                <c:pt idx="446">
                  <c:v>364.33300000000003</c:v>
                </c:pt>
                <c:pt idx="447">
                  <c:v>373.66</c:v>
                </c:pt>
                <c:pt idx="448">
                  <c:v>400.33300000000003</c:v>
                </c:pt>
                <c:pt idx="449">
                  <c:v>462</c:v>
                </c:pt>
                <c:pt idx="450">
                  <c:v>458.16</c:v>
                </c:pt>
                <c:pt idx="451">
                  <c:v>421.63299999999964</c:v>
                </c:pt>
                <c:pt idx="452">
                  <c:v>426.2959999999992</c:v>
                </c:pt>
                <c:pt idx="453">
                  <c:v>423.87</c:v>
                </c:pt>
                <c:pt idx="454">
                  <c:v>436.68</c:v>
                </c:pt>
                <c:pt idx="455">
                  <c:v>448.67599999999999</c:v>
                </c:pt>
                <c:pt idx="456">
                  <c:v>462.91999999999945</c:v>
                </c:pt>
                <c:pt idx="457">
                  <c:v>450.4</c:v>
                </c:pt>
                <c:pt idx="458">
                  <c:v>435.57</c:v>
                </c:pt>
                <c:pt idx="459">
                  <c:v>420.54199999999969</c:v>
                </c:pt>
                <c:pt idx="460">
                  <c:v>414.38</c:v>
                </c:pt>
                <c:pt idx="461">
                  <c:v>398.86</c:v>
                </c:pt>
                <c:pt idx="462">
                  <c:v>379.35</c:v>
                </c:pt>
                <c:pt idx="463">
                  <c:v>378.9</c:v>
                </c:pt>
                <c:pt idx="464">
                  <c:v>376.90499999999969</c:v>
                </c:pt>
                <c:pt idx="465">
                  <c:v>366.15000000000032</c:v>
                </c:pt>
                <c:pt idx="466">
                  <c:v>374.91299999999939</c:v>
                </c:pt>
                <c:pt idx="467">
                  <c:v>367.21099999999944</c:v>
                </c:pt>
                <c:pt idx="468">
                  <c:v>373.18599999999969</c:v>
                </c:pt>
                <c:pt idx="469">
                  <c:v>367.24400000000031</c:v>
                </c:pt>
                <c:pt idx="470">
                  <c:v>370.00700000000001</c:v>
                </c:pt>
                <c:pt idx="471">
                  <c:v>375.072</c:v>
                </c:pt>
                <c:pt idx="472">
                  <c:v>376.32299999999969</c:v>
                </c:pt>
                <c:pt idx="473">
                  <c:v>353.88</c:v>
                </c:pt>
                <c:pt idx="474">
                  <c:v>346.00299999999999</c:v>
                </c:pt>
                <c:pt idx="475">
                  <c:v>341.56200000000001</c:v>
                </c:pt>
                <c:pt idx="476">
                  <c:v>365.98399999999896</c:v>
                </c:pt>
                <c:pt idx="477">
                  <c:v>365.50599999999969</c:v>
                </c:pt>
                <c:pt idx="478">
                  <c:v>363.048</c:v>
                </c:pt>
                <c:pt idx="479">
                  <c:v>368.16</c:v>
                </c:pt>
                <c:pt idx="480">
                  <c:v>373.25900000000001</c:v>
                </c:pt>
                <c:pt idx="481">
                  <c:v>371.99199999999894</c:v>
                </c:pt>
                <c:pt idx="482">
                  <c:v>406.40999999999963</c:v>
                </c:pt>
                <c:pt idx="483">
                  <c:v>406.88099999999969</c:v>
                </c:pt>
                <c:pt idx="484">
                  <c:v>407.55799999999999</c:v>
                </c:pt>
                <c:pt idx="485">
                  <c:v>416.28999999999945</c:v>
                </c:pt>
                <c:pt idx="486">
                  <c:v>432.03</c:v>
                </c:pt>
                <c:pt idx="487">
                  <c:v>423.85</c:v>
                </c:pt>
                <c:pt idx="488">
                  <c:v>441.27</c:v>
                </c:pt>
                <c:pt idx="489">
                  <c:v>444.97999999999945</c:v>
                </c:pt>
                <c:pt idx="490">
                  <c:v>458.68900000000002</c:v>
                </c:pt>
                <c:pt idx="491">
                  <c:v>464.90999999999963</c:v>
                </c:pt>
                <c:pt idx="492">
                  <c:v>476.17</c:v>
                </c:pt>
                <c:pt idx="493">
                  <c:v>474.12</c:v>
                </c:pt>
                <c:pt idx="494">
                  <c:v>488.6</c:v>
                </c:pt>
                <c:pt idx="495">
                  <c:v>464.51</c:v>
                </c:pt>
                <c:pt idx="496">
                  <c:v>462.5</c:v>
                </c:pt>
                <c:pt idx="497">
                  <c:v>433.94900000000001</c:v>
                </c:pt>
                <c:pt idx="498">
                  <c:v>437.83</c:v>
                </c:pt>
                <c:pt idx="499">
                  <c:v>427.17</c:v>
                </c:pt>
                <c:pt idx="500">
                  <c:v>422.76</c:v>
                </c:pt>
                <c:pt idx="501">
                  <c:v>427.71</c:v>
                </c:pt>
                <c:pt idx="502">
                  <c:v>431.51</c:v>
                </c:pt>
                <c:pt idx="503">
                  <c:v>437.36</c:v>
                </c:pt>
                <c:pt idx="504">
                  <c:v>439.69</c:v>
                </c:pt>
                <c:pt idx="505">
                  <c:v>441.6</c:v>
                </c:pt>
                <c:pt idx="506">
                  <c:v>441.12</c:v>
                </c:pt>
                <c:pt idx="507">
                  <c:v>446.8</c:v>
                </c:pt>
                <c:pt idx="508">
                  <c:v>446.05</c:v>
                </c:pt>
                <c:pt idx="509">
                  <c:v>446.04</c:v>
                </c:pt>
                <c:pt idx="510">
                  <c:v>446.78999999999945</c:v>
                </c:pt>
                <c:pt idx="511">
                  <c:v>446.03</c:v>
                </c:pt>
                <c:pt idx="512">
                  <c:v>442.56</c:v>
                </c:pt>
                <c:pt idx="513">
                  <c:v>442.54</c:v>
                </c:pt>
                <c:pt idx="514">
                  <c:v>442.54</c:v>
                </c:pt>
                <c:pt idx="515">
                  <c:v>441.63</c:v>
                </c:pt>
                <c:pt idx="516">
                  <c:v>441.64000000000038</c:v>
                </c:pt>
                <c:pt idx="517">
                  <c:v>443.24</c:v>
                </c:pt>
                <c:pt idx="518">
                  <c:v>445.31</c:v>
                </c:pt>
                <c:pt idx="519">
                  <c:v>445.31</c:v>
                </c:pt>
                <c:pt idx="520">
                  <c:v>444.58</c:v>
                </c:pt>
                <c:pt idx="521">
                  <c:v>444.21999999999969</c:v>
                </c:pt>
                <c:pt idx="522">
                  <c:v>455.78</c:v>
                </c:pt>
                <c:pt idx="523">
                  <c:v>467</c:v>
                </c:pt>
                <c:pt idx="524">
                  <c:v>462.85</c:v>
                </c:pt>
                <c:pt idx="525">
                  <c:v>463.13</c:v>
                </c:pt>
                <c:pt idx="526">
                  <c:v>456.81</c:v>
                </c:pt>
                <c:pt idx="527">
                  <c:v>448.05</c:v>
                </c:pt>
                <c:pt idx="528">
                  <c:v>445.17</c:v>
                </c:pt>
                <c:pt idx="529">
                  <c:v>443.94</c:v>
                </c:pt>
                <c:pt idx="530">
                  <c:v>443.59</c:v>
                </c:pt>
                <c:pt idx="531">
                  <c:v>444</c:v>
                </c:pt>
                <c:pt idx="532">
                  <c:v>441.34000000000032</c:v>
                </c:pt>
                <c:pt idx="533">
                  <c:v>425.46</c:v>
                </c:pt>
                <c:pt idx="534">
                  <c:v>425.42999999999938</c:v>
                </c:pt>
                <c:pt idx="535">
                  <c:v>419.78999999999945</c:v>
                </c:pt>
                <c:pt idx="536">
                  <c:v>417.9689999999992</c:v>
                </c:pt>
                <c:pt idx="537">
                  <c:v>411.28999999999945</c:v>
                </c:pt>
                <c:pt idx="538">
                  <c:v>398.51</c:v>
                </c:pt>
                <c:pt idx="539">
                  <c:v>396.34000000000032</c:v>
                </c:pt>
                <c:pt idx="540">
                  <c:v>400.06</c:v>
                </c:pt>
                <c:pt idx="541">
                  <c:v>395.35</c:v>
                </c:pt>
                <c:pt idx="542">
                  <c:v>379.46999999999969</c:v>
                </c:pt>
                <c:pt idx="543">
                  <c:v>379.03</c:v>
                </c:pt>
                <c:pt idx="544">
                  <c:v>365.07</c:v>
                </c:pt>
                <c:pt idx="545">
                  <c:v>365.5</c:v>
                </c:pt>
                <c:pt idx="546">
                  <c:v>363.75</c:v>
                </c:pt>
                <c:pt idx="547">
                  <c:v>365.03</c:v>
                </c:pt>
                <c:pt idx="548">
                  <c:v>364.55</c:v>
                </c:pt>
                <c:pt idx="549">
                  <c:v>369.5</c:v>
                </c:pt>
                <c:pt idx="550">
                  <c:v>370.82</c:v>
                </c:pt>
                <c:pt idx="551">
                  <c:v>373.28999999999945</c:v>
                </c:pt>
                <c:pt idx="552">
                  <c:v>374.47999999999945</c:v>
                </c:pt>
                <c:pt idx="553">
                  <c:v>378.75</c:v>
                </c:pt>
                <c:pt idx="554">
                  <c:v>374.52</c:v>
                </c:pt>
                <c:pt idx="555">
                  <c:v>373.38</c:v>
                </c:pt>
                <c:pt idx="556">
                  <c:v>366.90999999999963</c:v>
                </c:pt>
                <c:pt idx="557">
                  <c:v>366.16</c:v>
                </c:pt>
                <c:pt idx="558">
                  <c:v>364.98999999999938</c:v>
                </c:pt>
                <c:pt idx="559">
                  <c:v>355.04</c:v>
                </c:pt>
                <c:pt idx="560">
                  <c:v>354.55</c:v>
                </c:pt>
                <c:pt idx="561">
                  <c:v>351.76</c:v>
                </c:pt>
                <c:pt idx="562">
                  <c:v>348.3</c:v>
                </c:pt>
                <c:pt idx="563">
                  <c:v>340.28</c:v>
                </c:pt>
                <c:pt idx="564">
                  <c:v>330.16</c:v>
                </c:pt>
                <c:pt idx="565">
                  <c:v>328.27</c:v>
                </c:pt>
                <c:pt idx="566">
                  <c:v>335.92999999999938</c:v>
                </c:pt>
                <c:pt idx="567">
                  <c:v>333.98999999999938</c:v>
                </c:pt>
                <c:pt idx="568">
                  <c:v>332.88</c:v>
                </c:pt>
                <c:pt idx="569">
                  <c:v>330.42999999999938</c:v>
                </c:pt>
                <c:pt idx="570">
                  <c:v>324.47000000000003</c:v>
                </c:pt>
                <c:pt idx="571">
                  <c:v>308.44</c:v>
                </c:pt>
                <c:pt idx="572">
                  <c:v>295.63</c:v>
                </c:pt>
                <c:pt idx="573">
                  <c:v>296.14800000000002</c:v>
                </c:pt>
                <c:pt idx="574">
                  <c:v>294.92999999999938</c:v>
                </c:pt>
                <c:pt idx="575">
                  <c:v>293.72000000000003</c:v>
                </c:pt>
                <c:pt idx="576">
                  <c:v>296.33999999999969</c:v>
                </c:pt>
                <c:pt idx="577">
                  <c:v>296.54000000000002</c:v>
                </c:pt>
                <c:pt idx="578">
                  <c:v>306.52999999999969</c:v>
                </c:pt>
                <c:pt idx="579">
                  <c:v>309.16000000000008</c:v>
                </c:pt>
                <c:pt idx="580">
                  <c:v>309.72000000000003</c:v>
                </c:pt>
                <c:pt idx="581">
                  <c:v>306.86</c:v>
                </c:pt>
                <c:pt idx="582">
                  <c:v>306.17</c:v>
                </c:pt>
                <c:pt idx="583">
                  <c:v>311.10000000000002</c:v>
                </c:pt>
                <c:pt idx="584">
                  <c:v>310.88</c:v>
                </c:pt>
                <c:pt idx="585">
                  <c:v>310.26</c:v>
                </c:pt>
                <c:pt idx="586">
                  <c:v>314.14999999999998</c:v>
                </c:pt>
                <c:pt idx="587">
                  <c:v>318.02999999999969</c:v>
                </c:pt>
                <c:pt idx="588">
                  <c:v>318.68</c:v>
                </c:pt>
                <c:pt idx="589">
                  <c:v>316.38</c:v>
                </c:pt>
                <c:pt idx="590">
                  <c:v>320.07</c:v>
                </c:pt>
                <c:pt idx="591">
                  <c:v>331.9</c:v>
                </c:pt>
                <c:pt idx="592">
                  <c:v>332.90999999999963</c:v>
                </c:pt>
                <c:pt idx="593">
                  <c:v>330.46999999999969</c:v>
                </c:pt>
                <c:pt idx="594">
                  <c:v>329.74</c:v>
                </c:pt>
                <c:pt idx="595">
                  <c:v>330.99599999999907</c:v>
                </c:pt>
                <c:pt idx="596">
                  <c:v>327.32</c:v>
                </c:pt>
                <c:pt idx="597">
                  <c:v>329.52099999999945</c:v>
                </c:pt>
                <c:pt idx="598">
                  <c:v>329.30399999999969</c:v>
                </c:pt>
                <c:pt idx="599">
                  <c:v>331.72999999999945</c:v>
                </c:pt>
                <c:pt idx="600">
                  <c:v>337.21699999999913</c:v>
                </c:pt>
                <c:pt idx="601">
                  <c:v>335.78</c:v>
                </c:pt>
                <c:pt idx="602">
                  <c:v>335.03</c:v>
                </c:pt>
                <c:pt idx="603">
                  <c:v>335.06</c:v>
                </c:pt>
                <c:pt idx="604">
                  <c:v>336.54</c:v>
                </c:pt>
                <c:pt idx="605">
                  <c:v>337.52</c:v>
                </c:pt>
                <c:pt idx="606">
                  <c:v>335.08</c:v>
                </c:pt>
                <c:pt idx="607">
                  <c:v>338.36</c:v>
                </c:pt>
                <c:pt idx="608">
                  <c:v>335.9</c:v>
                </c:pt>
                <c:pt idx="609">
                  <c:v>334.14000000000038</c:v>
                </c:pt>
                <c:pt idx="610">
                  <c:v>334.14000000000038</c:v>
                </c:pt>
                <c:pt idx="611">
                  <c:v>340.39</c:v>
                </c:pt>
                <c:pt idx="612">
                  <c:v>353.66</c:v>
                </c:pt>
                <c:pt idx="613">
                  <c:v>354.33</c:v>
                </c:pt>
                <c:pt idx="614">
                  <c:v>357.32</c:v>
                </c:pt>
                <c:pt idx="615">
                  <c:v>386.66</c:v>
                </c:pt>
                <c:pt idx="616">
                  <c:v>392.33</c:v>
                </c:pt>
                <c:pt idx="617">
                  <c:v>400</c:v>
                </c:pt>
                <c:pt idx="618">
                  <c:v>408.33</c:v>
                </c:pt>
                <c:pt idx="619">
                  <c:v>416.66</c:v>
                </c:pt>
                <c:pt idx="620">
                  <c:v>415.37</c:v>
                </c:pt>
                <c:pt idx="621">
                  <c:v>404.33</c:v>
                </c:pt>
                <c:pt idx="622">
                  <c:v>426.66</c:v>
                </c:pt>
                <c:pt idx="623">
                  <c:v>434.94</c:v>
                </c:pt>
                <c:pt idx="624">
                  <c:v>442.33</c:v>
                </c:pt>
                <c:pt idx="625">
                  <c:v>445</c:v>
                </c:pt>
                <c:pt idx="626">
                  <c:v>441.66</c:v>
                </c:pt>
                <c:pt idx="627">
                  <c:v>464</c:v>
                </c:pt>
                <c:pt idx="628">
                  <c:v>468.33</c:v>
                </c:pt>
                <c:pt idx="629">
                  <c:v>476.66</c:v>
                </c:pt>
                <c:pt idx="630">
                  <c:v>476.666</c:v>
                </c:pt>
                <c:pt idx="631">
                  <c:v>476.666</c:v>
                </c:pt>
                <c:pt idx="632">
                  <c:v>462.1</c:v>
                </c:pt>
                <c:pt idx="633">
                  <c:v>449.56</c:v>
                </c:pt>
                <c:pt idx="634">
                  <c:v>453.58</c:v>
                </c:pt>
                <c:pt idx="635">
                  <c:v>448.38</c:v>
                </c:pt>
                <c:pt idx="636">
                  <c:v>448.67</c:v>
                </c:pt>
                <c:pt idx="637">
                  <c:v>435.25</c:v>
                </c:pt>
                <c:pt idx="638">
                  <c:v>433.78999999999945</c:v>
                </c:pt>
                <c:pt idx="639">
                  <c:v>426.05</c:v>
                </c:pt>
                <c:pt idx="640">
                  <c:v>426.67</c:v>
                </c:pt>
                <c:pt idx="641">
                  <c:v>415.5</c:v>
                </c:pt>
                <c:pt idx="642">
                  <c:v>409.03</c:v>
                </c:pt>
                <c:pt idx="643">
                  <c:v>415.06</c:v>
                </c:pt>
                <c:pt idx="644">
                  <c:v>418.56900000000002</c:v>
                </c:pt>
                <c:pt idx="645">
                  <c:v>424.56</c:v>
                </c:pt>
                <c:pt idx="646">
                  <c:v>423.81</c:v>
                </c:pt>
                <c:pt idx="647">
                  <c:v>422.12</c:v>
                </c:pt>
                <c:pt idx="648">
                  <c:v>425.44</c:v>
                </c:pt>
                <c:pt idx="649">
                  <c:v>414.35</c:v>
                </c:pt>
                <c:pt idx="650">
                  <c:v>408.21</c:v>
                </c:pt>
                <c:pt idx="651">
                  <c:v>404.96999999999969</c:v>
                </c:pt>
                <c:pt idx="652">
                  <c:v>394.01</c:v>
                </c:pt>
                <c:pt idx="653">
                  <c:v>407.7</c:v>
                </c:pt>
                <c:pt idx="654">
                  <c:v>417.34000000000032</c:v>
                </c:pt>
                <c:pt idx="655">
                  <c:v>430.53</c:v>
                </c:pt>
                <c:pt idx="656">
                  <c:v>439.32</c:v>
                </c:pt>
                <c:pt idx="657">
                  <c:v>422.92999999999938</c:v>
                </c:pt>
                <c:pt idx="658">
                  <c:v>419.28</c:v>
                </c:pt>
                <c:pt idx="659">
                  <c:v>419.97999999999945</c:v>
                </c:pt>
                <c:pt idx="660">
                  <c:v>417.38</c:v>
                </c:pt>
                <c:pt idx="661">
                  <c:v>405.14000000000038</c:v>
                </c:pt>
                <c:pt idx="662">
                  <c:v>402.26</c:v>
                </c:pt>
                <c:pt idx="663">
                  <c:v>399.8</c:v>
                </c:pt>
                <c:pt idx="664">
                  <c:v>407.97999999999945</c:v>
                </c:pt>
                <c:pt idx="665">
                  <c:v>440.64000000000038</c:v>
                </c:pt>
                <c:pt idx="666">
                  <c:v>445.58</c:v>
                </c:pt>
                <c:pt idx="667">
                  <c:v>441.61</c:v>
                </c:pt>
                <c:pt idx="668">
                  <c:v>432.46999999999969</c:v>
                </c:pt>
                <c:pt idx="669">
                  <c:v>420.69</c:v>
                </c:pt>
                <c:pt idx="670">
                  <c:v>414.69</c:v>
                </c:pt>
                <c:pt idx="671">
                  <c:v>413.96999999999969</c:v>
                </c:pt>
                <c:pt idx="672">
                  <c:v>408.2</c:v>
                </c:pt>
                <c:pt idx="673">
                  <c:v>410.38</c:v>
                </c:pt>
                <c:pt idx="674">
                  <c:v>404.26</c:v>
                </c:pt>
                <c:pt idx="675">
                  <c:v>397.36</c:v>
                </c:pt>
                <c:pt idx="676">
                  <c:v>396.11</c:v>
                </c:pt>
                <c:pt idx="677">
                  <c:v>400.85</c:v>
                </c:pt>
                <c:pt idx="678">
                  <c:v>402.37</c:v>
                </c:pt>
                <c:pt idx="679">
                  <c:v>407.57599999999945</c:v>
                </c:pt>
                <c:pt idx="680">
                  <c:v>408.48999999999938</c:v>
                </c:pt>
                <c:pt idx="681">
                  <c:v>406.54</c:v>
                </c:pt>
                <c:pt idx="682">
                  <c:v>408.31</c:v>
                </c:pt>
                <c:pt idx="683">
                  <c:v>397.41999999999945</c:v>
                </c:pt>
                <c:pt idx="684">
                  <c:v>398.41022500000003</c:v>
                </c:pt>
                <c:pt idx="685">
                  <c:v>398.21999999999969</c:v>
                </c:pt>
                <c:pt idx="686">
                  <c:v>389.02</c:v>
                </c:pt>
                <c:pt idx="687">
                  <c:v>390.02</c:v>
                </c:pt>
                <c:pt idx="688">
                  <c:v>395.51</c:v>
                </c:pt>
                <c:pt idx="689">
                  <c:v>397.47999999999945</c:v>
                </c:pt>
                <c:pt idx="690">
                  <c:v>397.51</c:v>
                </c:pt>
                <c:pt idx="691">
                  <c:v>397.67</c:v>
                </c:pt>
                <c:pt idx="692">
                  <c:v>397.17</c:v>
                </c:pt>
                <c:pt idx="693">
                  <c:v>397.89</c:v>
                </c:pt>
                <c:pt idx="694">
                  <c:v>396.94</c:v>
                </c:pt>
                <c:pt idx="695">
                  <c:v>398.31</c:v>
                </c:pt>
                <c:pt idx="696">
                  <c:v>393.2</c:v>
                </c:pt>
                <c:pt idx="697">
                  <c:v>390</c:v>
                </c:pt>
                <c:pt idx="698">
                  <c:v>379.63</c:v>
                </c:pt>
                <c:pt idx="699">
                  <c:v>368.75</c:v>
                </c:pt>
                <c:pt idx="700">
                  <c:v>339.83</c:v>
                </c:pt>
                <c:pt idx="701">
                  <c:v>338.57</c:v>
                </c:pt>
                <c:pt idx="702">
                  <c:v>336.65000000000032</c:v>
                </c:pt>
                <c:pt idx="703">
                  <c:v>337.28999999999945</c:v>
                </c:pt>
                <c:pt idx="704">
                  <c:v>324.39</c:v>
                </c:pt>
                <c:pt idx="705">
                  <c:v>323.95999999999964</c:v>
                </c:pt>
                <c:pt idx="706">
                  <c:v>318.45800000000003</c:v>
                </c:pt>
                <c:pt idx="707">
                  <c:v>316.45800000000003</c:v>
                </c:pt>
                <c:pt idx="708">
                  <c:v>313.72999999999945</c:v>
                </c:pt>
                <c:pt idx="709">
                  <c:v>318.75</c:v>
                </c:pt>
                <c:pt idx="710">
                  <c:v>326.38</c:v>
                </c:pt>
                <c:pt idx="711">
                  <c:v>318.72999999999945</c:v>
                </c:pt>
                <c:pt idx="712">
                  <c:v>325.38</c:v>
                </c:pt>
                <c:pt idx="713">
                  <c:v>321.77999999999969</c:v>
                </c:pt>
                <c:pt idx="714">
                  <c:v>320.452</c:v>
                </c:pt>
                <c:pt idx="715">
                  <c:v>317.25299999999999</c:v>
                </c:pt>
                <c:pt idx="716">
                  <c:v>304.17599999999999</c:v>
                </c:pt>
                <c:pt idx="717">
                  <c:v>282.58799999999945</c:v>
                </c:pt>
                <c:pt idx="718">
                  <c:v>283.25400000000002</c:v>
                </c:pt>
                <c:pt idx="719">
                  <c:v>272.399</c:v>
                </c:pt>
                <c:pt idx="720">
                  <c:v>273.10700000000008</c:v>
                </c:pt>
                <c:pt idx="721">
                  <c:v>273.11700000000002</c:v>
                </c:pt>
                <c:pt idx="722">
                  <c:v>269.7839999999992</c:v>
                </c:pt>
                <c:pt idx="723">
                  <c:v>241.12</c:v>
                </c:pt>
                <c:pt idx="724">
                  <c:v>233.79</c:v>
                </c:pt>
                <c:pt idx="725">
                  <c:v>213.89200000000028</c:v>
                </c:pt>
                <c:pt idx="726">
                  <c:v>208.38300000000001</c:v>
                </c:pt>
              </c:numCache>
            </c:numRef>
          </c:val>
          <c:smooth val="0"/>
        </c:ser>
        <c:dLbls>
          <c:showLegendKey val="0"/>
          <c:showVal val="0"/>
          <c:showCatName val="0"/>
          <c:showSerName val="0"/>
          <c:showPercent val="0"/>
          <c:showBubbleSize val="0"/>
        </c:dLbls>
        <c:marker val="1"/>
        <c:smooth val="0"/>
        <c:axId val="128780160"/>
        <c:axId val="128778624"/>
      </c:lineChart>
      <c:dateAx>
        <c:axId val="129164416"/>
        <c:scaling>
          <c:orientation val="minMax"/>
        </c:scaling>
        <c:delete val="0"/>
        <c:axPos val="b"/>
        <c:numFmt formatCode="[$-409]mmm\-yy;@" sourceLinked="1"/>
        <c:majorTickMark val="out"/>
        <c:minorTickMark val="none"/>
        <c:tickLblPos val="nextTo"/>
        <c:crossAx val="129165952"/>
        <c:crosses val="autoZero"/>
        <c:auto val="1"/>
        <c:lblOffset val="100"/>
        <c:baseTimeUnit val="days"/>
        <c:majorUnit val="3"/>
        <c:majorTimeUnit val="months"/>
        <c:minorUnit val="1"/>
        <c:minorTimeUnit val="months"/>
      </c:dateAx>
      <c:valAx>
        <c:axId val="129165952"/>
        <c:scaling>
          <c:orientation val="minMax"/>
        </c:scaling>
        <c:delete val="0"/>
        <c:axPos val="l"/>
        <c:numFmt formatCode="0.00" sourceLinked="1"/>
        <c:majorTickMark val="out"/>
        <c:minorTickMark val="none"/>
        <c:tickLblPos val="nextTo"/>
        <c:crossAx val="129164416"/>
        <c:crosses val="autoZero"/>
        <c:crossBetween val="between"/>
      </c:valAx>
      <c:valAx>
        <c:axId val="128778624"/>
        <c:scaling>
          <c:orientation val="minMax"/>
        </c:scaling>
        <c:delete val="0"/>
        <c:axPos val="r"/>
        <c:numFmt formatCode="0" sourceLinked="1"/>
        <c:majorTickMark val="out"/>
        <c:minorTickMark val="none"/>
        <c:tickLblPos val="nextTo"/>
        <c:txPr>
          <a:bodyPr/>
          <a:lstStyle/>
          <a:p>
            <a:pPr>
              <a:defRPr baseline="0">
                <a:solidFill>
                  <a:srgbClr val="FF5200"/>
                </a:solidFill>
              </a:defRPr>
            </a:pPr>
            <a:endParaRPr lang="it-IT"/>
          </a:p>
        </c:txPr>
        <c:crossAx val="128780160"/>
        <c:crosses val="max"/>
        <c:crossBetween val="between"/>
      </c:valAx>
      <c:dateAx>
        <c:axId val="128780160"/>
        <c:scaling>
          <c:orientation val="minMax"/>
        </c:scaling>
        <c:delete val="1"/>
        <c:axPos val="b"/>
        <c:numFmt formatCode="[$-409]mmm\-yy;@" sourceLinked="1"/>
        <c:majorTickMark val="out"/>
        <c:minorTickMark val="none"/>
        <c:tickLblPos val="none"/>
        <c:crossAx val="128778624"/>
        <c:crosses val="autoZero"/>
        <c:auto val="1"/>
        <c:lblOffset val="100"/>
        <c:baseTimeUnit val="days"/>
      </c:dateAx>
    </c:plotArea>
    <c:legend>
      <c:legendPos val="r"/>
      <c:layout>
        <c:manualLayout>
          <c:xMode val="edge"/>
          <c:yMode val="edge"/>
          <c:x val="0.52344392289745556"/>
          <c:y val="0.49933084920389065"/>
          <c:w val="0.30009773219642266"/>
          <c:h val="0.28828193066267532"/>
        </c:manualLayout>
      </c:layout>
      <c:overlay val="0"/>
    </c:legend>
    <c:plotVisOnly val="1"/>
    <c:dispBlanksAs val="gap"/>
    <c:showDLblsOverMax val="0"/>
  </c:chart>
  <c:spPr>
    <a:ln>
      <a:solidFill>
        <a:srgbClr val="FFFFFF">
          <a:lumMod val="50000"/>
        </a:srgbClr>
      </a:solidFill>
    </a:ln>
  </c:sp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1032787568220724E-2"/>
          <c:y val="4.2141294838145445E-2"/>
          <c:w val="0.91577861420741025"/>
          <c:h val="0.76403161994346436"/>
        </c:manualLayout>
      </c:layout>
      <c:lineChart>
        <c:grouping val="standard"/>
        <c:varyColors val="0"/>
        <c:ser>
          <c:idx val="3"/>
          <c:order val="0"/>
          <c:tx>
            <c:strRef>
              <c:f>Sheet5!$C$6</c:f>
              <c:strCache>
                <c:ptCount val="1"/>
                <c:pt idx="0">
                  <c:v>ROBOR 3M</c:v>
                </c:pt>
              </c:strCache>
            </c:strRef>
          </c:tx>
          <c:spPr>
            <a:ln>
              <a:solidFill>
                <a:srgbClr val="99CC00"/>
              </a:solidFill>
            </a:ln>
          </c:spPr>
          <c:marker>
            <c:symbol val="none"/>
          </c:marker>
          <c:cat>
            <c:numRef>
              <c:f>Sheet5!$B$7:$B$1456</c:f>
              <c:numCache>
                <c:formatCode>[$-409]mmm\-yy;@</c:formatCode>
                <c:ptCount val="1450"/>
                <c:pt idx="0">
                  <c:v>41197</c:v>
                </c:pt>
                <c:pt idx="1">
                  <c:v>41194</c:v>
                </c:pt>
                <c:pt idx="2">
                  <c:v>41193</c:v>
                </c:pt>
                <c:pt idx="3">
                  <c:v>41192</c:v>
                </c:pt>
                <c:pt idx="4">
                  <c:v>41191</c:v>
                </c:pt>
                <c:pt idx="5">
                  <c:v>41190</c:v>
                </c:pt>
                <c:pt idx="6">
                  <c:v>41187</c:v>
                </c:pt>
                <c:pt idx="7">
                  <c:v>41186</c:v>
                </c:pt>
                <c:pt idx="8">
                  <c:v>41185</c:v>
                </c:pt>
                <c:pt idx="9">
                  <c:v>41184</c:v>
                </c:pt>
                <c:pt idx="10">
                  <c:v>41183</c:v>
                </c:pt>
                <c:pt idx="11">
                  <c:v>41180</c:v>
                </c:pt>
                <c:pt idx="12">
                  <c:v>41179</c:v>
                </c:pt>
                <c:pt idx="13">
                  <c:v>41178</c:v>
                </c:pt>
                <c:pt idx="14">
                  <c:v>41177</c:v>
                </c:pt>
                <c:pt idx="15">
                  <c:v>41176</c:v>
                </c:pt>
                <c:pt idx="16">
                  <c:v>41173</c:v>
                </c:pt>
                <c:pt idx="17">
                  <c:v>41172</c:v>
                </c:pt>
                <c:pt idx="18">
                  <c:v>41171</c:v>
                </c:pt>
                <c:pt idx="19">
                  <c:v>41170</c:v>
                </c:pt>
                <c:pt idx="20">
                  <c:v>41169</c:v>
                </c:pt>
                <c:pt idx="21">
                  <c:v>41166</c:v>
                </c:pt>
                <c:pt idx="22">
                  <c:v>41165</c:v>
                </c:pt>
                <c:pt idx="23">
                  <c:v>41164</c:v>
                </c:pt>
                <c:pt idx="24">
                  <c:v>41163</c:v>
                </c:pt>
                <c:pt idx="25">
                  <c:v>41162</c:v>
                </c:pt>
                <c:pt idx="26">
                  <c:v>41159</c:v>
                </c:pt>
                <c:pt idx="27">
                  <c:v>41158</c:v>
                </c:pt>
                <c:pt idx="28">
                  <c:v>41157</c:v>
                </c:pt>
                <c:pt idx="29">
                  <c:v>41156</c:v>
                </c:pt>
                <c:pt idx="30">
                  <c:v>41155</c:v>
                </c:pt>
                <c:pt idx="31">
                  <c:v>41152</c:v>
                </c:pt>
                <c:pt idx="32">
                  <c:v>41151</c:v>
                </c:pt>
                <c:pt idx="33">
                  <c:v>41150</c:v>
                </c:pt>
                <c:pt idx="34">
                  <c:v>41149</c:v>
                </c:pt>
                <c:pt idx="35">
                  <c:v>41148</c:v>
                </c:pt>
                <c:pt idx="36">
                  <c:v>41145</c:v>
                </c:pt>
                <c:pt idx="37">
                  <c:v>41144</c:v>
                </c:pt>
                <c:pt idx="38">
                  <c:v>41143</c:v>
                </c:pt>
                <c:pt idx="39">
                  <c:v>41142</c:v>
                </c:pt>
                <c:pt idx="40">
                  <c:v>41141</c:v>
                </c:pt>
                <c:pt idx="41">
                  <c:v>41138</c:v>
                </c:pt>
                <c:pt idx="42">
                  <c:v>41137</c:v>
                </c:pt>
                <c:pt idx="43">
                  <c:v>41135</c:v>
                </c:pt>
                <c:pt idx="44">
                  <c:v>41134</c:v>
                </c:pt>
                <c:pt idx="45">
                  <c:v>41131</c:v>
                </c:pt>
                <c:pt idx="46">
                  <c:v>41130</c:v>
                </c:pt>
                <c:pt idx="47">
                  <c:v>41129</c:v>
                </c:pt>
                <c:pt idx="48">
                  <c:v>41128</c:v>
                </c:pt>
                <c:pt idx="49">
                  <c:v>41127</c:v>
                </c:pt>
                <c:pt idx="50">
                  <c:v>41124</c:v>
                </c:pt>
                <c:pt idx="51">
                  <c:v>41123</c:v>
                </c:pt>
                <c:pt idx="52">
                  <c:v>41122</c:v>
                </c:pt>
                <c:pt idx="53">
                  <c:v>41121</c:v>
                </c:pt>
                <c:pt idx="54">
                  <c:v>41120</c:v>
                </c:pt>
                <c:pt idx="55">
                  <c:v>41117</c:v>
                </c:pt>
                <c:pt idx="56">
                  <c:v>41116</c:v>
                </c:pt>
                <c:pt idx="57">
                  <c:v>41115</c:v>
                </c:pt>
                <c:pt idx="58">
                  <c:v>41114</c:v>
                </c:pt>
                <c:pt idx="59">
                  <c:v>41113</c:v>
                </c:pt>
                <c:pt idx="60">
                  <c:v>41110</c:v>
                </c:pt>
                <c:pt idx="61">
                  <c:v>41109</c:v>
                </c:pt>
                <c:pt idx="62">
                  <c:v>41108</c:v>
                </c:pt>
                <c:pt idx="63">
                  <c:v>41107</c:v>
                </c:pt>
                <c:pt idx="64">
                  <c:v>41106</c:v>
                </c:pt>
                <c:pt idx="65">
                  <c:v>41103</c:v>
                </c:pt>
                <c:pt idx="66">
                  <c:v>41102</c:v>
                </c:pt>
                <c:pt idx="67">
                  <c:v>41101</c:v>
                </c:pt>
                <c:pt idx="68">
                  <c:v>41100</c:v>
                </c:pt>
                <c:pt idx="69">
                  <c:v>41099</c:v>
                </c:pt>
                <c:pt idx="70">
                  <c:v>41096</c:v>
                </c:pt>
                <c:pt idx="71">
                  <c:v>41095</c:v>
                </c:pt>
                <c:pt idx="72">
                  <c:v>41094</c:v>
                </c:pt>
                <c:pt idx="73">
                  <c:v>41093</c:v>
                </c:pt>
                <c:pt idx="74">
                  <c:v>41092</c:v>
                </c:pt>
                <c:pt idx="75">
                  <c:v>41089</c:v>
                </c:pt>
                <c:pt idx="76">
                  <c:v>41088</c:v>
                </c:pt>
                <c:pt idx="77">
                  <c:v>41087</c:v>
                </c:pt>
                <c:pt idx="78">
                  <c:v>41086</c:v>
                </c:pt>
                <c:pt idx="79">
                  <c:v>41085</c:v>
                </c:pt>
                <c:pt idx="80">
                  <c:v>41082</c:v>
                </c:pt>
                <c:pt idx="81">
                  <c:v>41081</c:v>
                </c:pt>
                <c:pt idx="82">
                  <c:v>41080</c:v>
                </c:pt>
                <c:pt idx="83">
                  <c:v>41079</c:v>
                </c:pt>
                <c:pt idx="84">
                  <c:v>41078</c:v>
                </c:pt>
                <c:pt idx="85">
                  <c:v>41075</c:v>
                </c:pt>
                <c:pt idx="86">
                  <c:v>41074</c:v>
                </c:pt>
                <c:pt idx="87">
                  <c:v>41073</c:v>
                </c:pt>
                <c:pt idx="88">
                  <c:v>41072</c:v>
                </c:pt>
                <c:pt idx="89">
                  <c:v>41071</c:v>
                </c:pt>
                <c:pt idx="90">
                  <c:v>41068</c:v>
                </c:pt>
                <c:pt idx="91">
                  <c:v>41067</c:v>
                </c:pt>
                <c:pt idx="92">
                  <c:v>41066</c:v>
                </c:pt>
                <c:pt idx="93">
                  <c:v>41065</c:v>
                </c:pt>
                <c:pt idx="94">
                  <c:v>41061</c:v>
                </c:pt>
                <c:pt idx="95">
                  <c:v>41060</c:v>
                </c:pt>
                <c:pt idx="96">
                  <c:v>41059</c:v>
                </c:pt>
                <c:pt idx="97">
                  <c:v>41058</c:v>
                </c:pt>
                <c:pt idx="98">
                  <c:v>41057</c:v>
                </c:pt>
                <c:pt idx="99">
                  <c:v>41054</c:v>
                </c:pt>
                <c:pt idx="100">
                  <c:v>41053</c:v>
                </c:pt>
                <c:pt idx="101">
                  <c:v>41052</c:v>
                </c:pt>
                <c:pt idx="102">
                  <c:v>41051</c:v>
                </c:pt>
                <c:pt idx="103">
                  <c:v>41050</c:v>
                </c:pt>
                <c:pt idx="104">
                  <c:v>41047</c:v>
                </c:pt>
                <c:pt idx="105">
                  <c:v>41046</c:v>
                </c:pt>
                <c:pt idx="106">
                  <c:v>41045</c:v>
                </c:pt>
                <c:pt idx="107">
                  <c:v>41044</c:v>
                </c:pt>
                <c:pt idx="108">
                  <c:v>41043</c:v>
                </c:pt>
                <c:pt idx="109">
                  <c:v>41040</c:v>
                </c:pt>
                <c:pt idx="110">
                  <c:v>41039</c:v>
                </c:pt>
                <c:pt idx="111">
                  <c:v>41038</c:v>
                </c:pt>
                <c:pt idx="112">
                  <c:v>41037</c:v>
                </c:pt>
                <c:pt idx="113">
                  <c:v>41036</c:v>
                </c:pt>
                <c:pt idx="114">
                  <c:v>41033</c:v>
                </c:pt>
                <c:pt idx="115">
                  <c:v>41032</c:v>
                </c:pt>
                <c:pt idx="116">
                  <c:v>41031</c:v>
                </c:pt>
                <c:pt idx="117">
                  <c:v>41029</c:v>
                </c:pt>
                <c:pt idx="118">
                  <c:v>41026</c:v>
                </c:pt>
                <c:pt idx="119">
                  <c:v>41025</c:v>
                </c:pt>
                <c:pt idx="120">
                  <c:v>41024</c:v>
                </c:pt>
                <c:pt idx="121">
                  <c:v>41023</c:v>
                </c:pt>
                <c:pt idx="122">
                  <c:v>41022</c:v>
                </c:pt>
                <c:pt idx="123">
                  <c:v>41019</c:v>
                </c:pt>
                <c:pt idx="124">
                  <c:v>41018</c:v>
                </c:pt>
                <c:pt idx="125">
                  <c:v>41017</c:v>
                </c:pt>
                <c:pt idx="126">
                  <c:v>41016</c:v>
                </c:pt>
                <c:pt idx="127">
                  <c:v>41012</c:v>
                </c:pt>
                <c:pt idx="128">
                  <c:v>41011</c:v>
                </c:pt>
                <c:pt idx="129">
                  <c:v>41010</c:v>
                </c:pt>
                <c:pt idx="130">
                  <c:v>41009</c:v>
                </c:pt>
                <c:pt idx="131">
                  <c:v>41008</c:v>
                </c:pt>
                <c:pt idx="132">
                  <c:v>41005</c:v>
                </c:pt>
                <c:pt idx="133">
                  <c:v>41004</c:v>
                </c:pt>
                <c:pt idx="134">
                  <c:v>41003</c:v>
                </c:pt>
                <c:pt idx="135">
                  <c:v>41002</c:v>
                </c:pt>
                <c:pt idx="136">
                  <c:v>41001</c:v>
                </c:pt>
                <c:pt idx="137">
                  <c:v>40998</c:v>
                </c:pt>
                <c:pt idx="138">
                  <c:v>40997</c:v>
                </c:pt>
                <c:pt idx="139">
                  <c:v>40996</c:v>
                </c:pt>
                <c:pt idx="140">
                  <c:v>40995</c:v>
                </c:pt>
                <c:pt idx="141">
                  <c:v>40994</c:v>
                </c:pt>
                <c:pt idx="142">
                  <c:v>40991</c:v>
                </c:pt>
                <c:pt idx="143">
                  <c:v>40990</c:v>
                </c:pt>
                <c:pt idx="144">
                  <c:v>40989</c:v>
                </c:pt>
                <c:pt idx="145">
                  <c:v>40988</c:v>
                </c:pt>
                <c:pt idx="146">
                  <c:v>40987</c:v>
                </c:pt>
                <c:pt idx="147">
                  <c:v>40984</c:v>
                </c:pt>
                <c:pt idx="148">
                  <c:v>40983</c:v>
                </c:pt>
                <c:pt idx="149">
                  <c:v>40982</c:v>
                </c:pt>
                <c:pt idx="150">
                  <c:v>40981</c:v>
                </c:pt>
                <c:pt idx="151">
                  <c:v>40980</c:v>
                </c:pt>
                <c:pt idx="152">
                  <c:v>40977</c:v>
                </c:pt>
                <c:pt idx="153">
                  <c:v>40976</c:v>
                </c:pt>
                <c:pt idx="154">
                  <c:v>40975</c:v>
                </c:pt>
                <c:pt idx="155">
                  <c:v>40974</c:v>
                </c:pt>
                <c:pt idx="156">
                  <c:v>40973</c:v>
                </c:pt>
                <c:pt idx="157">
                  <c:v>40970</c:v>
                </c:pt>
                <c:pt idx="158">
                  <c:v>40969</c:v>
                </c:pt>
                <c:pt idx="159">
                  <c:v>40968</c:v>
                </c:pt>
                <c:pt idx="160">
                  <c:v>40967</c:v>
                </c:pt>
                <c:pt idx="161">
                  <c:v>40966</c:v>
                </c:pt>
                <c:pt idx="162">
                  <c:v>40963</c:v>
                </c:pt>
                <c:pt idx="163">
                  <c:v>40962</c:v>
                </c:pt>
                <c:pt idx="164">
                  <c:v>40961</c:v>
                </c:pt>
                <c:pt idx="165">
                  <c:v>40960</c:v>
                </c:pt>
                <c:pt idx="166">
                  <c:v>40959</c:v>
                </c:pt>
                <c:pt idx="167">
                  <c:v>40956</c:v>
                </c:pt>
                <c:pt idx="168">
                  <c:v>40955</c:v>
                </c:pt>
                <c:pt idx="169">
                  <c:v>40954</c:v>
                </c:pt>
                <c:pt idx="170">
                  <c:v>40953</c:v>
                </c:pt>
                <c:pt idx="171">
                  <c:v>40952</c:v>
                </c:pt>
                <c:pt idx="172">
                  <c:v>40949</c:v>
                </c:pt>
                <c:pt idx="173">
                  <c:v>40948</c:v>
                </c:pt>
                <c:pt idx="174">
                  <c:v>40947</c:v>
                </c:pt>
                <c:pt idx="175">
                  <c:v>40946</c:v>
                </c:pt>
                <c:pt idx="176">
                  <c:v>40945</c:v>
                </c:pt>
                <c:pt idx="177">
                  <c:v>40942</c:v>
                </c:pt>
                <c:pt idx="178">
                  <c:v>40941</c:v>
                </c:pt>
                <c:pt idx="179">
                  <c:v>40940</c:v>
                </c:pt>
                <c:pt idx="180">
                  <c:v>40939</c:v>
                </c:pt>
                <c:pt idx="181">
                  <c:v>40938</c:v>
                </c:pt>
                <c:pt idx="182">
                  <c:v>40935</c:v>
                </c:pt>
                <c:pt idx="183">
                  <c:v>40934</c:v>
                </c:pt>
                <c:pt idx="184">
                  <c:v>40933</c:v>
                </c:pt>
                <c:pt idx="185">
                  <c:v>40932</c:v>
                </c:pt>
                <c:pt idx="186">
                  <c:v>40931</c:v>
                </c:pt>
                <c:pt idx="187">
                  <c:v>40928</c:v>
                </c:pt>
                <c:pt idx="188">
                  <c:v>40927</c:v>
                </c:pt>
                <c:pt idx="189">
                  <c:v>40926</c:v>
                </c:pt>
                <c:pt idx="190">
                  <c:v>40925</c:v>
                </c:pt>
                <c:pt idx="191">
                  <c:v>40924</c:v>
                </c:pt>
                <c:pt idx="192">
                  <c:v>40921</c:v>
                </c:pt>
                <c:pt idx="193">
                  <c:v>40920</c:v>
                </c:pt>
                <c:pt idx="194">
                  <c:v>40919</c:v>
                </c:pt>
                <c:pt idx="195">
                  <c:v>40918</c:v>
                </c:pt>
                <c:pt idx="196">
                  <c:v>40917</c:v>
                </c:pt>
                <c:pt idx="197">
                  <c:v>40914</c:v>
                </c:pt>
                <c:pt idx="198">
                  <c:v>40913</c:v>
                </c:pt>
                <c:pt idx="199">
                  <c:v>40912</c:v>
                </c:pt>
                <c:pt idx="200">
                  <c:v>40907</c:v>
                </c:pt>
                <c:pt idx="201">
                  <c:v>40906</c:v>
                </c:pt>
                <c:pt idx="202">
                  <c:v>40905</c:v>
                </c:pt>
                <c:pt idx="203">
                  <c:v>40904</c:v>
                </c:pt>
                <c:pt idx="204">
                  <c:v>40900</c:v>
                </c:pt>
                <c:pt idx="205">
                  <c:v>40899</c:v>
                </c:pt>
                <c:pt idx="206">
                  <c:v>40898</c:v>
                </c:pt>
                <c:pt idx="207">
                  <c:v>40897</c:v>
                </c:pt>
                <c:pt idx="208">
                  <c:v>40896</c:v>
                </c:pt>
                <c:pt idx="209">
                  <c:v>40893</c:v>
                </c:pt>
                <c:pt idx="210">
                  <c:v>40892</c:v>
                </c:pt>
                <c:pt idx="211">
                  <c:v>40891</c:v>
                </c:pt>
                <c:pt idx="212">
                  <c:v>40890</c:v>
                </c:pt>
                <c:pt idx="213">
                  <c:v>40889</c:v>
                </c:pt>
                <c:pt idx="214">
                  <c:v>40886</c:v>
                </c:pt>
                <c:pt idx="215">
                  <c:v>40885</c:v>
                </c:pt>
                <c:pt idx="216">
                  <c:v>40884</c:v>
                </c:pt>
                <c:pt idx="217">
                  <c:v>40883</c:v>
                </c:pt>
                <c:pt idx="218">
                  <c:v>40882</c:v>
                </c:pt>
                <c:pt idx="219">
                  <c:v>40879</c:v>
                </c:pt>
                <c:pt idx="220">
                  <c:v>40877</c:v>
                </c:pt>
                <c:pt idx="221">
                  <c:v>40876</c:v>
                </c:pt>
                <c:pt idx="222">
                  <c:v>40875</c:v>
                </c:pt>
                <c:pt idx="223">
                  <c:v>40872</c:v>
                </c:pt>
                <c:pt idx="224">
                  <c:v>40871</c:v>
                </c:pt>
                <c:pt idx="225">
                  <c:v>40870</c:v>
                </c:pt>
                <c:pt idx="226">
                  <c:v>40869</c:v>
                </c:pt>
                <c:pt idx="227">
                  <c:v>40868</c:v>
                </c:pt>
                <c:pt idx="228">
                  <c:v>40865</c:v>
                </c:pt>
                <c:pt idx="229">
                  <c:v>40864</c:v>
                </c:pt>
                <c:pt idx="230">
                  <c:v>40863</c:v>
                </c:pt>
                <c:pt idx="231">
                  <c:v>40862</c:v>
                </c:pt>
                <c:pt idx="232">
                  <c:v>40861</c:v>
                </c:pt>
                <c:pt idx="233">
                  <c:v>40858</c:v>
                </c:pt>
                <c:pt idx="234">
                  <c:v>40857</c:v>
                </c:pt>
                <c:pt idx="235">
                  <c:v>40856</c:v>
                </c:pt>
                <c:pt idx="236">
                  <c:v>40855</c:v>
                </c:pt>
                <c:pt idx="237">
                  <c:v>40854</c:v>
                </c:pt>
                <c:pt idx="238">
                  <c:v>40851</c:v>
                </c:pt>
                <c:pt idx="239">
                  <c:v>40850</c:v>
                </c:pt>
                <c:pt idx="240">
                  <c:v>40849</c:v>
                </c:pt>
                <c:pt idx="241">
                  <c:v>40848</c:v>
                </c:pt>
                <c:pt idx="242">
                  <c:v>40847</c:v>
                </c:pt>
                <c:pt idx="243">
                  <c:v>40844</c:v>
                </c:pt>
                <c:pt idx="244">
                  <c:v>40843</c:v>
                </c:pt>
                <c:pt idx="245">
                  <c:v>40842</c:v>
                </c:pt>
                <c:pt idx="246">
                  <c:v>40841</c:v>
                </c:pt>
                <c:pt idx="247">
                  <c:v>40840</c:v>
                </c:pt>
                <c:pt idx="248">
                  <c:v>40837</c:v>
                </c:pt>
                <c:pt idx="249">
                  <c:v>40836</c:v>
                </c:pt>
                <c:pt idx="250">
                  <c:v>40835</c:v>
                </c:pt>
                <c:pt idx="251">
                  <c:v>40834</c:v>
                </c:pt>
                <c:pt idx="252">
                  <c:v>40833</c:v>
                </c:pt>
                <c:pt idx="253">
                  <c:v>40830</c:v>
                </c:pt>
                <c:pt idx="254">
                  <c:v>40829</c:v>
                </c:pt>
                <c:pt idx="255">
                  <c:v>40828</c:v>
                </c:pt>
                <c:pt idx="256">
                  <c:v>40827</c:v>
                </c:pt>
                <c:pt idx="257">
                  <c:v>40826</c:v>
                </c:pt>
                <c:pt idx="258">
                  <c:v>40823</c:v>
                </c:pt>
                <c:pt idx="259">
                  <c:v>40822</c:v>
                </c:pt>
                <c:pt idx="260">
                  <c:v>40821</c:v>
                </c:pt>
                <c:pt idx="261">
                  <c:v>40820</c:v>
                </c:pt>
                <c:pt idx="262">
                  <c:v>40819</c:v>
                </c:pt>
                <c:pt idx="263">
                  <c:v>40816</c:v>
                </c:pt>
                <c:pt idx="264">
                  <c:v>40815</c:v>
                </c:pt>
                <c:pt idx="265">
                  <c:v>40814</c:v>
                </c:pt>
                <c:pt idx="266">
                  <c:v>40813</c:v>
                </c:pt>
                <c:pt idx="267">
                  <c:v>40812</c:v>
                </c:pt>
                <c:pt idx="268">
                  <c:v>40809</c:v>
                </c:pt>
                <c:pt idx="269">
                  <c:v>40808</c:v>
                </c:pt>
                <c:pt idx="270">
                  <c:v>40807</c:v>
                </c:pt>
                <c:pt idx="271">
                  <c:v>40806</c:v>
                </c:pt>
                <c:pt idx="272">
                  <c:v>40805</c:v>
                </c:pt>
                <c:pt idx="273">
                  <c:v>40802</c:v>
                </c:pt>
                <c:pt idx="274">
                  <c:v>40801</c:v>
                </c:pt>
                <c:pt idx="275">
                  <c:v>40800</c:v>
                </c:pt>
                <c:pt idx="276">
                  <c:v>40799</c:v>
                </c:pt>
                <c:pt idx="277">
                  <c:v>40798</c:v>
                </c:pt>
                <c:pt idx="278">
                  <c:v>40795</c:v>
                </c:pt>
                <c:pt idx="279">
                  <c:v>40794</c:v>
                </c:pt>
                <c:pt idx="280">
                  <c:v>40793</c:v>
                </c:pt>
                <c:pt idx="281">
                  <c:v>40792</c:v>
                </c:pt>
                <c:pt idx="282">
                  <c:v>40791</c:v>
                </c:pt>
                <c:pt idx="283">
                  <c:v>40788</c:v>
                </c:pt>
                <c:pt idx="284">
                  <c:v>40787</c:v>
                </c:pt>
                <c:pt idx="285">
                  <c:v>40786</c:v>
                </c:pt>
                <c:pt idx="286">
                  <c:v>40785</c:v>
                </c:pt>
                <c:pt idx="287">
                  <c:v>40784</c:v>
                </c:pt>
                <c:pt idx="288">
                  <c:v>40781</c:v>
                </c:pt>
                <c:pt idx="289">
                  <c:v>40780</c:v>
                </c:pt>
                <c:pt idx="290">
                  <c:v>40779</c:v>
                </c:pt>
                <c:pt idx="291">
                  <c:v>40778</c:v>
                </c:pt>
                <c:pt idx="292">
                  <c:v>40777</c:v>
                </c:pt>
                <c:pt idx="293">
                  <c:v>40774</c:v>
                </c:pt>
                <c:pt idx="294">
                  <c:v>40773</c:v>
                </c:pt>
                <c:pt idx="295">
                  <c:v>40772</c:v>
                </c:pt>
                <c:pt idx="296">
                  <c:v>40771</c:v>
                </c:pt>
                <c:pt idx="297">
                  <c:v>40767</c:v>
                </c:pt>
                <c:pt idx="298">
                  <c:v>40766</c:v>
                </c:pt>
                <c:pt idx="299">
                  <c:v>40765</c:v>
                </c:pt>
                <c:pt idx="300">
                  <c:v>40764</c:v>
                </c:pt>
                <c:pt idx="301">
                  <c:v>40763</c:v>
                </c:pt>
                <c:pt idx="302">
                  <c:v>40760</c:v>
                </c:pt>
                <c:pt idx="303">
                  <c:v>40759</c:v>
                </c:pt>
                <c:pt idx="304">
                  <c:v>40758</c:v>
                </c:pt>
                <c:pt idx="305">
                  <c:v>40757</c:v>
                </c:pt>
                <c:pt idx="306">
                  <c:v>40756</c:v>
                </c:pt>
                <c:pt idx="307">
                  <c:v>40753</c:v>
                </c:pt>
                <c:pt idx="308">
                  <c:v>40752</c:v>
                </c:pt>
                <c:pt idx="309">
                  <c:v>40751</c:v>
                </c:pt>
                <c:pt idx="310">
                  <c:v>40750</c:v>
                </c:pt>
                <c:pt idx="311">
                  <c:v>40749</c:v>
                </c:pt>
                <c:pt idx="312">
                  <c:v>40746</c:v>
                </c:pt>
                <c:pt idx="313">
                  <c:v>40745</c:v>
                </c:pt>
                <c:pt idx="314">
                  <c:v>40744</c:v>
                </c:pt>
                <c:pt idx="315">
                  <c:v>40743</c:v>
                </c:pt>
                <c:pt idx="316">
                  <c:v>40742</c:v>
                </c:pt>
                <c:pt idx="317">
                  <c:v>40739</c:v>
                </c:pt>
                <c:pt idx="318">
                  <c:v>40738</c:v>
                </c:pt>
                <c:pt idx="319">
                  <c:v>40737</c:v>
                </c:pt>
                <c:pt idx="320">
                  <c:v>40736</c:v>
                </c:pt>
                <c:pt idx="321">
                  <c:v>40735</c:v>
                </c:pt>
                <c:pt idx="322">
                  <c:v>40732</c:v>
                </c:pt>
                <c:pt idx="323">
                  <c:v>40731</c:v>
                </c:pt>
                <c:pt idx="324">
                  <c:v>40730</c:v>
                </c:pt>
                <c:pt idx="325">
                  <c:v>40729</c:v>
                </c:pt>
                <c:pt idx="326">
                  <c:v>40728</c:v>
                </c:pt>
                <c:pt idx="327">
                  <c:v>40725</c:v>
                </c:pt>
                <c:pt idx="328">
                  <c:v>40724</c:v>
                </c:pt>
                <c:pt idx="329">
                  <c:v>40723</c:v>
                </c:pt>
                <c:pt idx="330">
                  <c:v>40722</c:v>
                </c:pt>
                <c:pt idx="331">
                  <c:v>40721</c:v>
                </c:pt>
                <c:pt idx="332">
                  <c:v>40718</c:v>
                </c:pt>
                <c:pt idx="333">
                  <c:v>40717</c:v>
                </c:pt>
                <c:pt idx="334">
                  <c:v>40716</c:v>
                </c:pt>
                <c:pt idx="335">
                  <c:v>40715</c:v>
                </c:pt>
                <c:pt idx="336">
                  <c:v>40714</c:v>
                </c:pt>
                <c:pt idx="337">
                  <c:v>40711</c:v>
                </c:pt>
                <c:pt idx="338">
                  <c:v>40710</c:v>
                </c:pt>
                <c:pt idx="339">
                  <c:v>40709</c:v>
                </c:pt>
                <c:pt idx="340">
                  <c:v>40708</c:v>
                </c:pt>
                <c:pt idx="341">
                  <c:v>40704</c:v>
                </c:pt>
                <c:pt idx="342">
                  <c:v>40703</c:v>
                </c:pt>
                <c:pt idx="343">
                  <c:v>40702</c:v>
                </c:pt>
                <c:pt idx="344">
                  <c:v>40701</c:v>
                </c:pt>
                <c:pt idx="345">
                  <c:v>40700</c:v>
                </c:pt>
                <c:pt idx="346">
                  <c:v>40697</c:v>
                </c:pt>
                <c:pt idx="347">
                  <c:v>40696</c:v>
                </c:pt>
                <c:pt idx="348">
                  <c:v>40695</c:v>
                </c:pt>
                <c:pt idx="349">
                  <c:v>40694</c:v>
                </c:pt>
                <c:pt idx="350">
                  <c:v>40693</c:v>
                </c:pt>
                <c:pt idx="351">
                  <c:v>40690</c:v>
                </c:pt>
                <c:pt idx="352">
                  <c:v>40689</c:v>
                </c:pt>
                <c:pt idx="353">
                  <c:v>40688</c:v>
                </c:pt>
                <c:pt idx="354">
                  <c:v>40687</c:v>
                </c:pt>
                <c:pt idx="355">
                  <c:v>40686</c:v>
                </c:pt>
                <c:pt idx="356">
                  <c:v>40683</c:v>
                </c:pt>
                <c:pt idx="357">
                  <c:v>40682</c:v>
                </c:pt>
                <c:pt idx="358">
                  <c:v>40681</c:v>
                </c:pt>
                <c:pt idx="359">
                  <c:v>40680</c:v>
                </c:pt>
                <c:pt idx="360">
                  <c:v>40679</c:v>
                </c:pt>
                <c:pt idx="361">
                  <c:v>40676</c:v>
                </c:pt>
                <c:pt idx="362">
                  <c:v>40675</c:v>
                </c:pt>
                <c:pt idx="363">
                  <c:v>40674</c:v>
                </c:pt>
                <c:pt idx="364">
                  <c:v>40673</c:v>
                </c:pt>
                <c:pt idx="365">
                  <c:v>40672</c:v>
                </c:pt>
                <c:pt idx="366">
                  <c:v>40669</c:v>
                </c:pt>
                <c:pt idx="367">
                  <c:v>40668</c:v>
                </c:pt>
                <c:pt idx="368">
                  <c:v>40667</c:v>
                </c:pt>
                <c:pt idx="369">
                  <c:v>40666</c:v>
                </c:pt>
                <c:pt idx="370">
                  <c:v>40665</c:v>
                </c:pt>
                <c:pt idx="371">
                  <c:v>40662</c:v>
                </c:pt>
                <c:pt idx="372">
                  <c:v>40661</c:v>
                </c:pt>
                <c:pt idx="373">
                  <c:v>40660</c:v>
                </c:pt>
                <c:pt idx="374">
                  <c:v>40659</c:v>
                </c:pt>
                <c:pt idx="375">
                  <c:v>40655</c:v>
                </c:pt>
                <c:pt idx="376">
                  <c:v>40654</c:v>
                </c:pt>
                <c:pt idx="377">
                  <c:v>40653</c:v>
                </c:pt>
                <c:pt idx="378">
                  <c:v>40652</c:v>
                </c:pt>
                <c:pt idx="379">
                  <c:v>40651</c:v>
                </c:pt>
                <c:pt idx="380">
                  <c:v>40648</c:v>
                </c:pt>
                <c:pt idx="381">
                  <c:v>40647</c:v>
                </c:pt>
                <c:pt idx="382">
                  <c:v>40646</c:v>
                </c:pt>
                <c:pt idx="383">
                  <c:v>40645</c:v>
                </c:pt>
                <c:pt idx="384">
                  <c:v>40644</c:v>
                </c:pt>
                <c:pt idx="385">
                  <c:v>40641</c:v>
                </c:pt>
                <c:pt idx="386">
                  <c:v>40640</c:v>
                </c:pt>
                <c:pt idx="387">
                  <c:v>40639</c:v>
                </c:pt>
                <c:pt idx="388">
                  <c:v>40638</c:v>
                </c:pt>
                <c:pt idx="389">
                  <c:v>40637</c:v>
                </c:pt>
                <c:pt idx="390">
                  <c:v>40634</c:v>
                </c:pt>
                <c:pt idx="391">
                  <c:v>40633</c:v>
                </c:pt>
                <c:pt idx="392">
                  <c:v>40632</c:v>
                </c:pt>
                <c:pt idx="393">
                  <c:v>40631</c:v>
                </c:pt>
                <c:pt idx="394">
                  <c:v>40630</c:v>
                </c:pt>
                <c:pt idx="395">
                  <c:v>40627</c:v>
                </c:pt>
                <c:pt idx="396">
                  <c:v>40626</c:v>
                </c:pt>
                <c:pt idx="397">
                  <c:v>40625</c:v>
                </c:pt>
                <c:pt idx="398">
                  <c:v>40624</c:v>
                </c:pt>
                <c:pt idx="399">
                  <c:v>40623</c:v>
                </c:pt>
                <c:pt idx="400">
                  <c:v>40620</c:v>
                </c:pt>
                <c:pt idx="401">
                  <c:v>40619</c:v>
                </c:pt>
                <c:pt idx="402">
                  <c:v>40618</c:v>
                </c:pt>
                <c:pt idx="403">
                  <c:v>40617</c:v>
                </c:pt>
                <c:pt idx="404">
                  <c:v>40616</c:v>
                </c:pt>
                <c:pt idx="405">
                  <c:v>40613</c:v>
                </c:pt>
                <c:pt idx="406">
                  <c:v>40612</c:v>
                </c:pt>
                <c:pt idx="407">
                  <c:v>40611</c:v>
                </c:pt>
                <c:pt idx="408">
                  <c:v>40610</c:v>
                </c:pt>
                <c:pt idx="409">
                  <c:v>40609</c:v>
                </c:pt>
                <c:pt idx="410">
                  <c:v>40606</c:v>
                </c:pt>
                <c:pt idx="411">
                  <c:v>40605</c:v>
                </c:pt>
                <c:pt idx="412">
                  <c:v>40604</c:v>
                </c:pt>
                <c:pt idx="413">
                  <c:v>40603</c:v>
                </c:pt>
                <c:pt idx="414">
                  <c:v>40602</c:v>
                </c:pt>
                <c:pt idx="415">
                  <c:v>40599</c:v>
                </c:pt>
                <c:pt idx="416">
                  <c:v>40598</c:v>
                </c:pt>
                <c:pt idx="417">
                  <c:v>40597</c:v>
                </c:pt>
                <c:pt idx="418">
                  <c:v>40596</c:v>
                </c:pt>
                <c:pt idx="419">
                  <c:v>40595</c:v>
                </c:pt>
                <c:pt idx="420">
                  <c:v>40592</c:v>
                </c:pt>
                <c:pt idx="421">
                  <c:v>40591</c:v>
                </c:pt>
                <c:pt idx="422">
                  <c:v>40590</c:v>
                </c:pt>
                <c:pt idx="423">
                  <c:v>40589</c:v>
                </c:pt>
                <c:pt idx="424">
                  <c:v>40588</c:v>
                </c:pt>
                <c:pt idx="425">
                  <c:v>40585</c:v>
                </c:pt>
                <c:pt idx="426">
                  <c:v>40584</c:v>
                </c:pt>
                <c:pt idx="427">
                  <c:v>40583</c:v>
                </c:pt>
                <c:pt idx="428">
                  <c:v>40582</c:v>
                </c:pt>
                <c:pt idx="429">
                  <c:v>40581</c:v>
                </c:pt>
                <c:pt idx="430">
                  <c:v>40578</c:v>
                </c:pt>
                <c:pt idx="431">
                  <c:v>40577</c:v>
                </c:pt>
                <c:pt idx="432">
                  <c:v>40576</c:v>
                </c:pt>
                <c:pt idx="433">
                  <c:v>40575</c:v>
                </c:pt>
                <c:pt idx="434">
                  <c:v>40574</c:v>
                </c:pt>
                <c:pt idx="435">
                  <c:v>40571</c:v>
                </c:pt>
                <c:pt idx="436">
                  <c:v>40570</c:v>
                </c:pt>
                <c:pt idx="437">
                  <c:v>40569</c:v>
                </c:pt>
                <c:pt idx="438">
                  <c:v>40568</c:v>
                </c:pt>
                <c:pt idx="439">
                  <c:v>40567</c:v>
                </c:pt>
                <c:pt idx="440">
                  <c:v>40564</c:v>
                </c:pt>
                <c:pt idx="441">
                  <c:v>40563</c:v>
                </c:pt>
                <c:pt idx="442">
                  <c:v>40562</c:v>
                </c:pt>
                <c:pt idx="443">
                  <c:v>40561</c:v>
                </c:pt>
                <c:pt idx="444">
                  <c:v>40560</c:v>
                </c:pt>
                <c:pt idx="445">
                  <c:v>40557</c:v>
                </c:pt>
                <c:pt idx="446">
                  <c:v>40556</c:v>
                </c:pt>
                <c:pt idx="447">
                  <c:v>40555</c:v>
                </c:pt>
                <c:pt idx="448">
                  <c:v>40554</c:v>
                </c:pt>
                <c:pt idx="449">
                  <c:v>40553</c:v>
                </c:pt>
                <c:pt idx="450">
                  <c:v>40550</c:v>
                </c:pt>
                <c:pt idx="451">
                  <c:v>40549</c:v>
                </c:pt>
                <c:pt idx="452">
                  <c:v>40548</c:v>
                </c:pt>
                <c:pt idx="453">
                  <c:v>40547</c:v>
                </c:pt>
                <c:pt idx="454">
                  <c:v>40546</c:v>
                </c:pt>
                <c:pt idx="455">
                  <c:v>40543</c:v>
                </c:pt>
                <c:pt idx="456">
                  <c:v>40542</c:v>
                </c:pt>
                <c:pt idx="457">
                  <c:v>40541</c:v>
                </c:pt>
                <c:pt idx="458">
                  <c:v>40540</c:v>
                </c:pt>
                <c:pt idx="459">
                  <c:v>40539</c:v>
                </c:pt>
                <c:pt idx="460">
                  <c:v>40535</c:v>
                </c:pt>
                <c:pt idx="461">
                  <c:v>40534</c:v>
                </c:pt>
                <c:pt idx="462">
                  <c:v>40533</c:v>
                </c:pt>
                <c:pt idx="463">
                  <c:v>40532</c:v>
                </c:pt>
                <c:pt idx="464">
                  <c:v>40529</c:v>
                </c:pt>
                <c:pt idx="465">
                  <c:v>40528</c:v>
                </c:pt>
                <c:pt idx="466">
                  <c:v>40527</c:v>
                </c:pt>
                <c:pt idx="467">
                  <c:v>40526</c:v>
                </c:pt>
                <c:pt idx="468">
                  <c:v>40525</c:v>
                </c:pt>
                <c:pt idx="469">
                  <c:v>40522</c:v>
                </c:pt>
                <c:pt idx="470">
                  <c:v>40521</c:v>
                </c:pt>
                <c:pt idx="471">
                  <c:v>40520</c:v>
                </c:pt>
                <c:pt idx="472">
                  <c:v>40519</c:v>
                </c:pt>
                <c:pt idx="473">
                  <c:v>40518</c:v>
                </c:pt>
                <c:pt idx="474">
                  <c:v>40515</c:v>
                </c:pt>
                <c:pt idx="475">
                  <c:v>40514</c:v>
                </c:pt>
                <c:pt idx="476">
                  <c:v>40512</c:v>
                </c:pt>
                <c:pt idx="477">
                  <c:v>40511</c:v>
                </c:pt>
                <c:pt idx="478">
                  <c:v>40508</c:v>
                </c:pt>
                <c:pt idx="479">
                  <c:v>40507</c:v>
                </c:pt>
                <c:pt idx="480">
                  <c:v>40506</c:v>
                </c:pt>
                <c:pt idx="481">
                  <c:v>40505</c:v>
                </c:pt>
                <c:pt idx="482">
                  <c:v>40504</c:v>
                </c:pt>
                <c:pt idx="483">
                  <c:v>40501</c:v>
                </c:pt>
                <c:pt idx="484">
                  <c:v>40500</c:v>
                </c:pt>
                <c:pt idx="485">
                  <c:v>40499</c:v>
                </c:pt>
                <c:pt idx="486">
                  <c:v>40498</c:v>
                </c:pt>
                <c:pt idx="487">
                  <c:v>40497</c:v>
                </c:pt>
                <c:pt idx="488">
                  <c:v>40494</c:v>
                </c:pt>
                <c:pt idx="489">
                  <c:v>40493</c:v>
                </c:pt>
                <c:pt idx="490">
                  <c:v>40492</c:v>
                </c:pt>
                <c:pt idx="491">
                  <c:v>40491</c:v>
                </c:pt>
                <c:pt idx="492">
                  <c:v>40490</c:v>
                </c:pt>
                <c:pt idx="493">
                  <c:v>40487</c:v>
                </c:pt>
                <c:pt idx="494">
                  <c:v>40486</c:v>
                </c:pt>
                <c:pt idx="495">
                  <c:v>40485</c:v>
                </c:pt>
                <c:pt idx="496">
                  <c:v>40451</c:v>
                </c:pt>
                <c:pt idx="497">
                  <c:v>40450</c:v>
                </c:pt>
                <c:pt idx="498">
                  <c:v>40449</c:v>
                </c:pt>
                <c:pt idx="499">
                  <c:v>40448</c:v>
                </c:pt>
                <c:pt idx="500">
                  <c:v>40445</c:v>
                </c:pt>
                <c:pt idx="501">
                  <c:v>40444</c:v>
                </c:pt>
                <c:pt idx="502">
                  <c:v>40443</c:v>
                </c:pt>
                <c:pt idx="503">
                  <c:v>40442</c:v>
                </c:pt>
                <c:pt idx="504">
                  <c:v>40441</c:v>
                </c:pt>
                <c:pt idx="505">
                  <c:v>40438</c:v>
                </c:pt>
                <c:pt idx="506">
                  <c:v>40437</c:v>
                </c:pt>
                <c:pt idx="507">
                  <c:v>40436</c:v>
                </c:pt>
                <c:pt idx="508">
                  <c:v>40435</c:v>
                </c:pt>
                <c:pt idx="509">
                  <c:v>40434</c:v>
                </c:pt>
                <c:pt idx="510">
                  <c:v>40431</c:v>
                </c:pt>
                <c:pt idx="511">
                  <c:v>40430</c:v>
                </c:pt>
                <c:pt idx="512">
                  <c:v>40429</c:v>
                </c:pt>
                <c:pt idx="513">
                  <c:v>40428</c:v>
                </c:pt>
                <c:pt idx="514">
                  <c:v>40427</c:v>
                </c:pt>
                <c:pt idx="515">
                  <c:v>40424</c:v>
                </c:pt>
                <c:pt idx="516">
                  <c:v>40423</c:v>
                </c:pt>
                <c:pt idx="517">
                  <c:v>40422</c:v>
                </c:pt>
                <c:pt idx="518">
                  <c:v>40421</c:v>
                </c:pt>
                <c:pt idx="519">
                  <c:v>40420</c:v>
                </c:pt>
                <c:pt idx="520">
                  <c:v>40417</c:v>
                </c:pt>
                <c:pt idx="521">
                  <c:v>40416</c:v>
                </c:pt>
                <c:pt idx="522">
                  <c:v>40415</c:v>
                </c:pt>
                <c:pt idx="523">
                  <c:v>40414</c:v>
                </c:pt>
                <c:pt idx="524">
                  <c:v>40413</c:v>
                </c:pt>
                <c:pt idx="525">
                  <c:v>40410</c:v>
                </c:pt>
                <c:pt idx="526">
                  <c:v>40409</c:v>
                </c:pt>
                <c:pt idx="527">
                  <c:v>40408</c:v>
                </c:pt>
                <c:pt idx="528">
                  <c:v>40407</c:v>
                </c:pt>
                <c:pt idx="529">
                  <c:v>40406</c:v>
                </c:pt>
                <c:pt idx="530">
                  <c:v>40403</c:v>
                </c:pt>
                <c:pt idx="531">
                  <c:v>40402</c:v>
                </c:pt>
                <c:pt idx="532">
                  <c:v>40401</c:v>
                </c:pt>
                <c:pt idx="533">
                  <c:v>40400</c:v>
                </c:pt>
                <c:pt idx="534">
                  <c:v>40399</c:v>
                </c:pt>
                <c:pt idx="535">
                  <c:v>40396</c:v>
                </c:pt>
                <c:pt idx="536">
                  <c:v>40395</c:v>
                </c:pt>
                <c:pt idx="537">
                  <c:v>40394</c:v>
                </c:pt>
                <c:pt idx="538">
                  <c:v>40393</c:v>
                </c:pt>
                <c:pt idx="539">
                  <c:v>40392</c:v>
                </c:pt>
                <c:pt idx="540">
                  <c:v>40389</c:v>
                </c:pt>
                <c:pt idx="541">
                  <c:v>40388</c:v>
                </c:pt>
                <c:pt idx="542">
                  <c:v>40387</c:v>
                </c:pt>
                <c:pt idx="543">
                  <c:v>40386</c:v>
                </c:pt>
                <c:pt idx="544">
                  <c:v>40385</c:v>
                </c:pt>
                <c:pt idx="545">
                  <c:v>40382</c:v>
                </c:pt>
                <c:pt idx="546">
                  <c:v>40381</c:v>
                </c:pt>
                <c:pt idx="547">
                  <c:v>40380</c:v>
                </c:pt>
                <c:pt idx="548">
                  <c:v>40379</c:v>
                </c:pt>
                <c:pt idx="549">
                  <c:v>40378</c:v>
                </c:pt>
                <c:pt idx="550">
                  <c:v>40375</c:v>
                </c:pt>
                <c:pt idx="551">
                  <c:v>40374</c:v>
                </c:pt>
                <c:pt idx="552">
                  <c:v>40373</c:v>
                </c:pt>
                <c:pt idx="553">
                  <c:v>40372</c:v>
                </c:pt>
                <c:pt idx="554">
                  <c:v>40371</c:v>
                </c:pt>
                <c:pt idx="555">
                  <c:v>40368</c:v>
                </c:pt>
                <c:pt idx="556">
                  <c:v>40367</c:v>
                </c:pt>
                <c:pt idx="557">
                  <c:v>40366</c:v>
                </c:pt>
                <c:pt idx="558">
                  <c:v>40365</c:v>
                </c:pt>
                <c:pt idx="559">
                  <c:v>40364</c:v>
                </c:pt>
                <c:pt idx="560">
                  <c:v>40361</c:v>
                </c:pt>
                <c:pt idx="561">
                  <c:v>40360</c:v>
                </c:pt>
                <c:pt idx="562">
                  <c:v>40359</c:v>
                </c:pt>
                <c:pt idx="563">
                  <c:v>40358</c:v>
                </c:pt>
                <c:pt idx="564">
                  <c:v>40357</c:v>
                </c:pt>
                <c:pt idx="565">
                  <c:v>40354</c:v>
                </c:pt>
                <c:pt idx="566">
                  <c:v>40353</c:v>
                </c:pt>
                <c:pt idx="567">
                  <c:v>40352</c:v>
                </c:pt>
                <c:pt idx="568">
                  <c:v>40351</c:v>
                </c:pt>
                <c:pt idx="569">
                  <c:v>40350</c:v>
                </c:pt>
                <c:pt idx="570">
                  <c:v>40347</c:v>
                </c:pt>
                <c:pt idx="571">
                  <c:v>40346</c:v>
                </c:pt>
                <c:pt idx="572">
                  <c:v>40345</c:v>
                </c:pt>
                <c:pt idx="573">
                  <c:v>40344</c:v>
                </c:pt>
                <c:pt idx="574">
                  <c:v>40343</c:v>
                </c:pt>
                <c:pt idx="575">
                  <c:v>40340</c:v>
                </c:pt>
                <c:pt idx="576">
                  <c:v>40339</c:v>
                </c:pt>
                <c:pt idx="577">
                  <c:v>40338</c:v>
                </c:pt>
                <c:pt idx="578">
                  <c:v>40337</c:v>
                </c:pt>
                <c:pt idx="579">
                  <c:v>40336</c:v>
                </c:pt>
                <c:pt idx="580">
                  <c:v>40333</c:v>
                </c:pt>
                <c:pt idx="581">
                  <c:v>40332</c:v>
                </c:pt>
                <c:pt idx="582">
                  <c:v>40331</c:v>
                </c:pt>
                <c:pt idx="583">
                  <c:v>40330</c:v>
                </c:pt>
                <c:pt idx="584">
                  <c:v>40329</c:v>
                </c:pt>
                <c:pt idx="585">
                  <c:v>40326</c:v>
                </c:pt>
                <c:pt idx="586">
                  <c:v>40325</c:v>
                </c:pt>
                <c:pt idx="587">
                  <c:v>40324</c:v>
                </c:pt>
                <c:pt idx="588">
                  <c:v>40323</c:v>
                </c:pt>
                <c:pt idx="589">
                  <c:v>40319</c:v>
                </c:pt>
                <c:pt idx="590">
                  <c:v>40318</c:v>
                </c:pt>
                <c:pt idx="591">
                  <c:v>40317</c:v>
                </c:pt>
                <c:pt idx="592">
                  <c:v>40316</c:v>
                </c:pt>
                <c:pt idx="593">
                  <c:v>40315</c:v>
                </c:pt>
                <c:pt idx="594">
                  <c:v>40312</c:v>
                </c:pt>
                <c:pt idx="595">
                  <c:v>40311</c:v>
                </c:pt>
                <c:pt idx="596">
                  <c:v>40310</c:v>
                </c:pt>
                <c:pt idx="597">
                  <c:v>40309</c:v>
                </c:pt>
                <c:pt idx="598">
                  <c:v>40308</c:v>
                </c:pt>
                <c:pt idx="599">
                  <c:v>40305</c:v>
                </c:pt>
                <c:pt idx="600">
                  <c:v>40304</c:v>
                </c:pt>
                <c:pt idx="601">
                  <c:v>40303</c:v>
                </c:pt>
                <c:pt idx="602">
                  <c:v>40302</c:v>
                </c:pt>
                <c:pt idx="603">
                  <c:v>40301</c:v>
                </c:pt>
                <c:pt idx="604">
                  <c:v>40298</c:v>
                </c:pt>
                <c:pt idx="605">
                  <c:v>40297</c:v>
                </c:pt>
                <c:pt idx="606">
                  <c:v>40296</c:v>
                </c:pt>
                <c:pt idx="607">
                  <c:v>40295</c:v>
                </c:pt>
                <c:pt idx="608">
                  <c:v>40294</c:v>
                </c:pt>
                <c:pt idx="609">
                  <c:v>40291</c:v>
                </c:pt>
                <c:pt idx="610">
                  <c:v>40290</c:v>
                </c:pt>
                <c:pt idx="611">
                  <c:v>40289</c:v>
                </c:pt>
                <c:pt idx="612">
                  <c:v>40288</c:v>
                </c:pt>
                <c:pt idx="613">
                  <c:v>40287</c:v>
                </c:pt>
                <c:pt idx="614">
                  <c:v>40284</c:v>
                </c:pt>
                <c:pt idx="615">
                  <c:v>40283</c:v>
                </c:pt>
                <c:pt idx="616">
                  <c:v>40282</c:v>
                </c:pt>
                <c:pt idx="617">
                  <c:v>40281</c:v>
                </c:pt>
                <c:pt idx="618">
                  <c:v>40280</c:v>
                </c:pt>
                <c:pt idx="619">
                  <c:v>40277</c:v>
                </c:pt>
                <c:pt idx="620">
                  <c:v>40276</c:v>
                </c:pt>
                <c:pt idx="621">
                  <c:v>40275</c:v>
                </c:pt>
                <c:pt idx="622">
                  <c:v>40274</c:v>
                </c:pt>
                <c:pt idx="623">
                  <c:v>40270</c:v>
                </c:pt>
                <c:pt idx="624">
                  <c:v>40269</c:v>
                </c:pt>
                <c:pt idx="625">
                  <c:v>40268</c:v>
                </c:pt>
                <c:pt idx="626">
                  <c:v>40267</c:v>
                </c:pt>
                <c:pt idx="627">
                  <c:v>40266</c:v>
                </c:pt>
                <c:pt idx="628">
                  <c:v>40263</c:v>
                </c:pt>
                <c:pt idx="629">
                  <c:v>40262</c:v>
                </c:pt>
                <c:pt idx="630">
                  <c:v>40261</c:v>
                </c:pt>
                <c:pt idx="631">
                  <c:v>40260</c:v>
                </c:pt>
                <c:pt idx="632">
                  <c:v>40259</c:v>
                </c:pt>
                <c:pt idx="633">
                  <c:v>40256</c:v>
                </c:pt>
                <c:pt idx="634">
                  <c:v>40255</c:v>
                </c:pt>
                <c:pt idx="635">
                  <c:v>40254</c:v>
                </c:pt>
                <c:pt idx="636">
                  <c:v>40253</c:v>
                </c:pt>
                <c:pt idx="637">
                  <c:v>40252</c:v>
                </c:pt>
                <c:pt idx="638">
                  <c:v>40249</c:v>
                </c:pt>
                <c:pt idx="639">
                  <c:v>40248</c:v>
                </c:pt>
                <c:pt idx="640">
                  <c:v>40247</c:v>
                </c:pt>
                <c:pt idx="641">
                  <c:v>40246</c:v>
                </c:pt>
                <c:pt idx="642">
                  <c:v>40245</c:v>
                </c:pt>
                <c:pt idx="643">
                  <c:v>40242</c:v>
                </c:pt>
                <c:pt idx="644">
                  <c:v>40241</c:v>
                </c:pt>
                <c:pt idx="645">
                  <c:v>40240</c:v>
                </c:pt>
                <c:pt idx="646">
                  <c:v>40239</c:v>
                </c:pt>
                <c:pt idx="647">
                  <c:v>40238</c:v>
                </c:pt>
                <c:pt idx="648">
                  <c:v>40235</c:v>
                </c:pt>
                <c:pt idx="649">
                  <c:v>40234</c:v>
                </c:pt>
                <c:pt idx="650">
                  <c:v>40233</c:v>
                </c:pt>
                <c:pt idx="651">
                  <c:v>40232</c:v>
                </c:pt>
                <c:pt idx="652">
                  <c:v>40231</c:v>
                </c:pt>
                <c:pt idx="653">
                  <c:v>40228</c:v>
                </c:pt>
                <c:pt idx="654">
                  <c:v>40227</c:v>
                </c:pt>
                <c:pt idx="655">
                  <c:v>40226</c:v>
                </c:pt>
                <c:pt idx="656">
                  <c:v>40225</c:v>
                </c:pt>
                <c:pt idx="657">
                  <c:v>40224</c:v>
                </c:pt>
                <c:pt idx="658">
                  <c:v>40221</c:v>
                </c:pt>
                <c:pt idx="659">
                  <c:v>40220</c:v>
                </c:pt>
                <c:pt idx="660">
                  <c:v>40219</c:v>
                </c:pt>
                <c:pt idx="661">
                  <c:v>40218</c:v>
                </c:pt>
                <c:pt idx="662">
                  <c:v>40217</c:v>
                </c:pt>
                <c:pt idx="663">
                  <c:v>40214</c:v>
                </c:pt>
                <c:pt idx="664">
                  <c:v>40213</c:v>
                </c:pt>
                <c:pt idx="665">
                  <c:v>40212</c:v>
                </c:pt>
                <c:pt idx="666">
                  <c:v>40211</c:v>
                </c:pt>
                <c:pt idx="667">
                  <c:v>40210</c:v>
                </c:pt>
                <c:pt idx="668">
                  <c:v>40207</c:v>
                </c:pt>
                <c:pt idx="669">
                  <c:v>40206</c:v>
                </c:pt>
                <c:pt idx="670">
                  <c:v>40205</c:v>
                </c:pt>
                <c:pt idx="671">
                  <c:v>40204</c:v>
                </c:pt>
                <c:pt idx="672">
                  <c:v>40203</c:v>
                </c:pt>
                <c:pt idx="673">
                  <c:v>40200</c:v>
                </c:pt>
                <c:pt idx="674">
                  <c:v>40199</c:v>
                </c:pt>
                <c:pt idx="675">
                  <c:v>40198</c:v>
                </c:pt>
                <c:pt idx="676">
                  <c:v>40197</c:v>
                </c:pt>
                <c:pt idx="677">
                  <c:v>40196</c:v>
                </c:pt>
                <c:pt idx="678">
                  <c:v>40193</c:v>
                </c:pt>
                <c:pt idx="679">
                  <c:v>40192</c:v>
                </c:pt>
                <c:pt idx="680">
                  <c:v>40191</c:v>
                </c:pt>
                <c:pt idx="681">
                  <c:v>40190</c:v>
                </c:pt>
                <c:pt idx="682">
                  <c:v>40189</c:v>
                </c:pt>
                <c:pt idx="683">
                  <c:v>40186</c:v>
                </c:pt>
                <c:pt idx="684">
                  <c:v>40185</c:v>
                </c:pt>
                <c:pt idx="685">
                  <c:v>40184</c:v>
                </c:pt>
                <c:pt idx="686">
                  <c:v>40183</c:v>
                </c:pt>
                <c:pt idx="687">
                  <c:v>40182</c:v>
                </c:pt>
              </c:numCache>
            </c:numRef>
          </c:cat>
          <c:val>
            <c:numRef>
              <c:f>Sheet5!$C$7:$C$948</c:f>
              <c:numCache>
                <c:formatCode>0.00</c:formatCode>
                <c:ptCount val="942"/>
                <c:pt idx="0">
                  <c:v>5.74</c:v>
                </c:pt>
                <c:pt idx="1">
                  <c:v>5.74</c:v>
                </c:pt>
                <c:pt idx="2">
                  <c:v>5.72</c:v>
                </c:pt>
                <c:pt idx="3">
                  <c:v>5.72</c:v>
                </c:pt>
                <c:pt idx="4">
                  <c:v>5.6599999999999975</c:v>
                </c:pt>
                <c:pt idx="5">
                  <c:v>5.64</c:v>
                </c:pt>
                <c:pt idx="6">
                  <c:v>5.6199999999999966</c:v>
                </c:pt>
                <c:pt idx="7">
                  <c:v>5.63</c:v>
                </c:pt>
                <c:pt idx="8">
                  <c:v>5.63</c:v>
                </c:pt>
                <c:pt idx="9">
                  <c:v>5.6199999999999966</c:v>
                </c:pt>
                <c:pt idx="10">
                  <c:v>5.63</c:v>
                </c:pt>
                <c:pt idx="11">
                  <c:v>5.63</c:v>
                </c:pt>
                <c:pt idx="12">
                  <c:v>5.6199999999999966</c:v>
                </c:pt>
                <c:pt idx="13">
                  <c:v>5.63</c:v>
                </c:pt>
                <c:pt idx="14">
                  <c:v>5.64</c:v>
                </c:pt>
                <c:pt idx="15">
                  <c:v>5.63</c:v>
                </c:pt>
                <c:pt idx="16">
                  <c:v>5.6499999999999995</c:v>
                </c:pt>
                <c:pt idx="17">
                  <c:v>5.64</c:v>
                </c:pt>
                <c:pt idx="18">
                  <c:v>5.6499999999999995</c:v>
                </c:pt>
                <c:pt idx="19">
                  <c:v>5.6899999999999995</c:v>
                </c:pt>
                <c:pt idx="20">
                  <c:v>5.72</c:v>
                </c:pt>
                <c:pt idx="21">
                  <c:v>5.73</c:v>
                </c:pt>
                <c:pt idx="22">
                  <c:v>5.76</c:v>
                </c:pt>
                <c:pt idx="23">
                  <c:v>5.76</c:v>
                </c:pt>
                <c:pt idx="24">
                  <c:v>5.78</c:v>
                </c:pt>
                <c:pt idx="25">
                  <c:v>5.79</c:v>
                </c:pt>
                <c:pt idx="26">
                  <c:v>5.79</c:v>
                </c:pt>
                <c:pt idx="27">
                  <c:v>5.78</c:v>
                </c:pt>
                <c:pt idx="28">
                  <c:v>5.79</c:v>
                </c:pt>
                <c:pt idx="29">
                  <c:v>5.81</c:v>
                </c:pt>
                <c:pt idx="30">
                  <c:v>5.84</c:v>
                </c:pt>
                <c:pt idx="31">
                  <c:v>5.83</c:v>
                </c:pt>
                <c:pt idx="32">
                  <c:v>5.84</c:v>
                </c:pt>
                <c:pt idx="33">
                  <c:v>5.88</c:v>
                </c:pt>
                <c:pt idx="34">
                  <c:v>5.89</c:v>
                </c:pt>
                <c:pt idx="35">
                  <c:v>5.91</c:v>
                </c:pt>
                <c:pt idx="36">
                  <c:v>5.96</c:v>
                </c:pt>
                <c:pt idx="37">
                  <c:v>5.96</c:v>
                </c:pt>
                <c:pt idx="38">
                  <c:v>5.9</c:v>
                </c:pt>
                <c:pt idx="39">
                  <c:v>5.8599999999999985</c:v>
                </c:pt>
                <c:pt idx="40">
                  <c:v>5.87</c:v>
                </c:pt>
                <c:pt idx="41">
                  <c:v>5.8599999999999985</c:v>
                </c:pt>
                <c:pt idx="42">
                  <c:v>6.05</c:v>
                </c:pt>
                <c:pt idx="43">
                  <c:v>6.01</c:v>
                </c:pt>
                <c:pt idx="44">
                  <c:v>5.74</c:v>
                </c:pt>
                <c:pt idx="45">
                  <c:v>5.7</c:v>
                </c:pt>
                <c:pt idx="46">
                  <c:v>5.67</c:v>
                </c:pt>
                <c:pt idx="47">
                  <c:v>5.6499999999999995</c:v>
                </c:pt>
                <c:pt idx="48">
                  <c:v>5.63</c:v>
                </c:pt>
                <c:pt idx="49">
                  <c:v>5.39</c:v>
                </c:pt>
                <c:pt idx="50">
                  <c:v>5.39</c:v>
                </c:pt>
                <c:pt idx="51">
                  <c:v>5.38</c:v>
                </c:pt>
                <c:pt idx="52">
                  <c:v>5.3599999999999985</c:v>
                </c:pt>
                <c:pt idx="53">
                  <c:v>5.38</c:v>
                </c:pt>
                <c:pt idx="54">
                  <c:v>5.38</c:v>
                </c:pt>
                <c:pt idx="55">
                  <c:v>5.38</c:v>
                </c:pt>
                <c:pt idx="56">
                  <c:v>5.38</c:v>
                </c:pt>
                <c:pt idx="57">
                  <c:v>5.4</c:v>
                </c:pt>
                <c:pt idx="58">
                  <c:v>5.41</c:v>
                </c:pt>
                <c:pt idx="59">
                  <c:v>5.4</c:v>
                </c:pt>
                <c:pt idx="60">
                  <c:v>5.3599999999999985</c:v>
                </c:pt>
                <c:pt idx="61">
                  <c:v>5.31</c:v>
                </c:pt>
                <c:pt idx="62">
                  <c:v>5.29</c:v>
                </c:pt>
                <c:pt idx="63">
                  <c:v>5.3</c:v>
                </c:pt>
                <c:pt idx="64">
                  <c:v>5.29</c:v>
                </c:pt>
                <c:pt idx="65">
                  <c:v>5.2700000000000014</c:v>
                </c:pt>
                <c:pt idx="66">
                  <c:v>5.29</c:v>
                </c:pt>
                <c:pt idx="67">
                  <c:v>5.33</c:v>
                </c:pt>
                <c:pt idx="68">
                  <c:v>5.38</c:v>
                </c:pt>
                <c:pt idx="69">
                  <c:v>5.42</c:v>
                </c:pt>
                <c:pt idx="70">
                  <c:v>5.38</c:v>
                </c:pt>
                <c:pt idx="71">
                  <c:v>5.3599999999999985</c:v>
                </c:pt>
                <c:pt idx="72">
                  <c:v>5.3199999999999985</c:v>
                </c:pt>
                <c:pt idx="73">
                  <c:v>5.31</c:v>
                </c:pt>
                <c:pt idx="74">
                  <c:v>5.31</c:v>
                </c:pt>
                <c:pt idx="75">
                  <c:v>5.28</c:v>
                </c:pt>
                <c:pt idx="76">
                  <c:v>5.26</c:v>
                </c:pt>
                <c:pt idx="77">
                  <c:v>5.28</c:v>
                </c:pt>
                <c:pt idx="78">
                  <c:v>5.4</c:v>
                </c:pt>
                <c:pt idx="79">
                  <c:v>5.41</c:v>
                </c:pt>
                <c:pt idx="80">
                  <c:v>5.37</c:v>
                </c:pt>
                <c:pt idx="81">
                  <c:v>5.34</c:v>
                </c:pt>
                <c:pt idx="82">
                  <c:v>5.29</c:v>
                </c:pt>
                <c:pt idx="83">
                  <c:v>5.28</c:v>
                </c:pt>
                <c:pt idx="84">
                  <c:v>5.39</c:v>
                </c:pt>
                <c:pt idx="85">
                  <c:v>5.39</c:v>
                </c:pt>
                <c:pt idx="86">
                  <c:v>5.39</c:v>
                </c:pt>
                <c:pt idx="87">
                  <c:v>5.39</c:v>
                </c:pt>
                <c:pt idx="88">
                  <c:v>5.38</c:v>
                </c:pt>
                <c:pt idx="89">
                  <c:v>5.37</c:v>
                </c:pt>
                <c:pt idx="90">
                  <c:v>5.35</c:v>
                </c:pt>
                <c:pt idx="91">
                  <c:v>5.3599999999999985</c:v>
                </c:pt>
                <c:pt idx="92">
                  <c:v>5.3599999999999985</c:v>
                </c:pt>
                <c:pt idx="93">
                  <c:v>5.3599999999999985</c:v>
                </c:pt>
                <c:pt idx="94">
                  <c:v>5.3199999999999985</c:v>
                </c:pt>
                <c:pt idx="95">
                  <c:v>5.3199999999999985</c:v>
                </c:pt>
                <c:pt idx="96">
                  <c:v>5.3199999999999985</c:v>
                </c:pt>
                <c:pt idx="97">
                  <c:v>5.3</c:v>
                </c:pt>
                <c:pt idx="98">
                  <c:v>5.33</c:v>
                </c:pt>
                <c:pt idx="99">
                  <c:v>5.3199999999999985</c:v>
                </c:pt>
                <c:pt idx="100">
                  <c:v>5.34</c:v>
                </c:pt>
                <c:pt idx="101">
                  <c:v>5.3199999999999985</c:v>
                </c:pt>
                <c:pt idx="102">
                  <c:v>5.33</c:v>
                </c:pt>
                <c:pt idx="103">
                  <c:v>5.34</c:v>
                </c:pt>
                <c:pt idx="104">
                  <c:v>5.45</c:v>
                </c:pt>
                <c:pt idx="105">
                  <c:v>5.1599999999999975</c:v>
                </c:pt>
                <c:pt idx="106">
                  <c:v>4.96</c:v>
                </c:pt>
                <c:pt idx="107">
                  <c:v>4.71</c:v>
                </c:pt>
                <c:pt idx="108">
                  <c:v>4.5</c:v>
                </c:pt>
                <c:pt idx="109">
                  <c:v>4.4800000000000004</c:v>
                </c:pt>
                <c:pt idx="110">
                  <c:v>4.4800000000000004</c:v>
                </c:pt>
                <c:pt idx="111">
                  <c:v>4.4800000000000004</c:v>
                </c:pt>
                <c:pt idx="112">
                  <c:v>4.49</c:v>
                </c:pt>
                <c:pt idx="113">
                  <c:v>4.51</c:v>
                </c:pt>
                <c:pt idx="114">
                  <c:v>4.51</c:v>
                </c:pt>
                <c:pt idx="115">
                  <c:v>4.49</c:v>
                </c:pt>
                <c:pt idx="116">
                  <c:v>4.5</c:v>
                </c:pt>
                <c:pt idx="117">
                  <c:v>4.4400000000000004</c:v>
                </c:pt>
                <c:pt idx="118">
                  <c:v>4.41</c:v>
                </c:pt>
                <c:pt idx="119">
                  <c:v>4.3599999999999985</c:v>
                </c:pt>
                <c:pt idx="120">
                  <c:v>4.3599999999999985</c:v>
                </c:pt>
                <c:pt idx="121">
                  <c:v>4.3899999999999997</c:v>
                </c:pt>
                <c:pt idx="122">
                  <c:v>4.4400000000000004</c:v>
                </c:pt>
                <c:pt idx="123">
                  <c:v>4.42</c:v>
                </c:pt>
                <c:pt idx="124">
                  <c:v>4.3</c:v>
                </c:pt>
                <c:pt idx="125">
                  <c:v>4.29</c:v>
                </c:pt>
                <c:pt idx="126">
                  <c:v>4.24</c:v>
                </c:pt>
                <c:pt idx="127">
                  <c:v>4.2300000000000004</c:v>
                </c:pt>
                <c:pt idx="128">
                  <c:v>4.21</c:v>
                </c:pt>
                <c:pt idx="129">
                  <c:v>4.2300000000000004</c:v>
                </c:pt>
                <c:pt idx="130">
                  <c:v>4.33</c:v>
                </c:pt>
                <c:pt idx="131">
                  <c:v>4.3599999999999985</c:v>
                </c:pt>
                <c:pt idx="132">
                  <c:v>4.4000000000000004</c:v>
                </c:pt>
                <c:pt idx="133">
                  <c:v>4.46</c:v>
                </c:pt>
                <c:pt idx="134">
                  <c:v>4.51</c:v>
                </c:pt>
                <c:pt idx="135">
                  <c:v>4.53</c:v>
                </c:pt>
                <c:pt idx="136">
                  <c:v>4.53</c:v>
                </c:pt>
                <c:pt idx="137">
                  <c:v>4.57</c:v>
                </c:pt>
                <c:pt idx="138">
                  <c:v>4.59</c:v>
                </c:pt>
                <c:pt idx="139">
                  <c:v>4.6199999999999966</c:v>
                </c:pt>
                <c:pt idx="140">
                  <c:v>4.6199999999999966</c:v>
                </c:pt>
                <c:pt idx="141">
                  <c:v>4.63</c:v>
                </c:pt>
                <c:pt idx="142">
                  <c:v>4.6099999999999985</c:v>
                </c:pt>
                <c:pt idx="143">
                  <c:v>4.59</c:v>
                </c:pt>
                <c:pt idx="144">
                  <c:v>4.49</c:v>
                </c:pt>
                <c:pt idx="145">
                  <c:v>4.41</c:v>
                </c:pt>
                <c:pt idx="146">
                  <c:v>4.3899999999999997</c:v>
                </c:pt>
                <c:pt idx="147">
                  <c:v>4.26</c:v>
                </c:pt>
                <c:pt idx="148">
                  <c:v>4.25</c:v>
                </c:pt>
                <c:pt idx="149">
                  <c:v>4.29</c:v>
                </c:pt>
                <c:pt idx="150">
                  <c:v>4.3199999999999985</c:v>
                </c:pt>
                <c:pt idx="151">
                  <c:v>4.33</c:v>
                </c:pt>
                <c:pt idx="152">
                  <c:v>4.3599999999999985</c:v>
                </c:pt>
                <c:pt idx="153">
                  <c:v>4.41</c:v>
                </c:pt>
                <c:pt idx="154">
                  <c:v>4.4800000000000004</c:v>
                </c:pt>
                <c:pt idx="155">
                  <c:v>4.53</c:v>
                </c:pt>
                <c:pt idx="156">
                  <c:v>4.6599999999999975</c:v>
                </c:pt>
                <c:pt idx="157">
                  <c:v>4.71</c:v>
                </c:pt>
                <c:pt idx="158">
                  <c:v>4.83</c:v>
                </c:pt>
                <c:pt idx="159">
                  <c:v>4.92</c:v>
                </c:pt>
                <c:pt idx="160">
                  <c:v>4.9300000000000024</c:v>
                </c:pt>
                <c:pt idx="161">
                  <c:v>4.9400000000000004</c:v>
                </c:pt>
                <c:pt idx="162">
                  <c:v>4.99</c:v>
                </c:pt>
                <c:pt idx="163">
                  <c:v>4.9800000000000004</c:v>
                </c:pt>
                <c:pt idx="164">
                  <c:v>5.03</c:v>
                </c:pt>
                <c:pt idx="165">
                  <c:v>5</c:v>
                </c:pt>
                <c:pt idx="166">
                  <c:v>5</c:v>
                </c:pt>
                <c:pt idx="167">
                  <c:v>5</c:v>
                </c:pt>
                <c:pt idx="168">
                  <c:v>5.01</c:v>
                </c:pt>
                <c:pt idx="169">
                  <c:v>5.01</c:v>
                </c:pt>
                <c:pt idx="170">
                  <c:v>4.99</c:v>
                </c:pt>
                <c:pt idx="171">
                  <c:v>5.01</c:v>
                </c:pt>
                <c:pt idx="172">
                  <c:v>5.01</c:v>
                </c:pt>
                <c:pt idx="173">
                  <c:v>5.04</c:v>
                </c:pt>
                <c:pt idx="174">
                  <c:v>5.04</c:v>
                </c:pt>
                <c:pt idx="175">
                  <c:v>5.0599999999999996</c:v>
                </c:pt>
                <c:pt idx="176">
                  <c:v>5.14</c:v>
                </c:pt>
                <c:pt idx="177">
                  <c:v>5.21</c:v>
                </c:pt>
                <c:pt idx="178">
                  <c:v>5.28</c:v>
                </c:pt>
                <c:pt idx="179">
                  <c:v>5.35</c:v>
                </c:pt>
                <c:pt idx="180">
                  <c:v>5.37</c:v>
                </c:pt>
                <c:pt idx="181">
                  <c:v>5.38</c:v>
                </c:pt>
                <c:pt idx="182">
                  <c:v>5.4</c:v>
                </c:pt>
                <c:pt idx="183">
                  <c:v>5.39</c:v>
                </c:pt>
                <c:pt idx="184">
                  <c:v>5.39</c:v>
                </c:pt>
                <c:pt idx="185">
                  <c:v>5.39</c:v>
                </c:pt>
                <c:pt idx="186">
                  <c:v>5.46</c:v>
                </c:pt>
                <c:pt idx="187">
                  <c:v>5.46</c:v>
                </c:pt>
                <c:pt idx="188">
                  <c:v>5.46</c:v>
                </c:pt>
                <c:pt idx="189">
                  <c:v>5.4300000000000024</c:v>
                </c:pt>
                <c:pt idx="190">
                  <c:v>5.4</c:v>
                </c:pt>
                <c:pt idx="191">
                  <c:v>5.41</c:v>
                </c:pt>
                <c:pt idx="192">
                  <c:v>5.44</c:v>
                </c:pt>
                <c:pt idx="193">
                  <c:v>5.48</c:v>
                </c:pt>
                <c:pt idx="194">
                  <c:v>5.53</c:v>
                </c:pt>
                <c:pt idx="195">
                  <c:v>5.6199999999999966</c:v>
                </c:pt>
                <c:pt idx="196">
                  <c:v>5.68</c:v>
                </c:pt>
                <c:pt idx="197">
                  <c:v>5.73</c:v>
                </c:pt>
                <c:pt idx="198">
                  <c:v>5.8599999999999985</c:v>
                </c:pt>
                <c:pt idx="199">
                  <c:v>5.98</c:v>
                </c:pt>
                <c:pt idx="200">
                  <c:v>6.05</c:v>
                </c:pt>
                <c:pt idx="201">
                  <c:v>6.14</c:v>
                </c:pt>
                <c:pt idx="202">
                  <c:v>6.21</c:v>
                </c:pt>
                <c:pt idx="203">
                  <c:v>6.2700000000000014</c:v>
                </c:pt>
                <c:pt idx="204">
                  <c:v>6.28</c:v>
                </c:pt>
                <c:pt idx="205">
                  <c:v>6.2700000000000014</c:v>
                </c:pt>
                <c:pt idx="206">
                  <c:v>6.28</c:v>
                </c:pt>
                <c:pt idx="207">
                  <c:v>6.29</c:v>
                </c:pt>
                <c:pt idx="208">
                  <c:v>6.34</c:v>
                </c:pt>
                <c:pt idx="209">
                  <c:v>6.3</c:v>
                </c:pt>
                <c:pt idx="210">
                  <c:v>6.33</c:v>
                </c:pt>
                <c:pt idx="211">
                  <c:v>6.33</c:v>
                </c:pt>
                <c:pt idx="212">
                  <c:v>6.3599999999999985</c:v>
                </c:pt>
                <c:pt idx="213">
                  <c:v>6.3599999999999985</c:v>
                </c:pt>
                <c:pt idx="214">
                  <c:v>6.38</c:v>
                </c:pt>
                <c:pt idx="215">
                  <c:v>6.3599999999999985</c:v>
                </c:pt>
                <c:pt idx="216">
                  <c:v>6.37</c:v>
                </c:pt>
                <c:pt idx="217">
                  <c:v>6.3599999999999985</c:v>
                </c:pt>
                <c:pt idx="218">
                  <c:v>6.38</c:v>
                </c:pt>
                <c:pt idx="219">
                  <c:v>6.3599999999999985</c:v>
                </c:pt>
                <c:pt idx="220">
                  <c:v>6.4</c:v>
                </c:pt>
                <c:pt idx="221">
                  <c:v>6.39</c:v>
                </c:pt>
                <c:pt idx="222">
                  <c:v>6.4</c:v>
                </c:pt>
                <c:pt idx="223">
                  <c:v>6.4</c:v>
                </c:pt>
                <c:pt idx="224">
                  <c:v>6.42</c:v>
                </c:pt>
                <c:pt idx="225">
                  <c:v>6.41</c:v>
                </c:pt>
                <c:pt idx="226">
                  <c:v>6.4300000000000024</c:v>
                </c:pt>
                <c:pt idx="227">
                  <c:v>6.42</c:v>
                </c:pt>
                <c:pt idx="228">
                  <c:v>6.44</c:v>
                </c:pt>
                <c:pt idx="229">
                  <c:v>6.45</c:v>
                </c:pt>
                <c:pt idx="230">
                  <c:v>6.41</c:v>
                </c:pt>
                <c:pt idx="231">
                  <c:v>6.1899999999999995</c:v>
                </c:pt>
                <c:pt idx="232">
                  <c:v>6.08</c:v>
                </c:pt>
                <c:pt idx="233">
                  <c:v>6.07</c:v>
                </c:pt>
                <c:pt idx="234">
                  <c:v>6.04</c:v>
                </c:pt>
                <c:pt idx="235">
                  <c:v>6.04</c:v>
                </c:pt>
                <c:pt idx="236">
                  <c:v>6.04</c:v>
                </c:pt>
                <c:pt idx="237">
                  <c:v>6.05</c:v>
                </c:pt>
                <c:pt idx="238">
                  <c:v>6.06</c:v>
                </c:pt>
                <c:pt idx="239">
                  <c:v>6.1099999999999985</c:v>
                </c:pt>
                <c:pt idx="240">
                  <c:v>6.21</c:v>
                </c:pt>
                <c:pt idx="241">
                  <c:v>6.22</c:v>
                </c:pt>
                <c:pt idx="242">
                  <c:v>6.22</c:v>
                </c:pt>
                <c:pt idx="243">
                  <c:v>6.22</c:v>
                </c:pt>
                <c:pt idx="244">
                  <c:v>6.21</c:v>
                </c:pt>
                <c:pt idx="245">
                  <c:v>6.21</c:v>
                </c:pt>
                <c:pt idx="246">
                  <c:v>6.1899999999999995</c:v>
                </c:pt>
                <c:pt idx="247">
                  <c:v>6.21</c:v>
                </c:pt>
                <c:pt idx="248">
                  <c:v>6.23</c:v>
                </c:pt>
                <c:pt idx="249">
                  <c:v>6.22</c:v>
                </c:pt>
                <c:pt idx="250">
                  <c:v>6.1899999999999995</c:v>
                </c:pt>
                <c:pt idx="251">
                  <c:v>6.18</c:v>
                </c:pt>
                <c:pt idx="252">
                  <c:v>6.2</c:v>
                </c:pt>
                <c:pt idx="253">
                  <c:v>6.1599999999999975</c:v>
                </c:pt>
                <c:pt idx="254">
                  <c:v>6.21</c:v>
                </c:pt>
                <c:pt idx="255">
                  <c:v>6.22</c:v>
                </c:pt>
                <c:pt idx="256">
                  <c:v>6.22</c:v>
                </c:pt>
                <c:pt idx="257">
                  <c:v>6.1899999999999995</c:v>
                </c:pt>
                <c:pt idx="258">
                  <c:v>6.1899999999999995</c:v>
                </c:pt>
                <c:pt idx="259">
                  <c:v>6.2</c:v>
                </c:pt>
                <c:pt idx="260">
                  <c:v>6.21</c:v>
                </c:pt>
                <c:pt idx="261">
                  <c:v>6.23</c:v>
                </c:pt>
                <c:pt idx="262">
                  <c:v>6.23</c:v>
                </c:pt>
                <c:pt idx="263">
                  <c:v>6.21</c:v>
                </c:pt>
                <c:pt idx="264">
                  <c:v>6.1599999999999975</c:v>
                </c:pt>
                <c:pt idx="265">
                  <c:v>6.21</c:v>
                </c:pt>
                <c:pt idx="266">
                  <c:v>6.25</c:v>
                </c:pt>
                <c:pt idx="267">
                  <c:v>6.28</c:v>
                </c:pt>
                <c:pt idx="268">
                  <c:v>6.21</c:v>
                </c:pt>
                <c:pt idx="269">
                  <c:v>6.06</c:v>
                </c:pt>
                <c:pt idx="270">
                  <c:v>5.98</c:v>
                </c:pt>
                <c:pt idx="271">
                  <c:v>5.91</c:v>
                </c:pt>
                <c:pt idx="272">
                  <c:v>5.94</c:v>
                </c:pt>
                <c:pt idx="273">
                  <c:v>5.91</c:v>
                </c:pt>
                <c:pt idx="274">
                  <c:v>5.9300000000000024</c:v>
                </c:pt>
                <c:pt idx="275">
                  <c:v>5.89</c:v>
                </c:pt>
                <c:pt idx="276">
                  <c:v>5.8599999999999985</c:v>
                </c:pt>
                <c:pt idx="277">
                  <c:v>5.84</c:v>
                </c:pt>
                <c:pt idx="278">
                  <c:v>5.83</c:v>
                </c:pt>
                <c:pt idx="279">
                  <c:v>5.83</c:v>
                </c:pt>
                <c:pt idx="280">
                  <c:v>5.89</c:v>
                </c:pt>
                <c:pt idx="281">
                  <c:v>5.96</c:v>
                </c:pt>
                <c:pt idx="282">
                  <c:v>5.99</c:v>
                </c:pt>
                <c:pt idx="283">
                  <c:v>6.09</c:v>
                </c:pt>
                <c:pt idx="284">
                  <c:v>6.1499999999999995</c:v>
                </c:pt>
                <c:pt idx="285">
                  <c:v>6.1899999999999995</c:v>
                </c:pt>
                <c:pt idx="286">
                  <c:v>6.13</c:v>
                </c:pt>
                <c:pt idx="287">
                  <c:v>6.1899999999999995</c:v>
                </c:pt>
                <c:pt idx="288">
                  <c:v>6.18</c:v>
                </c:pt>
                <c:pt idx="289">
                  <c:v>6.08</c:v>
                </c:pt>
                <c:pt idx="290">
                  <c:v>6.13</c:v>
                </c:pt>
                <c:pt idx="291">
                  <c:v>6.21</c:v>
                </c:pt>
                <c:pt idx="292">
                  <c:v>6.23</c:v>
                </c:pt>
                <c:pt idx="293">
                  <c:v>6.22</c:v>
                </c:pt>
                <c:pt idx="294">
                  <c:v>6.26</c:v>
                </c:pt>
                <c:pt idx="295">
                  <c:v>6.2700000000000014</c:v>
                </c:pt>
                <c:pt idx="296">
                  <c:v>6.03</c:v>
                </c:pt>
                <c:pt idx="297">
                  <c:v>6.02</c:v>
                </c:pt>
                <c:pt idx="298">
                  <c:v>5.55</c:v>
                </c:pt>
                <c:pt idx="299">
                  <c:v>5.45</c:v>
                </c:pt>
                <c:pt idx="300">
                  <c:v>5.49</c:v>
                </c:pt>
                <c:pt idx="301">
                  <c:v>5.45</c:v>
                </c:pt>
                <c:pt idx="302">
                  <c:v>5.35</c:v>
                </c:pt>
                <c:pt idx="303">
                  <c:v>5.3</c:v>
                </c:pt>
                <c:pt idx="304">
                  <c:v>5.33</c:v>
                </c:pt>
                <c:pt idx="305">
                  <c:v>5.29</c:v>
                </c:pt>
                <c:pt idx="306">
                  <c:v>5.28</c:v>
                </c:pt>
                <c:pt idx="307">
                  <c:v>5.2700000000000014</c:v>
                </c:pt>
                <c:pt idx="308">
                  <c:v>5.25</c:v>
                </c:pt>
                <c:pt idx="309">
                  <c:v>5.28</c:v>
                </c:pt>
                <c:pt idx="310">
                  <c:v>5.41</c:v>
                </c:pt>
                <c:pt idx="311">
                  <c:v>5.37</c:v>
                </c:pt>
                <c:pt idx="312">
                  <c:v>5.35</c:v>
                </c:pt>
                <c:pt idx="313">
                  <c:v>5.35</c:v>
                </c:pt>
                <c:pt idx="314">
                  <c:v>5.33</c:v>
                </c:pt>
                <c:pt idx="315">
                  <c:v>5.35</c:v>
                </c:pt>
                <c:pt idx="316">
                  <c:v>5.35</c:v>
                </c:pt>
                <c:pt idx="317">
                  <c:v>5.3199999999999985</c:v>
                </c:pt>
                <c:pt idx="318">
                  <c:v>5.35</c:v>
                </c:pt>
                <c:pt idx="319">
                  <c:v>5.35</c:v>
                </c:pt>
                <c:pt idx="320">
                  <c:v>5.4</c:v>
                </c:pt>
                <c:pt idx="321">
                  <c:v>5.34</c:v>
                </c:pt>
                <c:pt idx="322">
                  <c:v>5.37</c:v>
                </c:pt>
                <c:pt idx="323">
                  <c:v>5.35</c:v>
                </c:pt>
                <c:pt idx="324">
                  <c:v>5.35</c:v>
                </c:pt>
                <c:pt idx="325">
                  <c:v>5.4300000000000024</c:v>
                </c:pt>
                <c:pt idx="326">
                  <c:v>5.4700000000000024</c:v>
                </c:pt>
                <c:pt idx="327">
                  <c:v>5.49</c:v>
                </c:pt>
                <c:pt idx="328">
                  <c:v>5.49</c:v>
                </c:pt>
                <c:pt idx="329">
                  <c:v>5.4700000000000024</c:v>
                </c:pt>
                <c:pt idx="330">
                  <c:v>5.48</c:v>
                </c:pt>
                <c:pt idx="331">
                  <c:v>5.51</c:v>
                </c:pt>
                <c:pt idx="332">
                  <c:v>5.5</c:v>
                </c:pt>
                <c:pt idx="333">
                  <c:v>5.51</c:v>
                </c:pt>
                <c:pt idx="334">
                  <c:v>5.53</c:v>
                </c:pt>
                <c:pt idx="335">
                  <c:v>5.55</c:v>
                </c:pt>
                <c:pt idx="336">
                  <c:v>5.56</c:v>
                </c:pt>
                <c:pt idx="337">
                  <c:v>5.48</c:v>
                </c:pt>
                <c:pt idx="338">
                  <c:v>5.4300000000000024</c:v>
                </c:pt>
                <c:pt idx="339">
                  <c:v>5.4300000000000024</c:v>
                </c:pt>
                <c:pt idx="340">
                  <c:v>5.4</c:v>
                </c:pt>
                <c:pt idx="341">
                  <c:v>5.41</c:v>
                </c:pt>
                <c:pt idx="342">
                  <c:v>5.44</c:v>
                </c:pt>
                <c:pt idx="343">
                  <c:v>5.45</c:v>
                </c:pt>
                <c:pt idx="344">
                  <c:v>5.51</c:v>
                </c:pt>
                <c:pt idx="345">
                  <c:v>5.49</c:v>
                </c:pt>
                <c:pt idx="346">
                  <c:v>5.54</c:v>
                </c:pt>
                <c:pt idx="347">
                  <c:v>5.64</c:v>
                </c:pt>
                <c:pt idx="348">
                  <c:v>5.6599999999999975</c:v>
                </c:pt>
                <c:pt idx="349">
                  <c:v>5.55</c:v>
                </c:pt>
                <c:pt idx="350">
                  <c:v>5.4300000000000024</c:v>
                </c:pt>
                <c:pt idx="351">
                  <c:v>5.44</c:v>
                </c:pt>
                <c:pt idx="352">
                  <c:v>5.44</c:v>
                </c:pt>
                <c:pt idx="353">
                  <c:v>5.42</c:v>
                </c:pt>
                <c:pt idx="354">
                  <c:v>5.45</c:v>
                </c:pt>
                <c:pt idx="355">
                  <c:v>5.4700000000000024</c:v>
                </c:pt>
                <c:pt idx="356">
                  <c:v>5.46</c:v>
                </c:pt>
                <c:pt idx="357">
                  <c:v>5.4700000000000024</c:v>
                </c:pt>
                <c:pt idx="358">
                  <c:v>5.4700000000000024</c:v>
                </c:pt>
                <c:pt idx="359">
                  <c:v>5.48</c:v>
                </c:pt>
                <c:pt idx="360">
                  <c:v>5.48</c:v>
                </c:pt>
                <c:pt idx="361">
                  <c:v>5.51</c:v>
                </c:pt>
                <c:pt idx="362">
                  <c:v>5.5</c:v>
                </c:pt>
                <c:pt idx="363">
                  <c:v>5.52</c:v>
                </c:pt>
                <c:pt idx="364">
                  <c:v>5.48</c:v>
                </c:pt>
                <c:pt idx="365">
                  <c:v>5.48</c:v>
                </c:pt>
                <c:pt idx="366">
                  <c:v>5.5</c:v>
                </c:pt>
                <c:pt idx="367">
                  <c:v>5.56</c:v>
                </c:pt>
                <c:pt idx="368">
                  <c:v>5.6499999999999995</c:v>
                </c:pt>
                <c:pt idx="369">
                  <c:v>5.67</c:v>
                </c:pt>
                <c:pt idx="370">
                  <c:v>5.6899999999999995</c:v>
                </c:pt>
                <c:pt idx="371">
                  <c:v>5.71</c:v>
                </c:pt>
                <c:pt idx="372">
                  <c:v>5.75</c:v>
                </c:pt>
                <c:pt idx="373">
                  <c:v>5.73</c:v>
                </c:pt>
                <c:pt idx="374">
                  <c:v>5.81</c:v>
                </c:pt>
                <c:pt idx="375">
                  <c:v>5.87</c:v>
                </c:pt>
                <c:pt idx="376">
                  <c:v>5.81</c:v>
                </c:pt>
                <c:pt idx="377">
                  <c:v>5.8</c:v>
                </c:pt>
                <c:pt idx="378">
                  <c:v>5.72</c:v>
                </c:pt>
                <c:pt idx="379">
                  <c:v>5.71</c:v>
                </c:pt>
                <c:pt idx="380">
                  <c:v>5.71</c:v>
                </c:pt>
                <c:pt idx="381">
                  <c:v>5.71</c:v>
                </c:pt>
                <c:pt idx="382">
                  <c:v>5.68</c:v>
                </c:pt>
                <c:pt idx="383">
                  <c:v>5.7</c:v>
                </c:pt>
                <c:pt idx="384">
                  <c:v>5.67</c:v>
                </c:pt>
                <c:pt idx="385">
                  <c:v>5.67</c:v>
                </c:pt>
                <c:pt idx="386">
                  <c:v>5.68</c:v>
                </c:pt>
                <c:pt idx="387">
                  <c:v>5.6599999999999975</c:v>
                </c:pt>
                <c:pt idx="388">
                  <c:v>5.6499999999999995</c:v>
                </c:pt>
                <c:pt idx="389">
                  <c:v>5.6499999999999995</c:v>
                </c:pt>
                <c:pt idx="390">
                  <c:v>5.67</c:v>
                </c:pt>
                <c:pt idx="391">
                  <c:v>5.68</c:v>
                </c:pt>
                <c:pt idx="392">
                  <c:v>5.67</c:v>
                </c:pt>
                <c:pt idx="393">
                  <c:v>5.72</c:v>
                </c:pt>
                <c:pt idx="394">
                  <c:v>5.76</c:v>
                </c:pt>
                <c:pt idx="395">
                  <c:v>5.87</c:v>
                </c:pt>
                <c:pt idx="396">
                  <c:v>5.99</c:v>
                </c:pt>
                <c:pt idx="397">
                  <c:v>6.14</c:v>
                </c:pt>
                <c:pt idx="398">
                  <c:v>6.2</c:v>
                </c:pt>
                <c:pt idx="399">
                  <c:v>6.21</c:v>
                </c:pt>
                <c:pt idx="400">
                  <c:v>6.18</c:v>
                </c:pt>
                <c:pt idx="401">
                  <c:v>6.18</c:v>
                </c:pt>
                <c:pt idx="402">
                  <c:v>6.1899999999999995</c:v>
                </c:pt>
                <c:pt idx="403">
                  <c:v>6.17</c:v>
                </c:pt>
                <c:pt idx="404">
                  <c:v>6.25</c:v>
                </c:pt>
                <c:pt idx="405">
                  <c:v>6.23</c:v>
                </c:pt>
                <c:pt idx="406">
                  <c:v>6.1199999999999966</c:v>
                </c:pt>
                <c:pt idx="407">
                  <c:v>6.1599999999999975</c:v>
                </c:pt>
                <c:pt idx="408">
                  <c:v>6.21</c:v>
                </c:pt>
                <c:pt idx="409">
                  <c:v>6.24</c:v>
                </c:pt>
                <c:pt idx="410">
                  <c:v>6.24</c:v>
                </c:pt>
                <c:pt idx="411">
                  <c:v>6.3199999999999985</c:v>
                </c:pt>
                <c:pt idx="412">
                  <c:v>6.3199999999999985</c:v>
                </c:pt>
                <c:pt idx="413">
                  <c:v>6.3199999999999985</c:v>
                </c:pt>
                <c:pt idx="414">
                  <c:v>6.35</c:v>
                </c:pt>
                <c:pt idx="415">
                  <c:v>6.31</c:v>
                </c:pt>
                <c:pt idx="416">
                  <c:v>6.35</c:v>
                </c:pt>
                <c:pt idx="417">
                  <c:v>6.37</c:v>
                </c:pt>
                <c:pt idx="418">
                  <c:v>6.26</c:v>
                </c:pt>
                <c:pt idx="419">
                  <c:v>6.1199999999999966</c:v>
                </c:pt>
                <c:pt idx="420">
                  <c:v>6.09</c:v>
                </c:pt>
                <c:pt idx="421">
                  <c:v>6.1099999999999985</c:v>
                </c:pt>
                <c:pt idx="422">
                  <c:v>6.06</c:v>
                </c:pt>
                <c:pt idx="423">
                  <c:v>5.92</c:v>
                </c:pt>
                <c:pt idx="424">
                  <c:v>5.73</c:v>
                </c:pt>
                <c:pt idx="425">
                  <c:v>5.6199999999999966</c:v>
                </c:pt>
                <c:pt idx="426">
                  <c:v>5.58</c:v>
                </c:pt>
                <c:pt idx="427">
                  <c:v>5.56</c:v>
                </c:pt>
                <c:pt idx="428">
                  <c:v>5.3</c:v>
                </c:pt>
                <c:pt idx="429">
                  <c:v>5.03</c:v>
                </c:pt>
                <c:pt idx="430">
                  <c:v>5.01</c:v>
                </c:pt>
                <c:pt idx="431">
                  <c:v>5.04</c:v>
                </c:pt>
                <c:pt idx="432">
                  <c:v>5.04</c:v>
                </c:pt>
                <c:pt idx="433">
                  <c:v>5.0199999999999996</c:v>
                </c:pt>
                <c:pt idx="434">
                  <c:v>5.04</c:v>
                </c:pt>
                <c:pt idx="435">
                  <c:v>5.04</c:v>
                </c:pt>
                <c:pt idx="436">
                  <c:v>4.99</c:v>
                </c:pt>
                <c:pt idx="437">
                  <c:v>4.9800000000000004</c:v>
                </c:pt>
                <c:pt idx="438">
                  <c:v>4.96</c:v>
                </c:pt>
                <c:pt idx="439">
                  <c:v>4.96</c:v>
                </c:pt>
                <c:pt idx="440">
                  <c:v>5.01</c:v>
                </c:pt>
                <c:pt idx="441">
                  <c:v>5.03</c:v>
                </c:pt>
                <c:pt idx="442">
                  <c:v>5.03</c:v>
                </c:pt>
                <c:pt idx="443">
                  <c:v>5.05</c:v>
                </c:pt>
                <c:pt idx="444">
                  <c:v>5.08</c:v>
                </c:pt>
                <c:pt idx="445">
                  <c:v>5.1599999999999975</c:v>
                </c:pt>
                <c:pt idx="446">
                  <c:v>5.1899999999999995</c:v>
                </c:pt>
                <c:pt idx="447">
                  <c:v>5.26</c:v>
                </c:pt>
                <c:pt idx="448">
                  <c:v>5.34</c:v>
                </c:pt>
                <c:pt idx="449">
                  <c:v>5.41</c:v>
                </c:pt>
                <c:pt idx="450">
                  <c:v>5.55</c:v>
                </c:pt>
                <c:pt idx="451">
                  <c:v>5.64</c:v>
                </c:pt>
                <c:pt idx="452">
                  <c:v>5.87</c:v>
                </c:pt>
                <c:pt idx="453">
                  <c:v>6.09</c:v>
                </c:pt>
                <c:pt idx="454">
                  <c:v>6.1199999999999966</c:v>
                </c:pt>
                <c:pt idx="455">
                  <c:v>6.17</c:v>
                </c:pt>
                <c:pt idx="456">
                  <c:v>6.21</c:v>
                </c:pt>
                <c:pt idx="457">
                  <c:v>6.18</c:v>
                </c:pt>
                <c:pt idx="458">
                  <c:v>6.23</c:v>
                </c:pt>
                <c:pt idx="459">
                  <c:v>6.21</c:v>
                </c:pt>
                <c:pt idx="460">
                  <c:v>6.22</c:v>
                </c:pt>
                <c:pt idx="461">
                  <c:v>6.21</c:v>
                </c:pt>
                <c:pt idx="462">
                  <c:v>6.21</c:v>
                </c:pt>
                <c:pt idx="463">
                  <c:v>6.22</c:v>
                </c:pt>
                <c:pt idx="464">
                  <c:v>6.2</c:v>
                </c:pt>
                <c:pt idx="465">
                  <c:v>6.1899999999999995</c:v>
                </c:pt>
                <c:pt idx="466">
                  <c:v>6.1899999999999995</c:v>
                </c:pt>
                <c:pt idx="467">
                  <c:v>6.23</c:v>
                </c:pt>
                <c:pt idx="468">
                  <c:v>6.2700000000000014</c:v>
                </c:pt>
                <c:pt idx="469">
                  <c:v>6.29</c:v>
                </c:pt>
                <c:pt idx="470">
                  <c:v>6.3199999999999985</c:v>
                </c:pt>
                <c:pt idx="471">
                  <c:v>6.33</c:v>
                </c:pt>
                <c:pt idx="472">
                  <c:v>6.3599999999999985</c:v>
                </c:pt>
                <c:pt idx="473">
                  <c:v>6.35</c:v>
                </c:pt>
                <c:pt idx="474">
                  <c:v>6.35</c:v>
                </c:pt>
                <c:pt idx="475">
                  <c:v>6.38</c:v>
                </c:pt>
                <c:pt idx="476">
                  <c:v>6.4</c:v>
                </c:pt>
                <c:pt idx="477">
                  <c:v>6.46</c:v>
                </c:pt>
                <c:pt idx="478">
                  <c:v>6.46</c:v>
                </c:pt>
                <c:pt idx="479">
                  <c:v>6.54</c:v>
                </c:pt>
                <c:pt idx="480">
                  <c:v>6.56</c:v>
                </c:pt>
                <c:pt idx="481">
                  <c:v>6.6099999999999985</c:v>
                </c:pt>
                <c:pt idx="482">
                  <c:v>6.6099999999999985</c:v>
                </c:pt>
                <c:pt idx="483">
                  <c:v>6.58</c:v>
                </c:pt>
                <c:pt idx="484">
                  <c:v>6.57</c:v>
                </c:pt>
                <c:pt idx="485">
                  <c:v>6.58</c:v>
                </c:pt>
                <c:pt idx="486">
                  <c:v>6.59</c:v>
                </c:pt>
                <c:pt idx="487">
                  <c:v>6.6</c:v>
                </c:pt>
                <c:pt idx="488">
                  <c:v>6.59</c:v>
                </c:pt>
                <c:pt idx="489">
                  <c:v>6.6199999999999966</c:v>
                </c:pt>
                <c:pt idx="490">
                  <c:v>6.64</c:v>
                </c:pt>
                <c:pt idx="491">
                  <c:v>6.68</c:v>
                </c:pt>
                <c:pt idx="492">
                  <c:v>6.67</c:v>
                </c:pt>
                <c:pt idx="493">
                  <c:v>6.67</c:v>
                </c:pt>
                <c:pt idx="494">
                  <c:v>6.68</c:v>
                </c:pt>
                <c:pt idx="495">
                  <c:v>6.72</c:v>
                </c:pt>
                <c:pt idx="496">
                  <c:v>6.76</c:v>
                </c:pt>
                <c:pt idx="497">
                  <c:v>6.76</c:v>
                </c:pt>
                <c:pt idx="498">
                  <c:v>6.74</c:v>
                </c:pt>
                <c:pt idx="499">
                  <c:v>6.68</c:v>
                </c:pt>
                <c:pt idx="500">
                  <c:v>6.71</c:v>
                </c:pt>
                <c:pt idx="501">
                  <c:v>6.76</c:v>
                </c:pt>
                <c:pt idx="502">
                  <c:v>6.7700000000000014</c:v>
                </c:pt>
                <c:pt idx="503">
                  <c:v>6.76</c:v>
                </c:pt>
                <c:pt idx="504">
                  <c:v>6.73</c:v>
                </c:pt>
                <c:pt idx="505">
                  <c:v>6.7</c:v>
                </c:pt>
                <c:pt idx="506">
                  <c:v>6.6899999999999995</c:v>
                </c:pt>
                <c:pt idx="507">
                  <c:v>6.67</c:v>
                </c:pt>
                <c:pt idx="508">
                  <c:v>6.6899999999999995</c:v>
                </c:pt>
                <c:pt idx="509">
                  <c:v>6.7</c:v>
                </c:pt>
                <c:pt idx="510">
                  <c:v>6.71</c:v>
                </c:pt>
                <c:pt idx="511">
                  <c:v>6.74</c:v>
                </c:pt>
                <c:pt idx="512">
                  <c:v>6.72</c:v>
                </c:pt>
                <c:pt idx="513">
                  <c:v>6.73</c:v>
                </c:pt>
                <c:pt idx="514">
                  <c:v>6.71</c:v>
                </c:pt>
                <c:pt idx="515">
                  <c:v>6.75</c:v>
                </c:pt>
                <c:pt idx="516">
                  <c:v>6.73</c:v>
                </c:pt>
                <c:pt idx="517">
                  <c:v>6.76</c:v>
                </c:pt>
                <c:pt idx="518">
                  <c:v>6.8</c:v>
                </c:pt>
                <c:pt idx="519">
                  <c:v>6.75</c:v>
                </c:pt>
                <c:pt idx="520">
                  <c:v>6.7</c:v>
                </c:pt>
                <c:pt idx="521">
                  <c:v>6.71</c:v>
                </c:pt>
                <c:pt idx="522">
                  <c:v>6.73</c:v>
                </c:pt>
                <c:pt idx="523">
                  <c:v>6.76</c:v>
                </c:pt>
                <c:pt idx="524">
                  <c:v>6.72</c:v>
                </c:pt>
                <c:pt idx="525">
                  <c:v>6.73</c:v>
                </c:pt>
                <c:pt idx="526">
                  <c:v>6.7</c:v>
                </c:pt>
                <c:pt idx="527">
                  <c:v>6.7</c:v>
                </c:pt>
                <c:pt idx="528">
                  <c:v>6.6899999999999995</c:v>
                </c:pt>
                <c:pt idx="529">
                  <c:v>6.71</c:v>
                </c:pt>
                <c:pt idx="530">
                  <c:v>6.74</c:v>
                </c:pt>
                <c:pt idx="531">
                  <c:v>6.73</c:v>
                </c:pt>
                <c:pt idx="532">
                  <c:v>6.75</c:v>
                </c:pt>
                <c:pt idx="533">
                  <c:v>6.7</c:v>
                </c:pt>
                <c:pt idx="534">
                  <c:v>6.6899999999999995</c:v>
                </c:pt>
                <c:pt idx="535">
                  <c:v>6.63</c:v>
                </c:pt>
                <c:pt idx="536">
                  <c:v>6.6199999999999966</c:v>
                </c:pt>
                <c:pt idx="537">
                  <c:v>6.63</c:v>
                </c:pt>
                <c:pt idx="538">
                  <c:v>6.6199999999999966</c:v>
                </c:pt>
                <c:pt idx="539">
                  <c:v>6.71</c:v>
                </c:pt>
                <c:pt idx="540">
                  <c:v>6.78</c:v>
                </c:pt>
                <c:pt idx="541">
                  <c:v>6.92</c:v>
                </c:pt>
                <c:pt idx="542">
                  <c:v>7.07</c:v>
                </c:pt>
                <c:pt idx="543">
                  <c:v>7.18</c:v>
                </c:pt>
                <c:pt idx="544">
                  <c:v>7.24</c:v>
                </c:pt>
                <c:pt idx="545">
                  <c:v>7.24</c:v>
                </c:pt>
                <c:pt idx="546">
                  <c:v>7.21</c:v>
                </c:pt>
                <c:pt idx="547">
                  <c:v>7.21</c:v>
                </c:pt>
                <c:pt idx="548">
                  <c:v>7.23</c:v>
                </c:pt>
                <c:pt idx="549">
                  <c:v>7.18</c:v>
                </c:pt>
                <c:pt idx="550">
                  <c:v>7.14</c:v>
                </c:pt>
                <c:pt idx="551">
                  <c:v>7.13</c:v>
                </c:pt>
                <c:pt idx="552">
                  <c:v>7.1599999999999975</c:v>
                </c:pt>
                <c:pt idx="553">
                  <c:v>7.21</c:v>
                </c:pt>
                <c:pt idx="554">
                  <c:v>7.22</c:v>
                </c:pt>
                <c:pt idx="555">
                  <c:v>7.2</c:v>
                </c:pt>
                <c:pt idx="556">
                  <c:v>7.18</c:v>
                </c:pt>
                <c:pt idx="557">
                  <c:v>7.24</c:v>
                </c:pt>
                <c:pt idx="558">
                  <c:v>7.25</c:v>
                </c:pt>
                <c:pt idx="559">
                  <c:v>7.2700000000000014</c:v>
                </c:pt>
                <c:pt idx="560">
                  <c:v>7.26</c:v>
                </c:pt>
                <c:pt idx="561">
                  <c:v>7.2700000000000014</c:v>
                </c:pt>
                <c:pt idx="562">
                  <c:v>7.1599999999999975</c:v>
                </c:pt>
                <c:pt idx="563">
                  <c:v>7.08</c:v>
                </c:pt>
                <c:pt idx="564">
                  <c:v>6.94</c:v>
                </c:pt>
                <c:pt idx="565">
                  <c:v>6.8199999999999985</c:v>
                </c:pt>
                <c:pt idx="566">
                  <c:v>6.83</c:v>
                </c:pt>
                <c:pt idx="567">
                  <c:v>6.85</c:v>
                </c:pt>
                <c:pt idx="568">
                  <c:v>6.88</c:v>
                </c:pt>
                <c:pt idx="569">
                  <c:v>6.84</c:v>
                </c:pt>
                <c:pt idx="570">
                  <c:v>6.8</c:v>
                </c:pt>
                <c:pt idx="571">
                  <c:v>6.78</c:v>
                </c:pt>
                <c:pt idx="572">
                  <c:v>6.78</c:v>
                </c:pt>
                <c:pt idx="573">
                  <c:v>6.92</c:v>
                </c:pt>
                <c:pt idx="574">
                  <c:v>6.9300000000000024</c:v>
                </c:pt>
                <c:pt idx="575">
                  <c:v>6.85</c:v>
                </c:pt>
                <c:pt idx="576">
                  <c:v>6.8199999999999985</c:v>
                </c:pt>
                <c:pt idx="577">
                  <c:v>6.8599999999999985</c:v>
                </c:pt>
                <c:pt idx="578">
                  <c:v>6.87</c:v>
                </c:pt>
                <c:pt idx="579">
                  <c:v>6.81</c:v>
                </c:pt>
                <c:pt idx="580">
                  <c:v>6.7</c:v>
                </c:pt>
                <c:pt idx="581">
                  <c:v>6.76</c:v>
                </c:pt>
                <c:pt idx="582">
                  <c:v>6.76</c:v>
                </c:pt>
                <c:pt idx="583">
                  <c:v>6.73</c:v>
                </c:pt>
                <c:pt idx="584">
                  <c:v>6.75</c:v>
                </c:pt>
                <c:pt idx="585">
                  <c:v>6.7700000000000014</c:v>
                </c:pt>
                <c:pt idx="586">
                  <c:v>7.07</c:v>
                </c:pt>
                <c:pt idx="587">
                  <c:v>7.21</c:v>
                </c:pt>
                <c:pt idx="588">
                  <c:v>7.05</c:v>
                </c:pt>
                <c:pt idx="589">
                  <c:v>6.88</c:v>
                </c:pt>
                <c:pt idx="590">
                  <c:v>6.75</c:v>
                </c:pt>
                <c:pt idx="591">
                  <c:v>6.67</c:v>
                </c:pt>
                <c:pt idx="592">
                  <c:v>6.5</c:v>
                </c:pt>
                <c:pt idx="593">
                  <c:v>6.46</c:v>
                </c:pt>
                <c:pt idx="594">
                  <c:v>6.45</c:v>
                </c:pt>
                <c:pt idx="595">
                  <c:v>6.44</c:v>
                </c:pt>
                <c:pt idx="596">
                  <c:v>6.44</c:v>
                </c:pt>
                <c:pt idx="597">
                  <c:v>6.53</c:v>
                </c:pt>
                <c:pt idx="598">
                  <c:v>6.56</c:v>
                </c:pt>
                <c:pt idx="599">
                  <c:v>7.81</c:v>
                </c:pt>
                <c:pt idx="600">
                  <c:v>6.48</c:v>
                </c:pt>
                <c:pt idx="601">
                  <c:v>6</c:v>
                </c:pt>
                <c:pt idx="602">
                  <c:v>5.87</c:v>
                </c:pt>
                <c:pt idx="603">
                  <c:v>5.95</c:v>
                </c:pt>
                <c:pt idx="604">
                  <c:v>6.03</c:v>
                </c:pt>
                <c:pt idx="605">
                  <c:v>6.06</c:v>
                </c:pt>
                <c:pt idx="606">
                  <c:v>5.56</c:v>
                </c:pt>
                <c:pt idx="607">
                  <c:v>4.9400000000000004</c:v>
                </c:pt>
                <c:pt idx="608">
                  <c:v>5</c:v>
                </c:pt>
                <c:pt idx="609">
                  <c:v>4.71</c:v>
                </c:pt>
                <c:pt idx="610">
                  <c:v>4.75</c:v>
                </c:pt>
                <c:pt idx="611">
                  <c:v>4.8499999999999996</c:v>
                </c:pt>
                <c:pt idx="612">
                  <c:v>4.9000000000000004</c:v>
                </c:pt>
                <c:pt idx="613">
                  <c:v>4.9800000000000004</c:v>
                </c:pt>
                <c:pt idx="614">
                  <c:v>5.01</c:v>
                </c:pt>
                <c:pt idx="615">
                  <c:v>5.0999999999999996</c:v>
                </c:pt>
                <c:pt idx="616">
                  <c:v>5.18</c:v>
                </c:pt>
                <c:pt idx="617">
                  <c:v>5.1899999999999995</c:v>
                </c:pt>
                <c:pt idx="618">
                  <c:v>5.21</c:v>
                </c:pt>
                <c:pt idx="619">
                  <c:v>5.2</c:v>
                </c:pt>
                <c:pt idx="620">
                  <c:v>5.22</c:v>
                </c:pt>
                <c:pt idx="621">
                  <c:v>5.39</c:v>
                </c:pt>
                <c:pt idx="622">
                  <c:v>5.56</c:v>
                </c:pt>
                <c:pt idx="623">
                  <c:v>5.58</c:v>
                </c:pt>
                <c:pt idx="624">
                  <c:v>5.68</c:v>
                </c:pt>
                <c:pt idx="625">
                  <c:v>5.68</c:v>
                </c:pt>
                <c:pt idx="626">
                  <c:v>5.7</c:v>
                </c:pt>
                <c:pt idx="627">
                  <c:v>5.68</c:v>
                </c:pt>
                <c:pt idx="628">
                  <c:v>5.7700000000000014</c:v>
                </c:pt>
                <c:pt idx="629">
                  <c:v>5.94</c:v>
                </c:pt>
                <c:pt idx="630">
                  <c:v>6.1599999999999975</c:v>
                </c:pt>
                <c:pt idx="631">
                  <c:v>6.22</c:v>
                </c:pt>
                <c:pt idx="632">
                  <c:v>6.23</c:v>
                </c:pt>
                <c:pt idx="633">
                  <c:v>6.13</c:v>
                </c:pt>
                <c:pt idx="634">
                  <c:v>6.14</c:v>
                </c:pt>
                <c:pt idx="635">
                  <c:v>6.14</c:v>
                </c:pt>
                <c:pt idx="636">
                  <c:v>6.1</c:v>
                </c:pt>
                <c:pt idx="637">
                  <c:v>6.13</c:v>
                </c:pt>
                <c:pt idx="638">
                  <c:v>6.1899999999999995</c:v>
                </c:pt>
                <c:pt idx="639">
                  <c:v>6.38</c:v>
                </c:pt>
                <c:pt idx="640">
                  <c:v>6.4700000000000024</c:v>
                </c:pt>
                <c:pt idx="641">
                  <c:v>6.51</c:v>
                </c:pt>
                <c:pt idx="642">
                  <c:v>6.6</c:v>
                </c:pt>
                <c:pt idx="643">
                  <c:v>6.6599999999999975</c:v>
                </c:pt>
                <c:pt idx="644">
                  <c:v>6.73</c:v>
                </c:pt>
                <c:pt idx="645">
                  <c:v>6.67</c:v>
                </c:pt>
                <c:pt idx="646">
                  <c:v>6.76</c:v>
                </c:pt>
                <c:pt idx="647">
                  <c:v>6.9</c:v>
                </c:pt>
                <c:pt idx="648">
                  <c:v>6.91</c:v>
                </c:pt>
                <c:pt idx="649">
                  <c:v>6.9700000000000024</c:v>
                </c:pt>
                <c:pt idx="650">
                  <c:v>7.1099999999999985</c:v>
                </c:pt>
                <c:pt idx="651">
                  <c:v>7.13</c:v>
                </c:pt>
                <c:pt idx="652">
                  <c:v>7.13</c:v>
                </c:pt>
                <c:pt idx="653">
                  <c:v>7.1099999999999985</c:v>
                </c:pt>
                <c:pt idx="654">
                  <c:v>7.02</c:v>
                </c:pt>
                <c:pt idx="655">
                  <c:v>7.03</c:v>
                </c:pt>
                <c:pt idx="656">
                  <c:v>7.02</c:v>
                </c:pt>
                <c:pt idx="657">
                  <c:v>7.01</c:v>
                </c:pt>
                <c:pt idx="658">
                  <c:v>7.07</c:v>
                </c:pt>
                <c:pt idx="659">
                  <c:v>7.01</c:v>
                </c:pt>
                <c:pt idx="660">
                  <c:v>7.13</c:v>
                </c:pt>
                <c:pt idx="661">
                  <c:v>7.1899999999999995</c:v>
                </c:pt>
                <c:pt idx="662">
                  <c:v>7.22</c:v>
                </c:pt>
                <c:pt idx="663">
                  <c:v>7.29</c:v>
                </c:pt>
                <c:pt idx="664">
                  <c:v>7.04</c:v>
                </c:pt>
                <c:pt idx="665">
                  <c:v>7.24</c:v>
                </c:pt>
                <c:pt idx="666">
                  <c:v>7.84</c:v>
                </c:pt>
                <c:pt idx="667">
                  <c:v>8.15</c:v>
                </c:pt>
                <c:pt idx="668">
                  <c:v>8.2900000000000009</c:v>
                </c:pt>
                <c:pt idx="669">
                  <c:v>8.27</c:v>
                </c:pt>
                <c:pt idx="670">
                  <c:v>8.27</c:v>
                </c:pt>
                <c:pt idx="671">
                  <c:v>8.24</c:v>
                </c:pt>
                <c:pt idx="672">
                  <c:v>8.44</c:v>
                </c:pt>
                <c:pt idx="673">
                  <c:v>8.5</c:v>
                </c:pt>
                <c:pt idx="674">
                  <c:v>8.5300000000000011</c:v>
                </c:pt>
                <c:pt idx="675">
                  <c:v>8.5</c:v>
                </c:pt>
                <c:pt idx="676">
                  <c:v>8.5</c:v>
                </c:pt>
                <c:pt idx="677">
                  <c:v>8.51</c:v>
                </c:pt>
                <c:pt idx="678">
                  <c:v>8.52</c:v>
                </c:pt>
                <c:pt idx="679">
                  <c:v>8.51</c:v>
                </c:pt>
                <c:pt idx="680">
                  <c:v>8.5400000000000009</c:v>
                </c:pt>
                <c:pt idx="681">
                  <c:v>8.64</c:v>
                </c:pt>
                <c:pt idx="682">
                  <c:v>8.89</c:v>
                </c:pt>
                <c:pt idx="683">
                  <c:v>9.0400000000000009</c:v>
                </c:pt>
                <c:pt idx="684">
                  <c:v>9.4700000000000006</c:v>
                </c:pt>
                <c:pt idx="685">
                  <c:v>9.76</c:v>
                </c:pt>
                <c:pt idx="686">
                  <c:v>10.28</c:v>
                </c:pt>
                <c:pt idx="687">
                  <c:v>10.49</c:v>
                </c:pt>
              </c:numCache>
            </c:numRef>
          </c:val>
          <c:smooth val="0"/>
        </c:ser>
        <c:ser>
          <c:idx val="5"/>
          <c:order val="1"/>
          <c:tx>
            <c:strRef>
              <c:f>Sheet5!$E$6</c:f>
              <c:strCache>
                <c:ptCount val="1"/>
                <c:pt idx="0">
                  <c:v>RON Monetary Policy Rate</c:v>
                </c:pt>
              </c:strCache>
            </c:strRef>
          </c:tx>
          <c:spPr>
            <a:ln w="38100">
              <a:solidFill>
                <a:srgbClr val="FF5200"/>
              </a:solidFill>
            </a:ln>
          </c:spPr>
          <c:marker>
            <c:symbol val="none"/>
          </c:marker>
          <c:cat>
            <c:numRef>
              <c:f>Sheet5!$B$7:$B$1456</c:f>
              <c:numCache>
                <c:formatCode>[$-409]mmm\-yy;@</c:formatCode>
                <c:ptCount val="1450"/>
                <c:pt idx="0">
                  <c:v>41197</c:v>
                </c:pt>
                <c:pt idx="1">
                  <c:v>41194</c:v>
                </c:pt>
                <c:pt idx="2">
                  <c:v>41193</c:v>
                </c:pt>
                <c:pt idx="3">
                  <c:v>41192</c:v>
                </c:pt>
                <c:pt idx="4">
                  <c:v>41191</c:v>
                </c:pt>
                <c:pt idx="5">
                  <c:v>41190</c:v>
                </c:pt>
                <c:pt idx="6">
                  <c:v>41187</c:v>
                </c:pt>
                <c:pt idx="7">
                  <c:v>41186</c:v>
                </c:pt>
                <c:pt idx="8">
                  <c:v>41185</c:v>
                </c:pt>
                <c:pt idx="9">
                  <c:v>41184</c:v>
                </c:pt>
                <c:pt idx="10">
                  <c:v>41183</c:v>
                </c:pt>
                <c:pt idx="11">
                  <c:v>41180</c:v>
                </c:pt>
                <c:pt idx="12">
                  <c:v>41179</c:v>
                </c:pt>
                <c:pt idx="13">
                  <c:v>41178</c:v>
                </c:pt>
                <c:pt idx="14">
                  <c:v>41177</c:v>
                </c:pt>
                <c:pt idx="15">
                  <c:v>41176</c:v>
                </c:pt>
                <c:pt idx="16">
                  <c:v>41173</c:v>
                </c:pt>
                <c:pt idx="17">
                  <c:v>41172</c:v>
                </c:pt>
                <c:pt idx="18">
                  <c:v>41171</c:v>
                </c:pt>
                <c:pt idx="19">
                  <c:v>41170</c:v>
                </c:pt>
                <c:pt idx="20">
                  <c:v>41169</c:v>
                </c:pt>
                <c:pt idx="21">
                  <c:v>41166</c:v>
                </c:pt>
                <c:pt idx="22">
                  <c:v>41165</c:v>
                </c:pt>
                <c:pt idx="23">
                  <c:v>41164</c:v>
                </c:pt>
                <c:pt idx="24">
                  <c:v>41163</c:v>
                </c:pt>
                <c:pt idx="25">
                  <c:v>41162</c:v>
                </c:pt>
                <c:pt idx="26">
                  <c:v>41159</c:v>
                </c:pt>
                <c:pt idx="27">
                  <c:v>41158</c:v>
                </c:pt>
                <c:pt idx="28">
                  <c:v>41157</c:v>
                </c:pt>
                <c:pt idx="29">
                  <c:v>41156</c:v>
                </c:pt>
                <c:pt idx="30">
                  <c:v>41155</c:v>
                </c:pt>
                <c:pt idx="31">
                  <c:v>41152</c:v>
                </c:pt>
                <c:pt idx="32">
                  <c:v>41151</c:v>
                </c:pt>
                <c:pt idx="33">
                  <c:v>41150</c:v>
                </c:pt>
                <c:pt idx="34">
                  <c:v>41149</c:v>
                </c:pt>
                <c:pt idx="35">
                  <c:v>41148</c:v>
                </c:pt>
                <c:pt idx="36">
                  <c:v>41145</c:v>
                </c:pt>
                <c:pt idx="37">
                  <c:v>41144</c:v>
                </c:pt>
                <c:pt idx="38">
                  <c:v>41143</c:v>
                </c:pt>
                <c:pt idx="39">
                  <c:v>41142</c:v>
                </c:pt>
                <c:pt idx="40">
                  <c:v>41141</c:v>
                </c:pt>
                <c:pt idx="41">
                  <c:v>41138</c:v>
                </c:pt>
                <c:pt idx="42">
                  <c:v>41137</c:v>
                </c:pt>
                <c:pt idx="43">
                  <c:v>41135</c:v>
                </c:pt>
                <c:pt idx="44">
                  <c:v>41134</c:v>
                </c:pt>
                <c:pt idx="45">
                  <c:v>41131</c:v>
                </c:pt>
                <c:pt idx="46">
                  <c:v>41130</c:v>
                </c:pt>
                <c:pt idx="47">
                  <c:v>41129</c:v>
                </c:pt>
                <c:pt idx="48">
                  <c:v>41128</c:v>
                </c:pt>
                <c:pt idx="49">
                  <c:v>41127</c:v>
                </c:pt>
                <c:pt idx="50">
                  <c:v>41124</c:v>
                </c:pt>
                <c:pt idx="51">
                  <c:v>41123</c:v>
                </c:pt>
                <c:pt idx="52">
                  <c:v>41122</c:v>
                </c:pt>
                <c:pt idx="53">
                  <c:v>41121</c:v>
                </c:pt>
                <c:pt idx="54">
                  <c:v>41120</c:v>
                </c:pt>
                <c:pt idx="55">
                  <c:v>41117</c:v>
                </c:pt>
                <c:pt idx="56">
                  <c:v>41116</c:v>
                </c:pt>
                <c:pt idx="57">
                  <c:v>41115</c:v>
                </c:pt>
                <c:pt idx="58">
                  <c:v>41114</c:v>
                </c:pt>
                <c:pt idx="59">
                  <c:v>41113</c:v>
                </c:pt>
                <c:pt idx="60">
                  <c:v>41110</c:v>
                </c:pt>
                <c:pt idx="61">
                  <c:v>41109</c:v>
                </c:pt>
                <c:pt idx="62">
                  <c:v>41108</c:v>
                </c:pt>
                <c:pt idx="63">
                  <c:v>41107</c:v>
                </c:pt>
                <c:pt idx="64">
                  <c:v>41106</c:v>
                </c:pt>
                <c:pt idx="65">
                  <c:v>41103</c:v>
                </c:pt>
                <c:pt idx="66">
                  <c:v>41102</c:v>
                </c:pt>
                <c:pt idx="67">
                  <c:v>41101</c:v>
                </c:pt>
                <c:pt idx="68">
                  <c:v>41100</c:v>
                </c:pt>
                <c:pt idx="69">
                  <c:v>41099</c:v>
                </c:pt>
                <c:pt idx="70">
                  <c:v>41096</c:v>
                </c:pt>
                <c:pt idx="71">
                  <c:v>41095</c:v>
                </c:pt>
                <c:pt idx="72">
                  <c:v>41094</c:v>
                </c:pt>
                <c:pt idx="73">
                  <c:v>41093</c:v>
                </c:pt>
                <c:pt idx="74">
                  <c:v>41092</c:v>
                </c:pt>
                <c:pt idx="75">
                  <c:v>41089</c:v>
                </c:pt>
                <c:pt idx="76">
                  <c:v>41088</c:v>
                </c:pt>
                <c:pt idx="77">
                  <c:v>41087</c:v>
                </c:pt>
                <c:pt idx="78">
                  <c:v>41086</c:v>
                </c:pt>
                <c:pt idx="79">
                  <c:v>41085</c:v>
                </c:pt>
                <c:pt idx="80">
                  <c:v>41082</c:v>
                </c:pt>
                <c:pt idx="81">
                  <c:v>41081</c:v>
                </c:pt>
                <c:pt idx="82">
                  <c:v>41080</c:v>
                </c:pt>
                <c:pt idx="83">
                  <c:v>41079</c:v>
                </c:pt>
                <c:pt idx="84">
                  <c:v>41078</c:v>
                </c:pt>
                <c:pt idx="85">
                  <c:v>41075</c:v>
                </c:pt>
                <c:pt idx="86">
                  <c:v>41074</c:v>
                </c:pt>
                <c:pt idx="87">
                  <c:v>41073</c:v>
                </c:pt>
                <c:pt idx="88">
                  <c:v>41072</c:v>
                </c:pt>
                <c:pt idx="89">
                  <c:v>41071</c:v>
                </c:pt>
                <c:pt idx="90">
                  <c:v>41068</c:v>
                </c:pt>
                <c:pt idx="91">
                  <c:v>41067</c:v>
                </c:pt>
                <c:pt idx="92">
                  <c:v>41066</c:v>
                </c:pt>
                <c:pt idx="93">
                  <c:v>41065</c:v>
                </c:pt>
                <c:pt idx="94">
                  <c:v>41061</c:v>
                </c:pt>
                <c:pt idx="95">
                  <c:v>41060</c:v>
                </c:pt>
                <c:pt idx="96">
                  <c:v>41059</c:v>
                </c:pt>
                <c:pt idx="97">
                  <c:v>41058</c:v>
                </c:pt>
                <c:pt idx="98">
                  <c:v>41057</c:v>
                </c:pt>
                <c:pt idx="99">
                  <c:v>41054</c:v>
                </c:pt>
                <c:pt idx="100">
                  <c:v>41053</c:v>
                </c:pt>
                <c:pt idx="101">
                  <c:v>41052</c:v>
                </c:pt>
                <c:pt idx="102">
                  <c:v>41051</c:v>
                </c:pt>
                <c:pt idx="103">
                  <c:v>41050</c:v>
                </c:pt>
                <c:pt idx="104">
                  <c:v>41047</c:v>
                </c:pt>
                <c:pt idx="105">
                  <c:v>41046</c:v>
                </c:pt>
                <c:pt idx="106">
                  <c:v>41045</c:v>
                </c:pt>
                <c:pt idx="107">
                  <c:v>41044</c:v>
                </c:pt>
                <c:pt idx="108">
                  <c:v>41043</c:v>
                </c:pt>
                <c:pt idx="109">
                  <c:v>41040</c:v>
                </c:pt>
                <c:pt idx="110">
                  <c:v>41039</c:v>
                </c:pt>
                <c:pt idx="111">
                  <c:v>41038</c:v>
                </c:pt>
                <c:pt idx="112">
                  <c:v>41037</c:v>
                </c:pt>
                <c:pt idx="113">
                  <c:v>41036</c:v>
                </c:pt>
                <c:pt idx="114">
                  <c:v>41033</c:v>
                </c:pt>
                <c:pt idx="115">
                  <c:v>41032</c:v>
                </c:pt>
                <c:pt idx="116">
                  <c:v>41031</c:v>
                </c:pt>
                <c:pt idx="117">
                  <c:v>41029</c:v>
                </c:pt>
                <c:pt idx="118">
                  <c:v>41026</c:v>
                </c:pt>
                <c:pt idx="119">
                  <c:v>41025</c:v>
                </c:pt>
                <c:pt idx="120">
                  <c:v>41024</c:v>
                </c:pt>
                <c:pt idx="121">
                  <c:v>41023</c:v>
                </c:pt>
                <c:pt idx="122">
                  <c:v>41022</c:v>
                </c:pt>
                <c:pt idx="123">
                  <c:v>41019</c:v>
                </c:pt>
                <c:pt idx="124">
                  <c:v>41018</c:v>
                </c:pt>
                <c:pt idx="125">
                  <c:v>41017</c:v>
                </c:pt>
                <c:pt idx="126">
                  <c:v>41016</c:v>
                </c:pt>
                <c:pt idx="127">
                  <c:v>41012</c:v>
                </c:pt>
                <c:pt idx="128">
                  <c:v>41011</c:v>
                </c:pt>
                <c:pt idx="129">
                  <c:v>41010</c:v>
                </c:pt>
                <c:pt idx="130">
                  <c:v>41009</c:v>
                </c:pt>
                <c:pt idx="131">
                  <c:v>41008</c:v>
                </c:pt>
                <c:pt idx="132">
                  <c:v>41005</c:v>
                </c:pt>
                <c:pt idx="133">
                  <c:v>41004</c:v>
                </c:pt>
                <c:pt idx="134">
                  <c:v>41003</c:v>
                </c:pt>
                <c:pt idx="135">
                  <c:v>41002</c:v>
                </c:pt>
                <c:pt idx="136">
                  <c:v>41001</c:v>
                </c:pt>
                <c:pt idx="137">
                  <c:v>40998</c:v>
                </c:pt>
                <c:pt idx="138">
                  <c:v>40997</c:v>
                </c:pt>
                <c:pt idx="139">
                  <c:v>40996</c:v>
                </c:pt>
                <c:pt idx="140">
                  <c:v>40995</c:v>
                </c:pt>
                <c:pt idx="141">
                  <c:v>40994</c:v>
                </c:pt>
                <c:pt idx="142">
                  <c:v>40991</c:v>
                </c:pt>
                <c:pt idx="143">
                  <c:v>40990</c:v>
                </c:pt>
                <c:pt idx="144">
                  <c:v>40989</c:v>
                </c:pt>
                <c:pt idx="145">
                  <c:v>40988</c:v>
                </c:pt>
                <c:pt idx="146">
                  <c:v>40987</c:v>
                </c:pt>
                <c:pt idx="147">
                  <c:v>40984</c:v>
                </c:pt>
                <c:pt idx="148">
                  <c:v>40983</c:v>
                </c:pt>
                <c:pt idx="149">
                  <c:v>40982</c:v>
                </c:pt>
                <c:pt idx="150">
                  <c:v>40981</c:v>
                </c:pt>
                <c:pt idx="151">
                  <c:v>40980</c:v>
                </c:pt>
                <c:pt idx="152">
                  <c:v>40977</c:v>
                </c:pt>
                <c:pt idx="153">
                  <c:v>40976</c:v>
                </c:pt>
                <c:pt idx="154">
                  <c:v>40975</c:v>
                </c:pt>
                <c:pt idx="155">
                  <c:v>40974</c:v>
                </c:pt>
                <c:pt idx="156">
                  <c:v>40973</c:v>
                </c:pt>
                <c:pt idx="157">
                  <c:v>40970</c:v>
                </c:pt>
                <c:pt idx="158">
                  <c:v>40969</c:v>
                </c:pt>
                <c:pt idx="159">
                  <c:v>40968</c:v>
                </c:pt>
                <c:pt idx="160">
                  <c:v>40967</c:v>
                </c:pt>
                <c:pt idx="161">
                  <c:v>40966</c:v>
                </c:pt>
                <c:pt idx="162">
                  <c:v>40963</c:v>
                </c:pt>
                <c:pt idx="163">
                  <c:v>40962</c:v>
                </c:pt>
                <c:pt idx="164">
                  <c:v>40961</c:v>
                </c:pt>
                <c:pt idx="165">
                  <c:v>40960</c:v>
                </c:pt>
                <c:pt idx="166">
                  <c:v>40959</c:v>
                </c:pt>
                <c:pt idx="167">
                  <c:v>40956</c:v>
                </c:pt>
                <c:pt idx="168">
                  <c:v>40955</c:v>
                </c:pt>
                <c:pt idx="169">
                  <c:v>40954</c:v>
                </c:pt>
                <c:pt idx="170">
                  <c:v>40953</c:v>
                </c:pt>
                <c:pt idx="171">
                  <c:v>40952</c:v>
                </c:pt>
                <c:pt idx="172">
                  <c:v>40949</c:v>
                </c:pt>
                <c:pt idx="173">
                  <c:v>40948</c:v>
                </c:pt>
                <c:pt idx="174">
                  <c:v>40947</c:v>
                </c:pt>
                <c:pt idx="175">
                  <c:v>40946</c:v>
                </c:pt>
                <c:pt idx="176">
                  <c:v>40945</c:v>
                </c:pt>
                <c:pt idx="177">
                  <c:v>40942</c:v>
                </c:pt>
                <c:pt idx="178">
                  <c:v>40941</c:v>
                </c:pt>
                <c:pt idx="179">
                  <c:v>40940</c:v>
                </c:pt>
                <c:pt idx="180">
                  <c:v>40939</c:v>
                </c:pt>
                <c:pt idx="181">
                  <c:v>40938</c:v>
                </c:pt>
                <c:pt idx="182">
                  <c:v>40935</c:v>
                </c:pt>
                <c:pt idx="183">
                  <c:v>40934</c:v>
                </c:pt>
                <c:pt idx="184">
                  <c:v>40933</c:v>
                </c:pt>
                <c:pt idx="185">
                  <c:v>40932</c:v>
                </c:pt>
                <c:pt idx="186">
                  <c:v>40931</c:v>
                </c:pt>
                <c:pt idx="187">
                  <c:v>40928</c:v>
                </c:pt>
                <c:pt idx="188">
                  <c:v>40927</c:v>
                </c:pt>
                <c:pt idx="189">
                  <c:v>40926</c:v>
                </c:pt>
                <c:pt idx="190">
                  <c:v>40925</c:v>
                </c:pt>
                <c:pt idx="191">
                  <c:v>40924</c:v>
                </c:pt>
                <c:pt idx="192">
                  <c:v>40921</c:v>
                </c:pt>
                <c:pt idx="193">
                  <c:v>40920</c:v>
                </c:pt>
                <c:pt idx="194">
                  <c:v>40919</c:v>
                </c:pt>
                <c:pt idx="195">
                  <c:v>40918</c:v>
                </c:pt>
                <c:pt idx="196">
                  <c:v>40917</c:v>
                </c:pt>
                <c:pt idx="197">
                  <c:v>40914</c:v>
                </c:pt>
                <c:pt idx="198">
                  <c:v>40913</c:v>
                </c:pt>
                <c:pt idx="199">
                  <c:v>40912</c:v>
                </c:pt>
                <c:pt idx="200">
                  <c:v>40907</c:v>
                </c:pt>
                <c:pt idx="201">
                  <c:v>40906</c:v>
                </c:pt>
                <c:pt idx="202">
                  <c:v>40905</c:v>
                </c:pt>
                <c:pt idx="203">
                  <c:v>40904</c:v>
                </c:pt>
                <c:pt idx="204">
                  <c:v>40900</c:v>
                </c:pt>
                <c:pt idx="205">
                  <c:v>40899</c:v>
                </c:pt>
                <c:pt idx="206">
                  <c:v>40898</c:v>
                </c:pt>
                <c:pt idx="207">
                  <c:v>40897</c:v>
                </c:pt>
                <c:pt idx="208">
                  <c:v>40896</c:v>
                </c:pt>
                <c:pt idx="209">
                  <c:v>40893</c:v>
                </c:pt>
                <c:pt idx="210">
                  <c:v>40892</c:v>
                </c:pt>
                <c:pt idx="211">
                  <c:v>40891</c:v>
                </c:pt>
                <c:pt idx="212">
                  <c:v>40890</c:v>
                </c:pt>
                <c:pt idx="213">
                  <c:v>40889</c:v>
                </c:pt>
                <c:pt idx="214">
                  <c:v>40886</c:v>
                </c:pt>
                <c:pt idx="215">
                  <c:v>40885</c:v>
                </c:pt>
                <c:pt idx="216">
                  <c:v>40884</c:v>
                </c:pt>
                <c:pt idx="217">
                  <c:v>40883</c:v>
                </c:pt>
                <c:pt idx="218">
                  <c:v>40882</c:v>
                </c:pt>
                <c:pt idx="219">
                  <c:v>40879</c:v>
                </c:pt>
                <c:pt idx="220">
                  <c:v>40877</c:v>
                </c:pt>
                <c:pt idx="221">
                  <c:v>40876</c:v>
                </c:pt>
                <c:pt idx="222">
                  <c:v>40875</c:v>
                </c:pt>
                <c:pt idx="223">
                  <c:v>40872</c:v>
                </c:pt>
                <c:pt idx="224">
                  <c:v>40871</c:v>
                </c:pt>
                <c:pt idx="225">
                  <c:v>40870</c:v>
                </c:pt>
                <c:pt idx="226">
                  <c:v>40869</c:v>
                </c:pt>
                <c:pt idx="227">
                  <c:v>40868</c:v>
                </c:pt>
                <c:pt idx="228">
                  <c:v>40865</c:v>
                </c:pt>
                <c:pt idx="229">
                  <c:v>40864</c:v>
                </c:pt>
                <c:pt idx="230">
                  <c:v>40863</c:v>
                </c:pt>
                <c:pt idx="231">
                  <c:v>40862</c:v>
                </c:pt>
                <c:pt idx="232">
                  <c:v>40861</c:v>
                </c:pt>
                <c:pt idx="233">
                  <c:v>40858</c:v>
                </c:pt>
                <c:pt idx="234">
                  <c:v>40857</c:v>
                </c:pt>
                <c:pt idx="235">
                  <c:v>40856</c:v>
                </c:pt>
                <c:pt idx="236">
                  <c:v>40855</c:v>
                </c:pt>
                <c:pt idx="237">
                  <c:v>40854</c:v>
                </c:pt>
                <c:pt idx="238">
                  <c:v>40851</c:v>
                </c:pt>
                <c:pt idx="239">
                  <c:v>40850</c:v>
                </c:pt>
                <c:pt idx="240">
                  <c:v>40849</c:v>
                </c:pt>
                <c:pt idx="241">
                  <c:v>40848</c:v>
                </c:pt>
                <c:pt idx="242">
                  <c:v>40847</c:v>
                </c:pt>
                <c:pt idx="243">
                  <c:v>40844</c:v>
                </c:pt>
                <c:pt idx="244">
                  <c:v>40843</c:v>
                </c:pt>
                <c:pt idx="245">
                  <c:v>40842</c:v>
                </c:pt>
                <c:pt idx="246">
                  <c:v>40841</c:v>
                </c:pt>
                <c:pt idx="247">
                  <c:v>40840</c:v>
                </c:pt>
                <c:pt idx="248">
                  <c:v>40837</c:v>
                </c:pt>
                <c:pt idx="249">
                  <c:v>40836</c:v>
                </c:pt>
                <c:pt idx="250">
                  <c:v>40835</c:v>
                </c:pt>
                <c:pt idx="251">
                  <c:v>40834</c:v>
                </c:pt>
                <c:pt idx="252">
                  <c:v>40833</c:v>
                </c:pt>
                <c:pt idx="253">
                  <c:v>40830</c:v>
                </c:pt>
                <c:pt idx="254">
                  <c:v>40829</c:v>
                </c:pt>
                <c:pt idx="255">
                  <c:v>40828</c:v>
                </c:pt>
                <c:pt idx="256">
                  <c:v>40827</c:v>
                </c:pt>
                <c:pt idx="257">
                  <c:v>40826</c:v>
                </c:pt>
                <c:pt idx="258">
                  <c:v>40823</c:v>
                </c:pt>
                <c:pt idx="259">
                  <c:v>40822</c:v>
                </c:pt>
                <c:pt idx="260">
                  <c:v>40821</c:v>
                </c:pt>
                <c:pt idx="261">
                  <c:v>40820</c:v>
                </c:pt>
                <c:pt idx="262">
                  <c:v>40819</c:v>
                </c:pt>
                <c:pt idx="263">
                  <c:v>40816</c:v>
                </c:pt>
                <c:pt idx="264">
                  <c:v>40815</c:v>
                </c:pt>
                <c:pt idx="265">
                  <c:v>40814</c:v>
                </c:pt>
                <c:pt idx="266">
                  <c:v>40813</c:v>
                </c:pt>
                <c:pt idx="267">
                  <c:v>40812</c:v>
                </c:pt>
                <c:pt idx="268">
                  <c:v>40809</c:v>
                </c:pt>
                <c:pt idx="269">
                  <c:v>40808</c:v>
                </c:pt>
                <c:pt idx="270">
                  <c:v>40807</c:v>
                </c:pt>
                <c:pt idx="271">
                  <c:v>40806</c:v>
                </c:pt>
                <c:pt idx="272">
                  <c:v>40805</c:v>
                </c:pt>
                <c:pt idx="273">
                  <c:v>40802</c:v>
                </c:pt>
                <c:pt idx="274">
                  <c:v>40801</c:v>
                </c:pt>
                <c:pt idx="275">
                  <c:v>40800</c:v>
                </c:pt>
                <c:pt idx="276">
                  <c:v>40799</c:v>
                </c:pt>
                <c:pt idx="277">
                  <c:v>40798</c:v>
                </c:pt>
                <c:pt idx="278">
                  <c:v>40795</c:v>
                </c:pt>
                <c:pt idx="279">
                  <c:v>40794</c:v>
                </c:pt>
                <c:pt idx="280">
                  <c:v>40793</c:v>
                </c:pt>
                <c:pt idx="281">
                  <c:v>40792</c:v>
                </c:pt>
                <c:pt idx="282">
                  <c:v>40791</c:v>
                </c:pt>
                <c:pt idx="283">
                  <c:v>40788</c:v>
                </c:pt>
                <c:pt idx="284">
                  <c:v>40787</c:v>
                </c:pt>
                <c:pt idx="285">
                  <c:v>40786</c:v>
                </c:pt>
                <c:pt idx="286">
                  <c:v>40785</c:v>
                </c:pt>
                <c:pt idx="287">
                  <c:v>40784</c:v>
                </c:pt>
                <c:pt idx="288">
                  <c:v>40781</c:v>
                </c:pt>
                <c:pt idx="289">
                  <c:v>40780</c:v>
                </c:pt>
                <c:pt idx="290">
                  <c:v>40779</c:v>
                </c:pt>
                <c:pt idx="291">
                  <c:v>40778</c:v>
                </c:pt>
                <c:pt idx="292">
                  <c:v>40777</c:v>
                </c:pt>
                <c:pt idx="293">
                  <c:v>40774</c:v>
                </c:pt>
                <c:pt idx="294">
                  <c:v>40773</c:v>
                </c:pt>
                <c:pt idx="295">
                  <c:v>40772</c:v>
                </c:pt>
                <c:pt idx="296">
                  <c:v>40771</c:v>
                </c:pt>
                <c:pt idx="297">
                  <c:v>40767</c:v>
                </c:pt>
                <c:pt idx="298">
                  <c:v>40766</c:v>
                </c:pt>
                <c:pt idx="299">
                  <c:v>40765</c:v>
                </c:pt>
                <c:pt idx="300">
                  <c:v>40764</c:v>
                </c:pt>
                <c:pt idx="301">
                  <c:v>40763</c:v>
                </c:pt>
                <c:pt idx="302">
                  <c:v>40760</c:v>
                </c:pt>
                <c:pt idx="303">
                  <c:v>40759</c:v>
                </c:pt>
                <c:pt idx="304">
                  <c:v>40758</c:v>
                </c:pt>
                <c:pt idx="305">
                  <c:v>40757</c:v>
                </c:pt>
                <c:pt idx="306">
                  <c:v>40756</c:v>
                </c:pt>
                <c:pt idx="307">
                  <c:v>40753</c:v>
                </c:pt>
                <c:pt idx="308">
                  <c:v>40752</c:v>
                </c:pt>
                <c:pt idx="309">
                  <c:v>40751</c:v>
                </c:pt>
                <c:pt idx="310">
                  <c:v>40750</c:v>
                </c:pt>
                <c:pt idx="311">
                  <c:v>40749</c:v>
                </c:pt>
                <c:pt idx="312">
                  <c:v>40746</c:v>
                </c:pt>
                <c:pt idx="313">
                  <c:v>40745</c:v>
                </c:pt>
                <c:pt idx="314">
                  <c:v>40744</c:v>
                </c:pt>
                <c:pt idx="315">
                  <c:v>40743</c:v>
                </c:pt>
                <c:pt idx="316">
                  <c:v>40742</c:v>
                </c:pt>
                <c:pt idx="317">
                  <c:v>40739</c:v>
                </c:pt>
                <c:pt idx="318">
                  <c:v>40738</c:v>
                </c:pt>
                <c:pt idx="319">
                  <c:v>40737</c:v>
                </c:pt>
                <c:pt idx="320">
                  <c:v>40736</c:v>
                </c:pt>
                <c:pt idx="321">
                  <c:v>40735</c:v>
                </c:pt>
                <c:pt idx="322">
                  <c:v>40732</c:v>
                </c:pt>
                <c:pt idx="323">
                  <c:v>40731</c:v>
                </c:pt>
                <c:pt idx="324">
                  <c:v>40730</c:v>
                </c:pt>
                <c:pt idx="325">
                  <c:v>40729</c:v>
                </c:pt>
                <c:pt idx="326">
                  <c:v>40728</c:v>
                </c:pt>
                <c:pt idx="327">
                  <c:v>40725</c:v>
                </c:pt>
                <c:pt idx="328">
                  <c:v>40724</c:v>
                </c:pt>
                <c:pt idx="329">
                  <c:v>40723</c:v>
                </c:pt>
                <c:pt idx="330">
                  <c:v>40722</c:v>
                </c:pt>
                <c:pt idx="331">
                  <c:v>40721</c:v>
                </c:pt>
                <c:pt idx="332">
                  <c:v>40718</c:v>
                </c:pt>
                <c:pt idx="333">
                  <c:v>40717</c:v>
                </c:pt>
                <c:pt idx="334">
                  <c:v>40716</c:v>
                </c:pt>
                <c:pt idx="335">
                  <c:v>40715</c:v>
                </c:pt>
                <c:pt idx="336">
                  <c:v>40714</c:v>
                </c:pt>
                <c:pt idx="337">
                  <c:v>40711</c:v>
                </c:pt>
                <c:pt idx="338">
                  <c:v>40710</c:v>
                </c:pt>
                <c:pt idx="339">
                  <c:v>40709</c:v>
                </c:pt>
                <c:pt idx="340">
                  <c:v>40708</c:v>
                </c:pt>
                <c:pt idx="341">
                  <c:v>40704</c:v>
                </c:pt>
                <c:pt idx="342">
                  <c:v>40703</c:v>
                </c:pt>
                <c:pt idx="343">
                  <c:v>40702</c:v>
                </c:pt>
                <c:pt idx="344">
                  <c:v>40701</c:v>
                </c:pt>
                <c:pt idx="345">
                  <c:v>40700</c:v>
                </c:pt>
                <c:pt idx="346">
                  <c:v>40697</c:v>
                </c:pt>
                <c:pt idx="347">
                  <c:v>40696</c:v>
                </c:pt>
                <c:pt idx="348">
                  <c:v>40695</c:v>
                </c:pt>
                <c:pt idx="349">
                  <c:v>40694</c:v>
                </c:pt>
                <c:pt idx="350">
                  <c:v>40693</c:v>
                </c:pt>
                <c:pt idx="351">
                  <c:v>40690</c:v>
                </c:pt>
                <c:pt idx="352">
                  <c:v>40689</c:v>
                </c:pt>
                <c:pt idx="353">
                  <c:v>40688</c:v>
                </c:pt>
                <c:pt idx="354">
                  <c:v>40687</c:v>
                </c:pt>
                <c:pt idx="355">
                  <c:v>40686</c:v>
                </c:pt>
                <c:pt idx="356">
                  <c:v>40683</c:v>
                </c:pt>
                <c:pt idx="357">
                  <c:v>40682</c:v>
                </c:pt>
                <c:pt idx="358">
                  <c:v>40681</c:v>
                </c:pt>
                <c:pt idx="359">
                  <c:v>40680</c:v>
                </c:pt>
                <c:pt idx="360">
                  <c:v>40679</c:v>
                </c:pt>
                <c:pt idx="361">
                  <c:v>40676</c:v>
                </c:pt>
                <c:pt idx="362">
                  <c:v>40675</c:v>
                </c:pt>
                <c:pt idx="363">
                  <c:v>40674</c:v>
                </c:pt>
                <c:pt idx="364">
                  <c:v>40673</c:v>
                </c:pt>
                <c:pt idx="365">
                  <c:v>40672</c:v>
                </c:pt>
                <c:pt idx="366">
                  <c:v>40669</c:v>
                </c:pt>
                <c:pt idx="367">
                  <c:v>40668</c:v>
                </c:pt>
                <c:pt idx="368">
                  <c:v>40667</c:v>
                </c:pt>
                <c:pt idx="369">
                  <c:v>40666</c:v>
                </c:pt>
                <c:pt idx="370">
                  <c:v>40665</c:v>
                </c:pt>
                <c:pt idx="371">
                  <c:v>40662</c:v>
                </c:pt>
                <c:pt idx="372">
                  <c:v>40661</c:v>
                </c:pt>
                <c:pt idx="373">
                  <c:v>40660</c:v>
                </c:pt>
                <c:pt idx="374">
                  <c:v>40659</c:v>
                </c:pt>
                <c:pt idx="375">
                  <c:v>40655</c:v>
                </c:pt>
                <c:pt idx="376">
                  <c:v>40654</c:v>
                </c:pt>
                <c:pt idx="377">
                  <c:v>40653</c:v>
                </c:pt>
                <c:pt idx="378">
                  <c:v>40652</c:v>
                </c:pt>
                <c:pt idx="379">
                  <c:v>40651</c:v>
                </c:pt>
                <c:pt idx="380">
                  <c:v>40648</c:v>
                </c:pt>
                <c:pt idx="381">
                  <c:v>40647</c:v>
                </c:pt>
                <c:pt idx="382">
                  <c:v>40646</c:v>
                </c:pt>
                <c:pt idx="383">
                  <c:v>40645</c:v>
                </c:pt>
                <c:pt idx="384">
                  <c:v>40644</c:v>
                </c:pt>
                <c:pt idx="385">
                  <c:v>40641</c:v>
                </c:pt>
                <c:pt idx="386">
                  <c:v>40640</c:v>
                </c:pt>
                <c:pt idx="387">
                  <c:v>40639</c:v>
                </c:pt>
                <c:pt idx="388">
                  <c:v>40638</c:v>
                </c:pt>
                <c:pt idx="389">
                  <c:v>40637</c:v>
                </c:pt>
                <c:pt idx="390">
                  <c:v>40634</c:v>
                </c:pt>
                <c:pt idx="391">
                  <c:v>40633</c:v>
                </c:pt>
                <c:pt idx="392">
                  <c:v>40632</c:v>
                </c:pt>
                <c:pt idx="393">
                  <c:v>40631</c:v>
                </c:pt>
                <c:pt idx="394">
                  <c:v>40630</c:v>
                </c:pt>
                <c:pt idx="395">
                  <c:v>40627</c:v>
                </c:pt>
                <c:pt idx="396">
                  <c:v>40626</c:v>
                </c:pt>
                <c:pt idx="397">
                  <c:v>40625</c:v>
                </c:pt>
                <c:pt idx="398">
                  <c:v>40624</c:v>
                </c:pt>
                <c:pt idx="399">
                  <c:v>40623</c:v>
                </c:pt>
                <c:pt idx="400">
                  <c:v>40620</c:v>
                </c:pt>
                <c:pt idx="401">
                  <c:v>40619</c:v>
                </c:pt>
                <c:pt idx="402">
                  <c:v>40618</c:v>
                </c:pt>
                <c:pt idx="403">
                  <c:v>40617</c:v>
                </c:pt>
                <c:pt idx="404">
                  <c:v>40616</c:v>
                </c:pt>
                <c:pt idx="405">
                  <c:v>40613</c:v>
                </c:pt>
                <c:pt idx="406">
                  <c:v>40612</c:v>
                </c:pt>
                <c:pt idx="407">
                  <c:v>40611</c:v>
                </c:pt>
                <c:pt idx="408">
                  <c:v>40610</c:v>
                </c:pt>
                <c:pt idx="409">
                  <c:v>40609</c:v>
                </c:pt>
                <c:pt idx="410">
                  <c:v>40606</c:v>
                </c:pt>
                <c:pt idx="411">
                  <c:v>40605</c:v>
                </c:pt>
                <c:pt idx="412">
                  <c:v>40604</c:v>
                </c:pt>
                <c:pt idx="413">
                  <c:v>40603</c:v>
                </c:pt>
                <c:pt idx="414">
                  <c:v>40602</c:v>
                </c:pt>
                <c:pt idx="415">
                  <c:v>40599</c:v>
                </c:pt>
                <c:pt idx="416">
                  <c:v>40598</c:v>
                </c:pt>
                <c:pt idx="417">
                  <c:v>40597</c:v>
                </c:pt>
                <c:pt idx="418">
                  <c:v>40596</c:v>
                </c:pt>
                <c:pt idx="419">
                  <c:v>40595</c:v>
                </c:pt>
                <c:pt idx="420">
                  <c:v>40592</c:v>
                </c:pt>
                <c:pt idx="421">
                  <c:v>40591</c:v>
                </c:pt>
                <c:pt idx="422">
                  <c:v>40590</c:v>
                </c:pt>
                <c:pt idx="423">
                  <c:v>40589</c:v>
                </c:pt>
                <c:pt idx="424">
                  <c:v>40588</c:v>
                </c:pt>
                <c:pt idx="425">
                  <c:v>40585</c:v>
                </c:pt>
                <c:pt idx="426">
                  <c:v>40584</c:v>
                </c:pt>
                <c:pt idx="427">
                  <c:v>40583</c:v>
                </c:pt>
                <c:pt idx="428">
                  <c:v>40582</c:v>
                </c:pt>
                <c:pt idx="429">
                  <c:v>40581</c:v>
                </c:pt>
                <c:pt idx="430">
                  <c:v>40578</c:v>
                </c:pt>
                <c:pt idx="431">
                  <c:v>40577</c:v>
                </c:pt>
                <c:pt idx="432">
                  <c:v>40576</c:v>
                </c:pt>
                <c:pt idx="433">
                  <c:v>40575</c:v>
                </c:pt>
                <c:pt idx="434">
                  <c:v>40574</c:v>
                </c:pt>
                <c:pt idx="435">
                  <c:v>40571</c:v>
                </c:pt>
                <c:pt idx="436">
                  <c:v>40570</c:v>
                </c:pt>
                <c:pt idx="437">
                  <c:v>40569</c:v>
                </c:pt>
                <c:pt idx="438">
                  <c:v>40568</c:v>
                </c:pt>
                <c:pt idx="439">
                  <c:v>40567</c:v>
                </c:pt>
                <c:pt idx="440">
                  <c:v>40564</c:v>
                </c:pt>
                <c:pt idx="441">
                  <c:v>40563</c:v>
                </c:pt>
                <c:pt idx="442">
                  <c:v>40562</c:v>
                </c:pt>
                <c:pt idx="443">
                  <c:v>40561</c:v>
                </c:pt>
                <c:pt idx="444">
                  <c:v>40560</c:v>
                </c:pt>
                <c:pt idx="445">
                  <c:v>40557</c:v>
                </c:pt>
                <c:pt idx="446">
                  <c:v>40556</c:v>
                </c:pt>
                <c:pt idx="447">
                  <c:v>40555</c:v>
                </c:pt>
                <c:pt idx="448">
                  <c:v>40554</c:v>
                </c:pt>
                <c:pt idx="449">
                  <c:v>40553</c:v>
                </c:pt>
                <c:pt idx="450">
                  <c:v>40550</c:v>
                </c:pt>
                <c:pt idx="451">
                  <c:v>40549</c:v>
                </c:pt>
                <c:pt idx="452">
                  <c:v>40548</c:v>
                </c:pt>
                <c:pt idx="453">
                  <c:v>40547</c:v>
                </c:pt>
                <c:pt idx="454">
                  <c:v>40546</c:v>
                </c:pt>
                <c:pt idx="455">
                  <c:v>40543</c:v>
                </c:pt>
                <c:pt idx="456">
                  <c:v>40542</c:v>
                </c:pt>
                <c:pt idx="457">
                  <c:v>40541</c:v>
                </c:pt>
                <c:pt idx="458">
                  <c:v>40540</c:v>
                </c:pt>
                <c:pt idx="459">
                  <c:v>40539</c:v>
                </c:pt>
                <c:pt idx="460">
                  <c:v>40535</c:v>
                </c:pt>
                <c:pt idx="461">
                  <c:v>40534</c:v>
                </c:pt>
                <c:pt idx="462">
                  <c:v>40533</c:v>
                </c:pt>
                <c:pt idx="463">
                  <c:v>40532</c:v>
                </c:pt>
                <c:pt idx="464">
                  <c:v>40529</c:v>
                </c:pt>
                <c:pt idx="465">
                  <c:v>40528</c:v>
                </c:pt>
                <c:pt idx="466">
                  <c:v>40527</c:v>
                </c:pt>
                <c:pt idx="467">
                  <c:v>40526</c:v>
                </c:pt>
                <c:pt idx="468">
                  <c:v>40525</c:v>
                </c:pt>
                <c:pt idx="469">
                  <c:v>40522</c:v>
                </c:pt>
                <c:pt idx="470">
                  <c:v>40521</c:v>
                </c:pt>
                <c:pt idx="471">
                  <c:v>40520</c:v>
                </c:pt>
                <c:pt idx="472">
                  <c:v>40519</c:v>
                </c:pt>
                <c:pt idx="473">
                  <c:v>40518</c:v>
                </c:pt>
                <c:pt idx="474">
                  <c:v>40515</c:v>
                </c:pt>
                <c:pt idx="475">
                  <c:v>40514</c:v>
                </c:pt>
                <c:pt idx="476">
                  <c:v>40512</c:v>
                </c:pt>
                <c:pt idx="477">
                  <c:v>40511</c:v>
                </c:pt>
                <c:pt idx="478">
                  <c:v>40508</c:v>
                </c:pt>
                <c:pt idx="479">
                  <c:v>40507</c:v>
                </c:pt>
                <c:pt idx="480">
                  <c:v>40506</c:v>
                </c:pt>
                <c:pt idx="481">
                  <c:v>40505</c:v>
                </c:pt>
                <c:pt idx="482">
                  <c:v>40504</c:v>
                </c:pt>
                <c:pt idx="483">
                  <c:v>40501</c:v>
                </c:pt>
                <c:pt idx="484">
                  <c:v>40500</c:v>
                </c:pt>
                <c:pt idx="485">
                  <c:v>40499</c:v>
                </c:pt>
                <c:pt idx="486">
                  <c:v>40498</c:v>
                </c:pt>
                <c:pt idx="487">
                  <c:v>40497</c:v>
                </c:pt>
                <c:pt idx="488">
                  <c:v>40494</c:v>
                </c:pt>
                <c:pt idx="489">
                  <c:v>40493</c:v>
                </c:pt>
                <c:pt idx="490">
                  <c:v>40492</c:v>
                </c:pt>
                <c:pt idx="491">
                  <c:v>40491</c:v>
                </c:pt>
                <c:pt idx="492">
                  <c:v>40490</c:v>
                </c:pt>
                <c:pt idx="493">
                  <c:v>40487</c:v>
                </c:pt>
                <c:pt idx="494">
                  <c:v>40486</c:v>
                </c:pt>
                <c:pt idx="495">
                  <c:v>40485</c:v>
                </c:pt>
                <c:pt idx="496">
                  <c:v>40451</c:v>
                </c:pt>
                <c:pt idx="497">
                  <c:v>40450</c:v>
                </c:pt>
                <c:pt idx="498">
                  <c:v>40449</c:v>
                </c:pt>
                <c:pt idx="499">
                  <c:v>40448</c:v>
                </c:pt>
                <c:pt idx="500">
                  <c:v>40445</c:v>
                </c:pt>
                <c:pt idx="501">
                  <c:v>40444</c:v>
                </c:pt>
                <c:pt idx="502">
                  <c:v>40443</c:v>
                </c:pt>
                <c:pt idx="503">
                  <c:v>40442</c:v>
                </c:pt>
                <c:pt idx="504">
                  <c:v>40441</c:v>
                </c:pt>
                <c:pt idx="505">
                  <c:v>40438</c:v>
                </c:pt>
                <c:pt idx="506">
                  <c:v>40437</c:v>
                </c:pt>
                <c:pt idx="507">
                  <c:v>40436</c:v>
                </c:pt>
                <c:pt idx="508">
                  <c:v>40435</c:v>
                </c:pt>
                <c:pt idx="509">
                  <c:v>40434</c:v>
                </c:pt>
                <c:pt idx="510">
                  <c:v>40431</c:v>
                </c:pt>
                <c:pt idx="511">
                  <c:v>40430</c:v>
                </c:pt>
                <c:pt idx="512">
                  <c:v>40429</c:v>
                </c:pt>
                <c:pt idx="513">
                  <c:v>40428</c:v>
                </c:pt>
                <c:pt idx="514">
                  <c:v>40427</c:v>
                </c:pt>
                <c:pt idx="515">
                  <c:v>40424</c:v>
                </c:pt>
                <c:pt idx="516">
                  <c:v>40423</c:v>
                </c:pt>
                <c:pt idx="517">
                  <c:v>40422</c:v>
                </c:pt>
                <c:pt idx="518">
                  <c:v>40421</c:v>
                </c:pt>
                <c:pt idx="519">
                  <c:v>40420</c:v>
                </c:pt>
                <c:pt idx="520">
                  <c:v>40417</c:v>
                </c:pt>
                <c:pt idx="521">
                  <c:v>40416</c:v>
                </c:pt>
                <c:pt idx="522">
                  <c:v>40415</c:v>
                </c:pt>
                <c:pt idx="523">
                  <c:v>40414</c:v>
                </c:pt>
                <c:pt idx="524">
                  <c:v>40413</c:v>
                </c:pt>
                <c:pt idx="525">
                  <c:v>40410</c:v>
                </c:pt>
                <c:pt idx="526">
                  <c:v>40409</c:v>
                </c:pt>
                <c:pt idx="527">
                  <c:v>40408</c:v>
                </c:pt>
                <c:pt idx="528">
                  <c:v>40407</c:v>
                </c:pt>
                <c:pt idx="529">
                  <c:v>40406</c:v>
                </c:pt>
                <c:pt idx="530">
                  <c:v>40403</c:v>
                </c:pt>
                <c:pt idx="531">
                  <c:v>40402</c:v>
                </c:pt>
                <c:pt idx="532">
                  <c:v>40401</c:v>
                </c:pt>
                <c:pt idx="533">
                  <c:v>40400</c:v>
                </c:pt>
                <c:pt idx="534">
                  <c:v>40399</c:v>
                </c:pt>
                <c:pt idx="535">
                  <c:v>40396</c:v>
                </c:pt>
                <c:pt idx="536">
                  <c:v>40395</c:v>
                </c:pt>
                <c:pt idx="537">
                  <c:v>40394</c:v>
                </c:pt>
                <c:pt idx="538">
                  <c:v>40393</c:v>
                </c:pt>
                <c:pt idx="539">
                  <c:v>40392</c:v>
                </c:pt>
                <c:pt idx="540">
                  <c:v>40389</c:v>
                </c:pt>
                <c:pt idx="541">
                  <c:v>40388</c:v>
                </c:pt>
                <c:pt idx="542">
                  <c:v>40387</c:v>
                </c:pt>
                <c:pt idx="543">
                  <c:v>40386</c:v>
                </c:pt>
                <c:pt idx="544">
                  <c:v>40385</c:v>
                </c:pt>
                <c:pt idx="545">
                  <c:v>40382</c:v>
                </c:pt>
                <c:pt idx="546">
                  <c:v>40381</c:v>
                </c:pt>
                <c:pt idx="547">
                  <c:v>40380</c:v>
                </c:pt>
                <c:pt idx="548">
                  <c:v>40379</c:v>
                </c:pt>
                <c:pt idx="549">
                  <c:v>40378</c:v>
                </c:pt>
                <c:pt idx="550">
                  <c:v>40375</c:v>
                </c:pt>
                <c:pt idx="551">
                  <c:v>40374</c:v>
                </c:pt>
                <c:pt idx="552">
                  <c:v>40373</c:v>
                </c:pt>
                <c:pt idx="553">
                  <c:v>40372</c:v>
                </c:pt>
                <c:pt idx="554">
                  <c:v>40371</c:v>
                </c:pt>
                <c:pt idx="555">
                  <c:v>40368</c:v>
                </c:pt>
                <c:pt idx="556">
                  <c:v>40367</c:v>
                </c:pt>
                <c:pt idx="557">
                  <c:v>40366</c:v>
                </c:pt>
                <c:pt idx="558">
                  <c:v>40365</c:v>
                </c:pt>
                <c:pt idx="559">
                  <c:v>40364</c:v>
                </c:pt>
                <c:pt idx="560">
                  <c:v>40361</c:v>
                </c:pt>
                <c:pt idx="561">
                  <c:v>40360</c:v>
                </c:pt>
                <c:pt idx="562">
                  <c:v>40359</c:v>
                </c:pt>
                <c:pt idx="563">
                  <c:v>40358</c:v>
                </c:pt>
                <c:pt idx="564">
                  <c:v>40357</c:v>
                </c:pt>
                <c:pt idx="565">
                  <c:v>40354</c:v>
                </c:pt>
                <c:pt idx="566">
                  <c:v>40353</c:v>
                </c:pt>
                <c:pt idx="567">
                  <c:v>40352</c:v>
                </c:pt>
                <c:pt idx="568">
                  <c:v>40351</c:v>
                </c:pt>
                <c:pt idx="569">
                  <c:v>40350</c:v>
                </c:pt>
                <c:pt idx="570">
                  <c:v>40347</c:v>
                </c:pt>
                <c:pt idx="571">
                  <c:v>40346</c:v>
                </c:pt>
                <c:pt idx="572">
                  <c:v>40345</c:v>
                </c:pt>
                <c:pt idx="573">
                  <c:v>40344</c:v>
                </c:pt>
                <c:pt idx="574">
                  <c:v>40343</c:v>
                </c:pt>
                <c:pt idx="575">
                  <c:v>40340</c:v>
                </c:pt>
                <c:pt idx="576">
                  <c:v>40339</c:v>
                </c:pt>
                <c:pt idx="577">
                  <c:v>40338</c:v>
                </c:pt>
                <c:pt idx="578">
                  <c:v>40337</c:v>
                </c:pt>
                <c:pt idx="579">
                  <c:v>40336</c:v>
                </c:pt>
                <c:pt idx="580">
                  <c:v>40333</c:v>
                </c:pt>
                <c:pt idx="581">
                  <c:v>40332</c:v>
                </c:pt>
                <c:pt idx="582">
                  <c:v>40331</c:v>
                </c:pt>
                <c:pt idx="583">
                  <c:v>40330</c:v>
                </c:pt>
                <c:pt idx="584">
                  <c:v>40329</c:v>
                </c:pt>
                <c:pt idx="585">
                  <c:v>40326</c:v>
                </c:pt>
                <c:pt idx="586">
                  <c:v>40325</c:v>
                </c:pt>
                <c:pt idx="587">
                  <c:v>40324</c:v>
                </c:pt>
                <c:pt idx="588">
                  <c:v>40323</c:v>
                </c:pt>
                <c:pt idx="589">
                  <c:v>40319</c:v>
                </c:pt>
                <c:pt idx="590">
                  <c:v>40318</c:v>
                </c:pt>
                <c:pt idx="591">
                  <c:v>40317</c:v>
                </c:pt>
                <c:pt idx="592">
                  <c:v>40316</c:v>
                </c:pt>
                <c:pt idx="593">
                  <c:v>40315</c:v>
                </c:pt>
                <c:pt idx="594">
                  <c:v>40312</c:v>
                </c:pt>
                <c:pt idx="595">
                  <c:v>40311</c:v>
                </c:pt>
                <c:pt idx="596">
                  <c:v>40310</c:v>
                </c:pt>
                <c:pt idx="597">
                  <c:v>40309</c:v>
                </c:pt>
                <c:pt idx="598">
                  <c:v>40308</c:v>
                </c:pt>
                <c:pt idx="599">
                  <c:v>40305</c:v>
                </c:pt>
                <c:pt idx="600">
                  <c:v>40304</c:v>
                </c:pt>
                <c:pt idx="601">
                  <c:v>40303</c:v>
                </c:pt>
                <c:pt idx="602">
                  <c:v>40302</c:v>
                </c:pt>
                <c:pt idx="603">
                  <c:v>40301</c:v>
                </c:pt>
                <c:pt idx="604">
                  <c:v>40298</c:v>
                </c:pt>
                <c:pt idx="605">
                  <c:v>40297</c:v>
                </c:pt>
                <c:pt idx="606">
                  <c:v>40296</c:v>
                </c:pt>
                <c:pt idx="607">
                  <c:v>40295</c:v>
                </c:pt>
                <c:pt idx="608">
                  <c:v>40294</c:v>
                </c:pt>
                <c:pt idx="609">
                  <c:v>40291</c:v>
                </c:pt>
                <c:pt idx="610">
                  <c:v>40290</c:v>
                </c:pt>
                <c:pt idx="611">
                  <c:v>40289</c:v>
                </c:pt>
                <c:pt idx="612">
                  <c:v>40288</c:v>
                </c:pt>
                <c:pt idx="613">
                  <c:v>40287</c:v>
                </c:pt>
                <c:pt idx="614">
                  <c:v>40284</c:v>
                </c:pt>
                <c:pt idx="615">
                  <c:v>40283</c:v>
                </c:pt>
                <c:pt idx="616">
                  <c:v>40282</c:v>
                </c:pt>
                <c:pt idx="617">
                  <c:v>40281</c:v>
                </c:pt>
                <c:pt idx="618">
                  <c:v>40280</c:v>
                </c:pt>
                <c:pt idx="619">
                  <c:v>40277</c:v>
                </c:pt>
                <c:pt idx="620">
                  <c:v>40276</c:v>
                </c:pt>
                <c:pt idx="621">
                  <c:v>40275</c:v>
                </c:pt>
                <c:pt idx="622">
                  <c:v>40274</c:v>
                </c:pt>
                <c:pt idx="623">
                  <c:v>40270</c:v>
                </c:pt>
                <c:pt idx="624">
                  <c:v>40269</c:v>
                </c:pt>
                <c:pt idx="625">
                  <c:v>40268</c:v>
                </c:pt>
                <c:pt idx="626">
                  <c:v>40267</c:v>
                </c:pt>
                <c:pt idx="627">
                  <c:v>40266</c:v>
                </c:pt>
                <c:pt idx="628">
                  <c:v>40263</c:v>
                </c:pt>
                <c:pt idx="629">
                  <c:v>40262</c:v>
                </c:pt>
                <c:pt idx="630">
                  <c:v>40261</c:v>
                </c:pt>
                <c:pt idx="631">
                  <c:v>40260</c:v>
                </c:pt>
                <c:pt idx="632">
                  <c:v>40259</c:v>
                </c:pt>
                <c:pt idx="633">
                  <c:v>40256</c:v>
                </c:pt>
                <c:pt idx="634">
                  <c:v>40255</c:v>
                </c:pt>
                <c:pt idx="635">
                  <c:v>40254</c:v>
                </c:pt>
                <c:pt idx="636">
                  <c:v>40253</c:v>
                </c:pt>
                <c:pt idx="637">
                  <c:v>40252</c:v>
                </c:pt>
                <c:pt idx="638">
                  <c:v>40249</c:v>
                </c:pt>
                <c:pt idx="639">
                  <c:v>40248</c:v>
                </c:pt>
                <c:pt idx="640">
                  <c:v>40247</c:v>
                </c:pt>
                <c:pt idx="641">
                  <c:v>40246</c:v>
                </c:pt>
                <c:pt idx="642">
                  <c:v>40245</c:v>
                </c:pt>
                <c:pt idx="643">
                  <c:v>40242</c:v>
                </c:pt>
                <c:pt idx="644">
                  <c:v>40241</c:v>
                </c:pt>
                <c:pt idx="645">
                  <c:v>40240</c:v>
                </c:pt>
                <c:pt idx="646">
                  <c:v>40239</c:v>
                </c:pt>
                <c:pt idx="647">
                  <c:v>40238</c:v>
                </c:pt>
                <c:pt idx="648">
                  <c:v>40235</c:v>
                </c:pt>
                <c:pt idx="649">
                  <c:v>40234</c:v>
                </c:pt>
                <c:pt idx="650">
                  <c:v>40233</c:v>
                </c:pt>
                <c:pt idx="651">
                  <c:v>40232</c:v>
                </c:pt>
                <c:pt idx="652">
                  <c:v>40231</c:v>
                </c:pt>
                <c:pt idx="653">
                  <c:v>40228</c:v>
                </c:pt>
                <c:pt idx="654">
                  <c:v>40227</c:v>
                </c:pt>
                <c:pt idx="655">
                  <c:v>40226</c:v>
                </c:pt>
                <c:pt idx="656">
                  <c:v>40225</c:v>
                </c:pt>
                <c:pt idx="657">
                  <c:v>40224</c:v>
                </c:pt>
                <c:pt idx="658">
                  <c:v>40221</c:v>
                </c:pt>
                <c:pt idx="659">
                  <c:v>40220</c:v>
                </c:pt>
                <c:pt idx="660">
                  <c:v>40219</c:v>
                </c:pt>
                <c:pt idx="661">
                  <c:v>40218</c:v>
                </c:pt>
                <c:pt idx="662">
                  <c:v>40217</c:v>
                </c:pt>
                <c:pt idx="663">
                  <c:v>40214</c:v>
                </c:pt>
                <c:pt idx="664">
                  <c:v>40213</c:v>
                </c:pt>
                <c:pt idx="665">
                  <c:v>40212</c:v>
                </c:pt>
                <c:pt idx="666">
                  <c:v>40211</c:v>
                </c:pt>
                <c:pt idx="667">
                  <c:v>40210</c:v>
                </c:pt>
                <c:pt idx="668">
                  <c:v>40207</c:v>
                </c:pt>
                <c:pt idx="669">
                  <c:v>40206</c:v>
                </c:pt>
                <c:pt idx="670">
                  <c:v>40205</c:v>
                </c:pt>
                <c:pt idx="671">
                  <c:v>40204</c:v>
                </c:pt>
                <c:pt idx="672">
                  <c:v>40203</c:v>
                </c:pt>
                <c:pt idx="673">
                  <c:v>40200</c:v>
                </c:pt>
                <c:pt idx="674">
                  <c:v>40199</c:v>
                </c:pt>
                <c:pt idx="675">
                  <c:v>40198</c:v>
                </c:pt>
                <c:pt idx="676">
                  <c:v>40197</c:v>
                </c:pt>
                <c:pt idx="677">
                  <c:v>40196</c:v>
                </c:pt>
                <c:pt idx="678">
                  <c:v>40193</c:v>
                </c:pt>
                <c:pt idx="679">
                  <c:v>40192</c:v>
                </c:pt>
                <c:pt idx="680">
                  <c:v>40191</c:v>
                </c:pt>
                <c:pt idx="681">
                  <c:v>40190</c:v>
                </c:pt>
                <c:pt idx="682">
                  <c:v>40189</c:v>
                </c:pt>
                <c:pt idx="683">
                  <c:v>40186</c:v>
                </c:pt>
                <c:pt idx="684">
                  <c:v>40185</c:v>
                </c:pt>
                <c:pt idx="685">
                  <c:v>40184</c:v>
                </c:pt>
                <c:pt idx="686">
                  <c:v>40183</c:v>
                </c:pt>
                <c:pt idx="687">
                  <c:v>40182</c:v>
                </c:pt>
              </c:numCache>
            </c:numRef>
          </c:cat>
          <c:val>
            <c:numRef>
              <c:f>Sheet5!$E$7:$E$948</c:f>
              <c:numCache>
                <c:formatCode>0.00</c:formatCode>
                <c:ptCount val="942"/>
                <c:pt idx="0">
                  <c:v>5.25</c:v>
                </c:pt>
                <c:pt idx="1">
                  <c:v>5.25</c:v>
                </c:pt>
                <c:pt idx="2">
                  <c:v>5.25</c:v>
                </c:pt>
                <c:pt idx="3">
                  <c:v>5.25</c:v>
                </c:pt>
                <c:pt idx="4">
                  <c:v>5.25</c:v>
                </c:pt>
                <c:pt idx="5">
                  <c:v>5.25</c:v>
                </c:pt>
                <c:pt idx="6">
                  <c:v>5.25</c:v>
                </c:pt>
                <c:pt idx="7">
                  <c:v>5.25</c:v>
                </c:pt>
                <c:pt idx="8">
                  <c:v>5.25</c:v>
                </c:pt>
                <c:pt idx="9">
                  <c:v>5.25</c:v>
                </c:pt>
                <c:pt idx="10">
                  <c:v>5.25</c:v>
                </c:pt>
                <c:pt idx="11">
                  <c:v>5.25</c:v>
                </c:pt>
                <c:pt idx="12">
                  <c:v>5.25</c:v>
                </c:pt>
                <c:pt idx="13">
                  <c:v>5.25</c:v>
                </c:pt>
                <c:pt idx="14">
                  <c:v>5.25</c:v>
                </c:pt>
                <c:pt idx="15">
                  <c:v>5.25</c:v>
                </c:pt>
                <c:pt idx="16">
                  <c:v>5.25</c:v>
                </c:pt>
                <c:pt idx="17">
                  <c:v>5.25</c:v>
                </c:pt>
                <c:pt idx="18">
                  <c:v>5.25</c:v>
                </c:pt>
                <c:pt idx="19">
                  <c:v>5.25</c:v>
                </c:pt>
                <c:pt idx="20">
                  <c:v>5.25</c:v>
                </c:pt>
                <c:pt idx="21">
                  <c:v>5.25</c:v>
                </c:pt>
                <c:pt idx="22">
                  <c:v>5.25</c:v>
                </c:pt>
                <c:pt idx="23">
                  <c:v>5.25</c:v>
                </c:pt>
                <c:pt idx="24">
                  <c:v>5.25</c:v>
                </c:pt>
                <c:pt idx="25">
                  <c:v>5.25</c:v>
                </c:pt>
                <c:pt idx="26">
                  <c:v>5.25</c:v>
                </c:pt>
                <c:pt idx="27">
                  <c:v>5.25</c:v>
                </c:pt>
                <c:pt idx="28">
                  <c:v>5.25</c:v>
                </c:pt>
                <c:pt idx="29">
                  <c:v>5.25</c:v>
                </c:pt>
                <c:pt idx="30">
                  <c:v>5.25</c:v>
                </c:pt>
                <c:pt idx="31">
                  <c:v>5.25</c:v>
                </c:pt>
                <c:pt idx="32">
                  <c:v>5.25</c:v>
                </c:pt>
                <c:pt idx="33">
                  <c:v>5.25</c:v>
                </c:pt>
                <c:pt idx="34">
                  <c:v>5.25</c:v>
                </c:pt>
                <c:pt idx="35">
                  <c:v>5.25</c:v>
                </c:pt>
                <c:pt idx="36">
                  <c:v>5.25</c:v>
                </c:pt>
                <c:pt idx="37">
                  <c:v>5.25</c:v>
                </c:pt>
                <c:pt idx="38">
                  <c:v>5.25</c:v>
                </c:pt>
                <c:pt idx="39">
                  <c:v>5.25</c:v>
                </c:pt>
                <c:pt idx="40">
                  <c:v>5.25</c:v>
                </c:pt>
                <c:pt idx="41">
                  <c:v>5.25</c:v>
                </c:pt>
                <c:pt idx="42">
                  <c:v>5.25</c:v>
                </c:pt>
                <c:pt idx="43">
                  <c:v>5.25</c:v>
                </c:pt>
                <c:pt idx="44">
                  <c:v>5.25</c:v>
                </c:pt>
                <c:pt idx="45">
                  <c:v>5.25</c:v>
                </c:pt>
                <c:pt idx="46">
                  <c:v>5.25</c:v>
                </c:pt>
                <c:pt idx="47">
                  <c:v>5.25</c:v>
                </c:pt>
                <c:pt idx="48">
                  <c:v>5.25</c:v>
                </c:pt>
                <c:pt idx="49">
                  <c:v>5.25</c:v>
                </c:pt>
                <c:pt idx="50">
                  <c:v>5.25</c:v>
                </c:pt>
                <c:pt idx="51">
                  <c:v>5.25</c:v>
                </c:pt>
                <c:pt idx="52">
                  <c:v>5.25</c:v>
                </c:pt>
                <c:pt idx="53">
                  <c:v>5.25</c:v>
                </c:pt>
                <c:pt idx="54">
                  <c:v>5.25</c:v>
                </c:pt>
                <c:pt idx="55">
                  <c:v>5.25</c:v>
                </c:pt>
                <c:pt idx="56">
                  <c:v>5.25</c:v>
                </c:pt>
                <c:pt idx="57">
                  <c:v>5.25</c:v>
                </c:pt>
                <c:pt idx="58">
                  <c:v>5.25</c:v>
                </c:pt>
                <c:pt idx="59">
                  <c:v>5.25</c:v>
                </c:pt>
                <c:pt idx="60">
                  <c:v>5.25</c:v>
                </c:pt>
                <c:pt idx="61">
                  <c:v>5.25</c:v>
                </c:pt>
                <c:pt idx="62">
                  <c:v>5.25</c:v>
                </c:pt>
                <c:pt idx="63">
                  <c:v>5.25</c:v>
                </c:pt>
                <c:pt idx="64">
                  <c:v>5.25</c:v>
                </c:pt>
                <c:pt idx="65">
                  <c:v>5.25</c:v>
                </c:pt>
                <c:pt idx="66">
                  <c:v>5.25</c:v>
                </c:pt>
                <c:pt idx="67">
                  <c:v>5.25</c:v>
                </c:pt>
                <c:pt idx="68">
                  <c:v>5.25</c:v>
                </c:pt>
                <c:pt idx="69">
                  <c:v>5.25</c:v>
                </c:pt>
                <c:pt idx="70">
                  <c:v>5.25</c:v>
                </c:pt>
                <c:pt idx="71">
                  <c:v>5.25</c:v>
                </c:pt>
                <c:pt idx="72">
                  <c:v>5.25</c:v>
                </c:pt>
                <c:pt idx="73">
                  <c:v>5.25</c:v>
                </c:pt>
                <c:pt idx="74">
                  <c:v>5.25</c:v>
                </c:pt>
                <c:pt idx="75">
                  <c:v>5.25</c:v>
                </c:pt>
                <c:pt idx="76">
                  <c:v>5.25</c:v>
                </c:pt>
                <c:pt idx="77">
                  <c:v>5.25</c:v>
                </c:pt>
                <c:pt idx="78">
                  <c:v>5.25</c:v>
                </c:pt>
                <c:pt idx="79">
                  <c:v>5.25</c:v>
                </c:pt>
                <c:pt idx="80">
                  <c:v>5.25</c:v>
                </c:pt>
                <c:pt idx="81">
                  <c:v>5.25</c:v>
                </c:pt>
                <c:pt idx="82">
                  <c:v>5.25</c:v>
                </c:pt>
                <c:pt idx="83">
                  <c:v>5.25</c:v>
                </c:pt>
                <c:pt idx="84">
                  <c:v>5.25</c:v>
                </c:pt>
                <c:pt idx="85">
                  <c:v>5.25</c:v>
                </c:pt>
                <c:pt idx="86">
                  <c:v>5.25</c:v>
                </c:pt>
                <c:pt idx="87">
                  <c:v>5.25</c:v>
                </c:pt>
                <c:pt idx="88">
                  <c:v>5.25</c:v>
                </c:pt>
                <c:pt idx="89">
                  <c:v>5.25</c:v>
                </c:pt>
                <c:pt idx="90">
                  <c:v>5.25</c:v>
                </c:pt>
                <c:pt idx="91">
                  <c:v>5.25</c:v>
                </c:pt>
                <c:pt idx="92">
                  <c:v>5.25</c:v>
                </c:pt>
                <c:pt idx="93">
                  <c:v>5.25</c:v>
                </c:pt>
                <c:pt idx="94">
                  <c:v>5.25</c:v>
                </c:pt>
                <c:pt idx="95">
                  <c:v>5.25</c:v>
                </c:pt>
                <c:pt idx="96">
                  <c:v>5.25</c:v>
                </c:pt>
                <c:pt idx="97">
                  <c:v>5.25</c:v>
                </c:pt>
                <c:pt idx="98">
                  <c:v>5.25</c:v>
                </c:pt>
                <c:pt idx="99">
                  <c:v>5.25</c:v>
                </c:pt>
                <c:pt idx="100">
                  <c:v>5.25</c:v>
                </c:pt>
                <c:pt idx="101">
                  <c:v>5.25</c:v>
                </c:pt>
                <c:pt idx="102">
                  <c:v>5.25</c:v>
                </c:pt>
                <c:pt idx="103">
                  <c:v>5.25</c:v>
                </c:pt>
                <c:pt idx="104">
                  <c:v>5.25</c:v>
                </c:pt>
                <c:pt idx="105">
                  <c:v>5.25</c:v>
                </c:pt>
                <c:pt idx="106">
                  <c:v>5.25</c:v>
                </c:pt>
                <c:pt idx="107">
                  <c:v>5.25</c:v>
                </c:pt>
                <c:pt idx="108">
                  <c:v>5.25</c:v>
                </c:pt>
                <c:pt idx="109">
                  <c:v>5.25</c:v>
                </c:pt>
                <c:pt idx="110">
                  <c:v>5.25</c:v>
                </c:pt>
                <c:pt idx="111">
                  <c:v>5.25</c:v>
                </c:pt>
                <c:pt idx="112">
                  <c:v>5.25</c:v>
                </c:pt>
                <c:pt idx="113">
                  <c:v>5.25</c:v>
                </c:pt>
                <c:pt idx="114">
                  <c:v>5.25</c:v>
                </c:pt>
                <c:pt idx="115">
                  <c:v>5.25</c:v>
                </c:pt>
                <c:pt idx="116">
                  <c:v>5.25</c:v>
                </c:pt>
                <c:pt idx="117">
                  <c:v>5.25</c:v>
                </c:pt>
                <c:pt idx="118">
                  <c:v>5.25</c:v>
                </c:pt>
                <c:pt idx="119">
                  <c:v>5.25</c:v>
                </c:pt>
                <c:pt idx="120">
                  <c:v>5.25</c:v>
                </c:pt>
                <c:pt idx="121">
                  <c:v>5.25</c:v>
                </c:pt>
                <c:pt idx="122">
                  <c:v>5.25</c:v>
                </c:pt>
                <c:pt idx="123">
                  <c:v>5.25</c:v>
                </c:pt>
                <c:pt idx="124">
                  <c:v>5.25</c:v>
                </c:pt>
                <c:pt idx="125">
                  <c:v>5.25</c:v>
                </c:pt>
                <c:pt idx="126">
                  <c:v>5.25</c:v>
                </c:pt>
                <c:pt idx="127">
                  <c:v>5.25</c:v>
                </c:pt>
                <c:pt idx="128">
                  <c:v>5.25</c:v>
                </c:pt>
                <c:pt idx="129">
                  <c:v>5.25</c:v>
                </c:pt>
                <c:pt idx="130">
                  <c:v>5.25</c:v>
                </c:pt>
                <c:pt idx="131">
                  <c:v>5.25</c:v>
                </c:pt>
                <c:pt idx="132">
                  <c:v>5.25</c:v>
                </c:pt>
                <c:pt idx="133">
                  <c:v>5.25</c:v>
                </c:pt>
                <c:pt idx="134">
                  <c:v>5.25</c:v>
                </c:pt>
                <c:pt idx="135">
                  <c:v>5.25</c:v>
                </c:pt>
                <c:pt idx="136">
                  <c:v>5.25</c:v>
                </c:pt>
                <c:pt idx="137">
                  <c:v>5.25</c:v>
                </c:pt>
                <c:pt idx="138">
                  <c:v>5.5</c:v>
                </c:pt>
                <c:pt idx="139">
                  <c:v>5.5</c:v>
                </c:pt>
                <c:pt idx="140">
                  <c:v>5.5</c:v>
                </c:pt>
                <c:pt idx="141">
                  <c:v>5.5</c:v>
                </c:pt>
                <c:pt idx="142">
                  <c:v>5.5</c:v>
                </c:pt>
                <c:pt idx="143">
                  <c:v>5.5</c:v>
                </c:pt>
                <c:pt idx="144">
                  <c:v>5.5</c:v>
                </c:pt>
                <c:pt idx="145">
                  <c:v>5.5</c:v>
                </c:pt>
                <c:pt idx="146">
                  <c:v>5.5</c:v>
                </c:pt>
                <c:pt idx="147">
                  <c:v>5.5</c:v>
                </c:pt>
                <c:pt idx="148">
                  <c:v>5.5</c:v>
                </c:pt>
                <c:pt idx="149">
                  <c:v>5.5</c:v>
                </c:pt>
                <c:pt idx="150">
                  <c:v>5.5</c:v>
                </c:pt>
                <c:pt idx="151">
                  <c:v>5.5</c:v>
                </c:pt>
                <c:pt idx="152">
                  <c:v>5.5</c:v>
                </c:pt>
                <c:pt idx="153">
                  <c:v>5.5</c:v>
                </c:pt>
                <c:pt idx="154">
                  <c:v>5.5</c:v>
                </c:pt>
                <c:pt idx="155">
                  <c:v>5.5</c:v>
                </c:pt>
                <c:pt idx="156">
                  <c:v>5.5</c:v>
                </c:pt>
                <c:pt idx="157">
                  <c:v>5.5</c:v>
                </c:pt>
                <c:pt idx="158">
                  <c:v>5.5</c:v>
                </c:pt>
                <c:pt idx="159">
                  <c:v>5.5</c:v>
                </c:pt>
                <c:pt idx="160">
                  <c:v>5.5</c:v>
                </c:pt>
                <c:pt idx="161">
                  <c:v>5.5</c:v>
                </c:pt>
                <c:pt idx="162">
                  <c:v>5.5</c:v>
                </c:pt>
                <c:pt idx="163">
                  <c:v>5.5</c:v>
                </c:pt>
                <c:pt idx="164">
                  <c:v>5.5</c:v>
                </c:pt>
                <c:pt idx="165">
                  <c:v>5.5</c:v>
                </c:pt>
                <c:pt idx="166">
                  <c:v>5.5</c:v>
                </c:pt>
                <c:pt idx="167">
                  <c:v>5.5</c:v>
                </c:pt>
                <c:pt idx="168">
                  <c:v>5.5</c:v>
                </c:pt>
                <c:pt idx="169">
                  <c:v>5.5</c:v>
                </c:pt>
                <c:pt idx="170">
                  <c:v>5.5</c:v>
                </c:pt>
                <c:pt idx="171">
                  <c:v>5.5</c:v>
                </c:pt>
                <c:pt idx="172">
                  <c:v>5.5</c:v>
                </c:pt>
                <c:pt idx="173">
                  <c:v>5.5</c:v>
                </c:pt>
                <c:pt idx="174">
                  <c:v>5.5</c:v>
                </c:pt>
                <c:pt idx="175">
                  <c:v>5.5</c:v>
                </c:pt>
                <c:pt idx="176">
                  <c:v>5.5</c:v>
                </c:pt>
                <c:pt idx="177">
                  <c:v>5.5</c:v>
                </c:pt>
                <c:pt idx="178">
                  <c:v>5.75</c:v>
                </c:pt>
                <c:pt idx="179">
                  <c:v>5.75</c:v>
                </c:pt>
                <c:pt idx="180">
                  <c:v>5.75</c:v>
                </c:pt>
                <c:pt idx="181">
                  <c:v>5.75</c:v>
                </c:pt>
                <c:pt idx="182">
                  <c:v>5.75</c:v>
                </c:pt>
                <c:pt idx="183">
                  <c:v>5.75</c:v>
                </c:pt>
                <c:pt idx="184">
                  <c:v>5.75</c:v>
                </c:pt>
                <c:pt idx="185">
                  <c:v>5.75</c:v>
                </c:pt>
                <c:pt idx="186">
                  <c:v>5.75</c:v>
                </c:pt>
                <c:pt idx="187">
                  <c:v>5.75</c:v>
                </c:pt>
                <c:pt idx="188">
                  <c:v>5.75</c:v>
                </c:pt>
                <c:pt idx="189">
                  <c:v>5.75</c:v>
                </c:pt>
                <c:pt idx="190">
                  <c:v>5.75</c:v>
                </c:pt>
                <c:pt idx="191">
                  <c:v>5.75</c:v>
                </c:pt>
                <c:pt idx="192">
                  <c:v>5.75</c:v>
                </c:pt>
                <c:pt idx="193">
                  <c:v>5.75</c:v>
                </c:pt>
                <c:pt idx="194">
                  <c:v>5.75</c:v>
                </c:pt>
                <c:pt idx="195">
                  <c:v>5.75</c:v>
                </c:pt>
                <c:pt idx="196">
                  <c:v>5.75</c:v>
                </c:pt>
                <c:pt idx="197">
                  <c:v>5.75</c:v>
                </c:pt>
                <c:pt idx="198">
                  <c:v>6</c:v>
                </c:pt>
                <c:pt idx="199">
                  <c:v>6</c:v>
                </c:pt>
                <c:pt idx="200">
                  <c:v>6</c:v>
                </c:pt>
                <c:pt idx="201">
                  <c:v>6</c:v>
                </c:pt>
                <c:pt idx="202">
                  <c:v>6</c:v>
                </c:pt>
                <c:pt idx="203">
                  <c:v>6</c:v>
                </c:pt>
                <c:pt idx="204">
                  <c:v>6</c:v>
                </c:pt>
                <c:pt idx="205">
                  <c:v>6</c:v>
                </c:pt>
                <c:pt idx="206">
                  <c:v>6</c:v>
                </c:pt>
                <c:pt idx="207">
                  <c:v>6</c:v>
                </c:pt>
                <c:pt idx="208">
                  <c:v>6</c:v>
                </c:pt>
                <c:pt idx="209">
                  <c:v>6</c:v>
                </c:pt>
                <c:pt idx="210">
                  <c:v>6</c:v>
                </c:pt>
                <c:pt idx="211">
                  <c:v>6</c:v>
                </c:pt>
                <c:pt idx="212">
                  <c:v>6</c:v>
                </c:pt>
                <c:pt idx="213">
                  <c:v>6</c:v>
                </c:pt>
                <c:pt idx="214">
                  <c:v>6</c:v>
                </c:pt>
                <c:pt idx="215">
                  <c:v>6</c:v>
                </c:pt>
                <c:pt idx="216">
                  <c:v>6</c:v>
                </c:pt>
                <c:pt idx="217">
                  <c:v>6</c:v>
                </c:pt>
                <c:pt idx="218">
                  <c:v>6</c:v>
                </c:pt>
                <c:pt idx="219">
                  <c:v>6</c:v>
                </c:pt>
                <c:pt idx="220">
                  <c:v>6</c:v>
                </c:pt>
                <c:pt idx="221">
                  <c:v>6</c:v>
                </c:pt>
                <c:pt idx="222">
                  <c:v>6</c:v>
                </c:pt>
                <c:pt idx="223">
                  <c:v>6</c:v>
                </c:pt>
                <c:pt idx="224">
                  <c:v>6</c:v>
                </c:pt>
                <c:pt idx="225">
                  <c:v>6</c:v>
                </c:pt>
                <c:pt idx="226">
                  <c:v>6</c:v>
                </c:pt>
                <c:pt idx="227">
                  <c:v>6</c:v>
                </c:pt>
                <c:pt idx="228">
                  <c:v>6</c:v>
                </c:pt>
                <c:pt idx="229">
                  <c:v>6</c:v>
                </c:pt>
                <c:pt idx="230">
                  <c:v>6</c:v>
                </c:pt>
                <c:pt idx="231">
                  <c:v>6</c:v>
                </c:pt>
                <c:pt idx="232">
                  <c:v>6</c:v>
                </c:pt>
                <c:pt idx="233">
                  <c:v>6</c:v>
                </c:pt>
                <c:pt idx="234">
                  <c:v>6</c:v>
                </c:pt>
                <c:pt idx="235">
                  <c:v>6</c:v>
                </c:pt>
                <c:pt idx="236">
                  <c:v>6</c:v>
                </c:pt>
                <c:pt idx="237">
                  <c:v>6</c:v>
                </c:pt>
                <c:pt idx="238">
                  <c:v>6</c:v>
                </c:pt>
                <c:pt idx="239">
                  <c:v>6</c:v>
                </c:pt>
                <c:pt idx="240">
                  <c:v>6.25</c:v>
                </c:pt>
                <c:pt idx="241">
                  <c:v>6.25</c:v>
                </c:pt>
                <c:pt idx="242">
                  <c:v>6.25</c:v>
                </c:pt>
                <c:pt idx="243">
                  <c:v>6.25</c:v>
                </c:pt>
                <c:pt idx="244">
                  <c:v>6.25</c:v>
                </c:pt>
                <c:pt idx="245">
                  <c:v>6.25</c:v>
                </c:pt>
                <c:pt idx="246">
                  <c:v>6.25</c:v>
                </c:pt>
                <c:pt idx="247">
                  <c:v>6.25</c:v>
                </c:pt>
                <c:pt idx="248">
                  <c:v>6.25</c:v>
                </c:pt>
                <c:pt idx="249">
                  <c:v>6.25</c:v>
                </c:pt>
                <c:pt idx="250">
                  <c:v>6.25</c:v>
                </c:pt>
                <c:pt idx="251">
                  <c:v>6.25</c:v>
                </c:pt>
                <c:pt idx="252">
                  <c:v>6.25</c:v>
                </c:pt>
                <c:pt idx="253">
                  <c:v>6.25</c:v>
                </c:pt>
                <c:pt idx="254">
                  <c:v>6.25</c:v>
                </c:pt>
                <c:pt idx="255">
                  <c:v>6.25</c:v>
                </c:pt>
                <c:pt idx="256">
                  <c:v>6.25</c:v>
                </c:pt>
                <c:pt idx="257">
                  <c:v>6.25</c:v>
                </c:pt>
                <c:pt idx="258">
                  <c:v>6.25</c:v>
                </c:pt>
                <c:pt idx="259">
                  <c:v>6.25</c:v>
                </c:pt>
                <c:pt idx="260">
                  <c:v>6.25</c:v>
                </c:pt>
                <c:pt idx="261">
                  <c:v>6.25</c:v>
                </c:pt>
                <c:pt idx="262">
                  <c:v>6.25</c:v>
                </c:pt>
                <c:pt idx="263">
                  <c:v>6.25</c:v>
                </c:pt>
                <c:pt idx="264">
                  <c:v>6.25</c:v>
                </c:pt>
                <c:pt idx="265">
                  <c:v>6.25</c:v>
                </c:pt>
                <c:pt idx="266">
                  <c:v>6.25</c:v>
                </c:pt>
                <c:pt idx="267">
                  <c:v>6.25</c:v>
                </c:pt>
                <c:pt idx="268">
                  <c:v>6.25</c:v>
                </c:pt>
                <c:pt idx="269">
                  <c:v>6.25</c:v>
                </c:pt>
                <c:pt idx="270">
                  <c:v>6.25</c:v>
                </c:pt>
                <c:pt idx="271">
                  <c:v>6.25</c:v>
                </c:pt>
                <c:pt idx="272">
                  <c:v>6.25</c:v>
                </c:pt>
                <c:pt idx="273">
                  <c:v>6.25</c:v>
                </c:pt>
                <c:pt idx="274">
                  <c:v>6.25</c:v>
                </c:pt>
                <c:pt idx="275">
                  <c:v>6.25</c:v>
                </c:pt>
                <c:pt idx="276">
                  <c:v>6.25</c:v>
                </c:pt>
                <c:pt idx="277">
                  <c:v>6.25</c:v>
                </c:pt>
                <c:pt idx="278">
                  <c:v>6.25</c:v>
                </c:pt>
                <c:pt idx="279">
                  <c:v>6.25</c:v>
                </c:pt>
                <c:pt idx="280">
                  <c:v>6.25</c:v>
                </c:pt>
                <c:pt idx="281">
                  <c:v>6.25</c:v>
                </c:pt>
                <c:pt idx="282">
                  <c:v>6.25</c:v>
                </c:pt>
                <c:pt idx="283">
                  <c:v>6.25</c:v>
                </c:pt>
                <c:pt idx="284">
                  <c:v>6.25</c:v>
                </c:pt>
                <c:pt idx="285">
                  <c:v>6.25</c:v>
                </c:pt>
                <c:pt idx="286">
                  <c:v>6.25</c:v>
                </c:pt>
                <c:pt idx="287">
                  <c:v>6.25</c:v>
                </c:pt>
                <c:pt idx="288">
                  <c:v>6.25</c:v>
                </c:pt>
                <c:pt idx="289">
                  <c:v>6.25</c:v>
                </c:pt>
                <c:pt idx="290">
                  <c:v>6.25</c:v>
                </c:pt>
                <c:pt idx="291">
                  <c:v>6.25</c:v>
                </c:pt>
                <c:pt idx="292">
                  <c:v>6.25</c:v>
                </c:pt>
                <c:pt idx="293">
                  <c:v>6.25</c:v>
                </c:pt>
                <c:pt idx="294">
                  <c:v>6.25</c:v>
                </c:pt>
                <c:pt idx="295">
                  <c:v>6.25</c:v>
                </c:pt>
                <c:pt idx="296">
                  <c:v>6.25</c:v>
                </c:pt>
                <c:pt idx="297">
                  <c:v>6.25</c:v>
                </c:pt>
                <c:pt idx="298">
                  <c:v>6.25</c:v>
                </c:pt>
                <c:pt idx="299">
                  <c:v>6.25</c:v>
                </c:pt>
                <c:pt idx="300">
                  <c:v>6.25</c:v>
                </c:pt>
                <c:pt idx="301">
                  <c:v>6.25</c:v>
                </c:pt>
                <c:pt idx="302">
                  <c:v>6.25</c:v>
                </c:pt>
                <c:pt idx="303">
                  <c:v>6.25</c:v>
                </c:pt>
                <c:pt idx="304">
                  <c:v>6.25</c:v>
                </c:pt>
                <c:pt idx="305">
                  <c:v>6.25</c:v>
                </c:pt>
                <c:pt idx="306">
                  <c:v>6.25</c:v>
                </c:pt>
                <c:pt idx="307">
                  <c:v>6.25</c:v>
                </c:pt>
                <c:pt idx="308">
                  <c:v>6.25</c:v>
                </c:pt>
                <c:pt idx="309">
                  <c:v>6.25</c:v>
                </c:pt>
                <c:pt idx="310">
                  <c:v>6.25</c:v>
                </c:pt>
                <c:pt idx="311">
                  <c:v>6.25</c:v>
                </c:pt>
                <c:pt idx="312">
                  <c:v>6.25</c:v>
                </c:pt>
                <c:pt idx="313">
                  <c:v>6.25</c:v>
                </c:pt>
                <c:pt idx="314">
                  <c:v>6.25</c:v>
                </c:pt>
                <c:pt idx="315">
                  <c:v>6.25</c:v>
                </c:pt>
                <c:pt idx="316">
                  <c:v>6.25</c:v>
                </c:pt>
                <c:pt idx="317">
                  <c:v>6.25</c:v>
                </c:pt>
                <c:pt idx="318">
                  <c:v>6.25</c:v>
                </c:pt>
                <c:pt idx="319">
                  <c:v>6.25</c:v>
                </c:pt>
                <c:pt idx="320">
                  <c:v>6.25</c:v>
                </c:pt>
                <c:pt idx="321">
                  <c:v>6.25</c:v>
                </c:pt>
                <c:pt idx="322">
                  <c:v>6.25</c:v>
                </c:pt>
                <c:pt idx="323">
                  <c:v>6.25</c:v>
                </c:pt>
                <c:pt idx="324">
                  <c:v>6.25</c:v>
                </c:pt>
                <c:pt idx="325">
                  <c:v>6.25</c:v>
                </c:pt>
                <c:pt idx="326">
                  <c:v>6.25</c:v>
                </c:pt>
                <c:pt idx="327">
                  <c:v>6.25</c:v>
                </c:pt>
                <c:pt idx="328">
                  <c:v>6.25</c:v>
                </c:pt>
                <c:pt idx="329">
                  <c:v>6.25</c:v>
                </c:pt>
                <c:pt idx="330">
                  <c:v>6.25</c:v>
                </c:pt>
                <c:pt idx="331">
                  <c:v>6.25</c:v>
                </c:pt>
                <c:pt idx="332">
                  <c:v>6.25</c:v>
                </c:pt>
                <c:pt idx="333">
                  <c:v>6.25</c:v>
                </c:pt>
                <c:pt idx="334">
                  <c:v>6.25</c:v>
                </c:pt>
                <c:pt idx="335">
                  <c:v>6.25</c:v>
                </c:pt>
                <c:pt idx="336">
                  <c:v>6.25</c:v>
                </c:pt>
                <c:pt idx="337">
                  <c:v>6.25</c:v>
                </c:pt>
                <c:pt idx="338">
                  <c:v>6.25</c:v>
                </c:pt>
                <c:pt idx="339">
                  <c:v>6.25</c:v>
                </c:pt>
                <c:pt idx="340">
                  <c:v>6.25</c:v>
                </c:pt>
                <c:pt idx="341">
                  <c:v>6.25</c:v>
                </c:pt>
                <c:pt idx="342">
                  <c:v>6.25</c:v>
                </c:pt>
                <c:pt idx="343">
                  <c:v>6.25</c:v>
                </c:pt>
                <c:pt idx="344">
                  <c:v>6.25</c:v>
                </c:pt>
                <c:pt idx="345">
                  <c:v>6.25</c:v>
                </c:pt>
                <c:pt idx="346">
                  <c:v>6.25</c:v>
                </c:pt>
                <c:pt idx="347">
                  <c:v>6.25</c:v>
                </c:pt>
                <c:pt idx="348">
                  <c:v>6.25</c:v>
                </c:pt>
                <c:pt idx="349">
                  <c:v>6.25</c:v>
                </c:pt>
                <c:pt idx="350">
                  <c:v>6.25</c:v>
                </c:pt>
                <c:pt idx="351">
                  <c:v>6.25</c:v>
                </c:pt>
                <c:pt idx="352">
                  <c:v>6.25</c:v>
                </c:pt>
                <c:pt idx="353">
                  <c:v>6.25</c:v>
                </c:pt>
                <c:pt idx="354">
                  <c:v>6.25</c:v>
                </c:pt>
                <c:pt idx="355">
                  <c:v>6.25</c:v>
                </c:pt>
                <c:pt idx="356">
                  <c:v>6.25</c:v>
                </c:pt>
                <c:pt idx="357">
                  <c:v>6.25</c:v>
                </c:pt>
                <c:pt idx="358">
                  <c:v>6.25</c:v>
                </c:pt>
                <c:pt idx="359">
                  <c:v>6.25</c:v>
                </c:pt>
                <c:pt idx="360">
                  <c:v>6.25</c:v>
                </c:pt>
                <c:pt idx="361">
                  <c:v>6.25</c:v>
                </c:pt>
                <c:pt idx="362">
                  <c:v>6.25</c:v>
                </c:pt>
                <c:pt idx="363">
                  <c:v>6.25</c:v>
                </c:pt>
                <c:pt idx="364">
                  <c:v>6.25</c:v>
                </c:pt>
                <c:pt idx="365">
                  <c:v>6.25</c:v>
                </c:pt>
                <c:pt idx="366">
                  <c:v>6.25</c:v>
                </c:pt>
                <c:pt idx="367">
                  <c:v>6.25</c:v>
                </c:pt>
                <c:pt idx="368">
                  <c:v>6.25</c:v>
                </c:pt>
                <c:pt idx="369">
                  <c:v>6.25</c:v>
                </c:pt>
                <c:pt idx="370">
                  <c:v>6.25</c:v>
                </c:pt>
                <c:pt idx="371">
                  <c:v>6.25</c:v>
                </c:pt>
                <c:pt idx="372">
                  <c:v>6.25</c:v>
                </c:pt>
                <c:pt idx="373">
                  <c:v>6.25</c:v>
                </c:pt>
                <c:pt idx="374">
                  <c:v>6.25</c:v>
                </c:pt>
                <c:pt idx="375">
                  <c:v>6.25</c:v>
                </c:pt>
                <c:pt idx="376">
                  <c:v>6.25</c:v>
                </c:pt>
                <c:pt idx="377">
                  <c:v>6.25</c:v>
                </c:pt>
                <c:pt idx="378">
                  <c:v>6.25</c:v>
                </c:pt>
                <c:pt idx="379">
                  <c:v>6.25</c:v>
                </c:pt>
                <c:pt idx="380">
                  <c:v>6.25</c:v>
                </c:pt>
                <c:pt idx="381">
                  <c:v>6.25</c:v>
                </c:pt>
                <c:pt idx="382">
                  <c:v>6.25</c:v>
                </c:pt>
                <c:pt idx="383">
                  <c:v>6.25</c:v>
                </c:pt>
                <c:pt idx="384">
                  <c:v>6.25</c:v>
                </c:pt>
                <c:pt idx="385">
                  <c:v>6.25</c:v>
                </c:pt>
                <c:pt idx="386">
                  <c:v>6.25</c:v>
                </c:pt>
                <c:pt idx="387">
                  <c:v>6.25</c:v>
                </c:pt>
                <c:pt idx="388">
                  <c:v>6.25</c:v>
                </c:pt>
                <c:pt idx="389">
                  <c:v>6.25</c:v>
                </c:pt>
                <c:pt idx="390">
                  <c:v>6.25</c:v>
                </c:pt>
                <c:pt idx="391">
                  <c:v>6.25</c:v>
                </c:pt>
                <c:pt idx="392">
                  <c:v>6.25</c:v>
                </c:pt>
                <c:pt idx="393">
                  <c:v>6.25</c:v>
                </c:pt>
                <c:pt idx="394">
                  <c:v>6.25</c:v>
                </c:pt>
                <c:pt idx="395">
                  <c:v>6.25</c:v>
                </c:pt>
                <c:pt idx="396">
                  <c:v>6.25</c:v>
                </c:pt>
                <c:pt idx="397">
                  <c:v>6.25</c:v>
                </c:pt>
                <c:pt idx="398">
                  <c:v>6.25</c:v>
                </c:pt>
                <c:pt idx="399">
                  <c:v>6.25</c:v>
                </c:pt>
                <c:pt idx="400">
                  <c:v>6.25</c:v>
                </c:pt>
                <c:pt idx="401">
                  <c:v>6.25</c:v>
                </c:pt>
                <c:pt idx="402">
                  <c:v>6.25</c:v>
                </c:pt>
                <c:pt idx="403">
                  <c:v>6.25</c:v>
                </c:pt>
                <c:pt idx="404">
                  <c:v>6.25</c:v>
                </c:pt>
                <c:pt idx="405">
                  <c:v>6.25</c:v>
                </c:pt>
                <c:pt idx="406">
                  <c:v>6.25</c:v>
                </c:pt>
                <c:pt idx="407">
                  <c:v>6.25</c:v>
                </c:pt>
                <c:pt idx="408">
                  <c:v>6.25</c:v>
                </c:pt>
                <c:pt idx="409">
                  <c:v>6.25</c:v>
                </c:pt>
                <c:pt idx="410">
                  <c:v>6.25</c:v>
                </c:pt>
                <c:pt idx="411">
                  <c:v>6.25</c:v>
                </c:pt>
                <c:pt idx="412">
                  <c:v>6.25</c:v>
                </c:pt>
                <c:pt idx="413">
                  <c:v>6.25</c:v>
                </c:pt>
                <c:pt idx="414">
                  <c:v>6.25</c:v>
                </c:pt>
                <c:pt idx="415">
                  <c:v>6.25</c:v>
                </c:pt>
                <c:pt idx="416">
                  <c:v>6.25</c:v>
                </c:pt>
                <c:pt idx="417">
                  <c:v>6.25</c:v>
                </c:pt>
                <c:pt idx="418">
                  <c:v>6.25</c:v>
                </c:pt>
                <c:pt idx="419">
                  <c:v>6.25</c:v>
                </c:pt>
                <c:pt idx="420">
                  <c:v>6.25</c:v>
                </c:pt>
                <c:pt idx="421">
                  <c:v>6.25</c:v>
                </c:pt>
                <c:pt idx="422">
                  <c:v>6.25</c:v>
                </c:pt>
                <c:pt idx="423">
                  <c:v>6.25</c:v>
                </c:pt>
                <c:pt idx="424">
                  <c:v>6.25</c:v>
                </c:pt>
                <c:pt idx="425">
                  <c:v>6.25</c:v>
                </c:pt>
                <c:pt idx="426">
                  <c:v>6.25</c:v>
                </c:pt>
                <c:pt idx="427">
                  <c:v>6.25</c:v>
                </c:pt>
                <c:pt idx="428">
                  <c:v>6.25</c:v>
                </c:pt>
                <c:pt idx="429">
                  <c:v>6.25</c:v>
                </c:pt>
                <c:pt idx="430">
                  <c:v>6.25</c:v>
                </c:pt>
                <c:pt idx="431">
                  <c:v>6.25</c:v>
                </c:pt>
                <c:pt idx="432">
                  <c:v>6.25</c:v>
                </c:pt>
                <c:pt idx="433">
                  <c:v>6.25</c:v>
                </c:pt>
                <c:pt idx="434">
                  <c:v>6.25</c:v>
                </c:pt>
                <c:pt idx="435">
                  <c:v>6.25</c:v>
                </c:pt>
                <c:pt idx="436">
                  <c:v>6.25</c:v>
                </c:pt>
                <c:pt idx="437">
                  <c:v>6.25</c:v>
                </c:pt>
                <c:pt idx="438">
                  <c:v>6.25</c:v>
                </c:pt>
                <c:pt idx="439">
                  <c:v>6.25</c:v>
                </c:pt>
                <c:pt idx="440">
                  <c:v>6.25</c:v>
                </c:pt>
                <c:pt idx="441">
                  <c:v>6.25</c:v>
                </c:pt>
                <c:pt idx="442">
                  <c:v>6.25</c:v>
                </c:pt>
                <c:pt idx="443">
                  <c:v>6.25</c:v>
                </c:pt>
                <c:pt idx="444">
                  <c:v>6.25</c:v>
                </c:pt>
                <c:pt idx="445">
                  <c:v>6.25</c:v>
                </c:pt>
                <c:pt idx="446">
                  <c:v>6.25</c:v>
                </c:pt>
                <c:pt idx="447">
                  <c:v>6.25</c:v>
                </c:pt>
                <c:pt idx="448">
                  <c:v>6.25</c:v>
                </c:pt>
                <c:pt idx="449">
                  <c:v>6.25</c:v>
                </c:pt>
                <c:pt idx="450">
                  <c:v>6.25</c:v>
                </c:pt>
                <c:pt idx="451">
                  <c:v>6.25</c:v>
                </c:pt>
                <c:pt idx="452">
                  <c:v>6.25</c:v>
                </c:pt>
                <c:pt idx="453">
                  <c:v>6.25</c:v>
                </c:pt>
                <c:pt idx="454">
                  <c:v>6.25</c:v>
                </c:pt>
                <c:pt idx="455">
                  <c:v>6.25</c:v>
                </c:pt>
                <c:pt idx="456">
                  <c:v>6.25</c:v>
                </c:pt>
                <c:pt idx="457">
                  <c:v>6.25</c:v>
                </c:pt>
                <c:pt idx="458">
                  <c:v>6.25</c:v>
                </c:pt>
                <c:pt idx="459">
                  <c:v>6.25</c:v>
                </c:pt>
                <c:pt idx="460">
                  <c:v>6.25</c:v>
                </c:pt>
                <c:pt idx="461">
                  <c:v>6.25</c:v>
                </c:pt>
                <c:pt idx="462">
                  <c:v>6.25</c:v>
                </c:pt>
                <c:pt idx="463">
                  <c:v>6.25</c:v>
                </c:pt>
                <c:pt idx="464">
                  <c:v>6.25</c:v>
                </c:pt>
                <c:pt idx="465">
                  <c:v>6.25</c:v>
                </c:pt>
                <c:pt idx="466">
                  <c:v>6.25</c:v>
                </c:pt>
                <c:pt idx="467">
                  <c:v>6.25</c:v>
                </c:pt>
                <c:pt idx="468">
                  <c:v>6.25</c:v>
                </c:pt>
                <c:pt idx="469">
                  <c:v>6.25</c:v>
                </c:pt>
                <c:pt idx="470">
                  <c:v>6.25</c:v>
                </c:pt>
                <c:pt idx="471">
                  <c:v>6.25</c:v>
                </c:pt>
                <c:pt idx="472">
                  <c:v>6.25</c:v>
                </c:pt>
                <c:pt idx="473">
                  <c:v>6.25</c:v>
                </c:pt>
                <c:pt idx="474">
                  <c:v>6.25</c:v>
                </c:pt>
                <c:pt idx="475">
                  <c:v>6.25</c:v>
                </c:pt>
                <c:pt idx="476">
                  <c:v>6.25</c:v>
                </c:pt>
                <c:pt idx="477">
                  <c:v>6.25</c:v>
                </c:pt>
                <c:pt idx="478">
                  <c:v>6.25</c:v>
                </c:pt>
                <c:pt idx="479">
                  <c:v>6.25</c:v>
                </c:pt>
                <c:pt idx="480">
                  <c:v>6.25</c:v>
                </c:pt>
                <c:pt idx="481">
                  <c:v>6.25</c:v>
                </c:pt>
                <c:pt idx="482">
                  <c:v>6.25</c:v>
                </c:pt>
                <c:pt idx="483">
                  <c:v>6.25</c:v>
                </c:pt>
                <c:pt idx="484">
                  <c:v>6.25</c:v>
                </c:pt>
                <c:pt idx="485">
                  <c:v>6.25</c:v>
                </c:pt>
                <c:pt idx="486">
                  <c:v>6.25</c:v>
                </c:pt>
                <c:pt idx="487">
                  <c:v>6.25</c:v>
                </c:pt>
                <c:pt idx="488">
                  <c:v>6.25</c:v>
                </c:pt>
                <c:pt idx="489">
                  <c:v>6.25</c:v>
                </c:pt>
                <c:pt idx="490">
                  <c:v>6.25</c:v>
                </c:pt>
                <c:pt idx="491">
                  <c:v>6.25</c:v>
                </c:pt>
                <c:pt idx="492">
                  <c:v>6.25</c:v>
                </c:pt>
                <c:pt idx="493">
                  <c:v>6.25</c:v>
                </c:pt>
                <c:pt idx="494">
                  <c:v>6.25</c:v>
                </c:pt>
                <c:pt idx="495">
                  <c:v>6.25</c:v>
                </c:pt>
                <c:pt idx="496">
                  <c:v>6.25</c:v>
                </c:pt>
                <c:pt idx="497">
                  <c:v>6.25</c:v>
                </c:pt>
                <c:pt idx="498">
                  <c:v>6.25</c:v>
                </c:pt>
                <c:pt idx="499">
                  <c:v>6.25</c:v>
                </c:pt>
                <c:pt idx="500">
                  <c:v>6.25</c:v>
                </c:pt>
                <c:pt idx="501">
                  <c:v>6.25</c:v>
                </c:pt>
                <c:pt idx="502">
                  <c:v>6.25</c:v>
                </c:pt>
                <c:pt idx="503">
                  <c:v>6.25</c:v>
                </c:pt>
                <c:pt idx="504">
                  <c:v>6.25</c:v>
                </c:pt>
                <c:pt idx="505">
                  <c:v>6.25</c:v>
                </c:pt>
                <c:pt idx="506">
                  <c:v>6.25</c:v>
                </c:pt>
                <c:pt idx="507">
                  <c:v>6.25</c:v>
                </c:pt>
                <c:pt idx="508">
                  <c:v>6.25</c:v>
                </c:pt>
                <c:pt idx="509">
                  <c:v>6.25</c:v>
                </c:pt>
                <c:pt idx="510">
                  <c:v>6.25</c:v>
                </c:pt>
                <c:pt idx="511">
                  <c:v>6.25</c:v>
                </c:pt>
                <c:pt idx="512">
                  <c:v>6.25</c:v>
                </c:pt>
                <c:pt idx="513">
                  <c:v>6.25</c:v>
                </c:pt>
                <c:pt idx="514">
                  <c:v>6.25</c:v>
                </c:pt>
                <c:pt idx="515">
                  <c:v>6.25</c:v>
                </c:pt>
                <c:pt idx="516">
                  <c:v>6.25</c:v>
                </c:pt>
                <c:pt idx="517">
                  <c:v>6.25</c:v>
                </c:pt>
                <c:pt idx="518">
                  <c:v>6.25</c:v>
                </c:pt>
                <c:pt idx="519">
                  <c:v>6.25</c:v>
                </c:pt>
                <c:pt idx="520">
                  <c:v>6.25</c:v>
                </c:pt>
                <c:pt idx="521">
                  <c:v>6.25</c:v>
                </c:pt>
                <c:pt idx="522">
                  <c:v>6.25</c:v>
                </c:pt>
                <c:pt idx="523">
                  <c:v>6.25</c:v>
                </c:pt>
                <c:pt idx="524">
                  <c:v>6.25</c:v>
                </c:pt>
                <c:pt idx="525">
                  <c:v>6.25</c:v>
                </c:pt>
                <c:pt idx="526">
                  <c:v>6.25</c:v>
                </c:pt>
                <c:pt idx="527">
                  <c:v>6.25</c:v>
                </c:pt>
                <c:pt idx="528">
                  <c:v>6.25</c:v>
                </c:pt>
                <c:pt idx="529">
                  <c:v>6.25</c:v>
                </c:pt>
                <c:pt idx="530">
                  <c:v>6.25</c:v>
                </c:pt>
                <c:pt idx="531">
                  <c:v>6.25</c:v>
                </c:pt>
                <c:pt idx="532">
                  <c:v>6.25</c:v>
                </c:pt>
                <c:pt idx="533">
                  <c:v>6.25</c:v>
                </c:pt>
                <c:pt idx="534">
                  <c:v>6.25</c:v>
                </c:pt>
                <c:pt idx="535">
                  <c:v>6.25</c:v>
                </c:pt>
                <c:pt idx="536">
                  <c:v>6.25</c:v>
                </c:pt>
                <c:pt idx="537">
                  <c:v>6.25</c:v>
                </c:pt>
                <c:pt idx="538">
                  <c:v>6.25</c:v>
                </c:pt>
                <c:pt idx="539">
                  <c:v>6.25</c:v>
                </c:pt>
                <c:pt idx="540">
                  <c:v>6.25</c:v>
                </c:pt>
                <c:pt idx="541">
                  <c:v>6.25</c:v>
                </c:pt>
                <c:pt idx="542">
                  <c:v>6.25</c:v>
                </c:pt>
                <c:pt idx="543">
                  <c:v>6.25</c:v>
                </c:pt>
                <c:pt idx="544">
                  <c:v>6.25</c:v>
                </c:pt>
                <c:pt idx="545">
                  <c:v>6.25</c:v>
                </c:pt>
                <c:pt idx="546">
                  <c:v>6.25</c:v>
                </c:pt>
                <c:pt idx="547">
                  <c:v>6.25</c:v>
                </c:pt>
                <c:pt idx="548">
                  <c:v>6.25</c:v>
                </c:pt>
                <c:pt idx="549">
                  <c:v>6.25</c:v>
                </c:pt>
                <c:pt idx="550">
                  <c:v>6.25</c:v>
                </c:pt>
                <c:pt idx="551">
                  <c:v>6.25</c:v>
                </c:pt>
                <c:pt idx="552">
                  <c:v>6.25</c:v>
                </c:pt>
                <c:pt idx="553">
                  <c:v>6.25</c:v>
                </c:pt>
                <c:pt idx="554">
                  <c:v>6.25</c:v>
                </c:pt>
                <c:pt idx="555">
                  <c:v>6.25</c:v>
                </c:pt>
                <c:pt idx="556">
                  <c:v>6.25</c:v>
                </c:pt>
                <c:pt idx="557">
                  <c:v>6.25</c:v>
                </c:pt>
                <c:pt idx="558">
                  <c:v>6.25</c:v>
                </c:pt>
                <c:pt idx="559">
                  <c:v>6.25</c:v>
                </c:pt>
                <c:pt idx="560">
                  <c:v>6.25</c:v>
                </c:pt>
                <c:pt idx="561">
                  <c:v>6.25</c:v>
                </c:pt>
                <c:pt idx="562">
                  <c:v>6.25</c:v>
                </c:pt>
                <c:pt idx="563">
                  <c:v>6.25</c:v>
                </c:pt>
                <c:pt idx="564">
                  <c:v>6.25</c:v>
                </c:pt>
                <c:pt idx="565">
                  <c:v>6.25</c:v>
                </c:pt>
                <c:pt idx="566">
                  <c:v>6.25</c:v>
                </c:pt>
                <c:pt idx="567">
                  <c:v>6.25</c:v>
                </c:pt>
                <c:pt idx="568">
                  <c:v>6.25</c:v>
                </c:pt>
                <c:pt idx="569">
                  <c:v>6.25</c:v>
                </c:pt>
                <c:pt idx="570">
                  <c:v>6.25</c:v>
                </c:pt>
                <c:pt idx="571">
                  <c:v>6.25</c:v>
                </c:pt>
                <c:pt idx="572">
                  <c:v>6.25</c:v>
                </c:pt>
                <c:pt idx="573">
                  <c:v>6.25</c:v>
                </c:pt>
                <c:pt idx="574">
                  <c:v>6.25</c:v>
                </c:pt>
                <c:pt idx="575">
                  <c:v>6.25</c:v>
                </c:pt>
                <c:pt idx="576">
                  <c:v>6.25</c:v>
                </c:pt>
                <c:pt idx="577">
                  <c:v>6.25</c:v>
                </c:pt>
                <c:pt idx="578">
                  <c:v>6.25</c:v>
                </c:pt>
                <c:pt idx="579">
                  <c:v>6.25</c:v>
                </c:pt>
                <c:pt idx="580">
                  <c:v>6.25</c:v>
                </c:pt>
                <c:pt idx="581">
                  <c:v>6.25</c:v>
                </c:pt>
                <c:pt idx="582">
                  <c:v>6.25</c:v>
                </c:pt>
                <c:pt idx="583">
                  <c:v>6.25</c:v>
                </c:pt>
                <c:pt idx="584">
                  <c:v>6.25</c:v>
                </c:pt>
                <c:pt idx="585">
                  <c:v>6.25</c:v>
                </c:pt>
                <c:pt idx="586">
                  <c:v>6.25</c:v>
                </c:pt>
                <c:pt idx="587">
                  <c:v>6.25</c:v>
                </c:pt>
                <c:pt idx="588">
                  <c:v>6.25</c:v>
                </c:pt>
                <c:pt idx="589">
                  <c:v>6.25</c:v>
                </c:pt>
                <c:pt idx="590">
                  <c:v>6.25</c:v>
                </c:pt>
                <c:pt idx="591">
                  <c:v>6.25</c:v>
                </c:pt>
                <c:pt idx="592">
                  <c:v>6.25</c:v>
                </c:pt>
                <c:pt idx="593">
                  <c:v>6.25</c:v>
                </c:pt>
                <c:pt idx="594">
                  <c:v>6.25</c:v>
                </c:pt>
                <c:pt idx="595">
                  <c:v>6.25</c:v>
                </c:pt>
                <c:pt idx="596">
                  <c:v>6.25</c:v>
                </c:pt>
                <c:pt idx="597">
                  <c:v>6.25</c:v>
                </c:pt>
                <c:pt idx="598">
                  <c:v>6.25</c:v>
                </c:pt>
                <c:pt idx="599">
                  <c:v>6.25</c:v>
                </c:pt>
                <c:pt idx="600">
                  <c:v>6.25</c:v>
                </c:pt>
                <c:pt idx="601">
                  <c:v>6.25</c:v>
                </c:pt>
                <c:pt idx="602">
                  <c:v>6.5</c:v>
                </c:pt>
                <c:pt idx="603">
                  <c:v>6.5</c:v>
                </c:pt>
                <c:pt idx="604">
                  <c:v>6.5</c:v>
                </c:pt>
                <c:pt idx="605">
                  <c:v>6.5</c:v>
                </c:pt>
                <c:pt idx="606">
                  <c:v>6.5</c:v>
                </c:pt>
                <c:pt idx="607">
                  <c:v>6.5</c:v>
                </c:pt>
                <c:pt idx="608">
                  <c:v>6.5</c:v>
                </c:pt>
                <c:pt idx="609">
                  <c:v>6.5</c:v>
                </c:pt>
                <c:pt idx="610">
                  <c:v>6.5</c:v>
                </c:pt>
                <c:pt idx="611">
                  <c:v>6.5</c:v>
                </c:pt>
                <c:pt idx="612">
                  <c:v>6.5</c:v>
                </c:pt>
                <c:pt idx="613">
                  <c:v>6.5</c:v>
                </c:pt>
                <c:pt idx="614">
                  <c:v>6.5</c:v>
                </c:pt>
                <c:pt idx="615">
                  <c:v>6.5</c:v>
                </c:pt>
                <c:pt idx="616">
                  <c:v>6.5</c:v>
                </c:pt>
                <c:pt idx="617">
                  <c:v>6.5</c:v>
                </c:pt>
                <c:pt idx="618">
                  <c:v>6.5</c:v>
                </c:pt>
                <c:pt idx="619">
                  <c:v>6.5</c:v>
                </c:pt>
                <c:pt idx="620">
                  <c:v>6.5</c:v>
                </c:pt>
                <c:pt idx="621">
                  <c:v>6.5</c:v>
                </c:pt>
                <c:pt idx="622">
                  <c:v>6.5</c:v>
                </c:pt>
                <c:pt idx="623">
                  <c:v>6.5</c:v>
                </c:pt>
                <c:pt idx="624">
                  <c:v>6.5</c:v>
                </c:pt>
                <c:pt idx="625">
                  <c:v>6.5</c:v>
                </c:pt>
                <c:pt idx="626">
                  <c:v>6.5</c:v>
                </c:pt>
                <c:pt idx="627">
                  <c:v>7</c:v>
                </c:pt>
                <c:pt idx="628">
                  <c:v>7</c:v>
                </c:pt>
                <c:pt idx="629">
                  <c:v>7</c:v>
                </c:pt>
                <c:pt idx="630">
                  <c:v>7</c:v>
                </c:pt>
                <c:pt idx="631">
                  <c:v>7</c:v>
                </c:pt>
                <c:pt idx="632">
                  <c:v>7</c:v>
                </c:pt>
                <c:pt idx="633">
                  <c:v>7</c:v>
                </c:pt>
                <c:pt idx="634">
                  <c:v>7</c:v>
                </c:pt>
                <c:pt idx="635">
                  <c:v>7</c:v>
                </c:pt>
                <c:pt idx="636">
                  <c:v>7</c:v>
                </c:pt>
                <c:pt idx="637">
                  <c:v>7</c:v>
                </c:pt>
                <c:pt idx="638">
                  <c:v>7</c:v>
                </c:pt>
                <c:pt idx="639">
                  <c:v>7</c:v>
                </c:pt>
                <c:pt idx="640">
                  <c:v>7</c:v>
                </c:pt>
                <c:pt idx="641">
                  <c:v>7</c:v>
                </c:pt>
                <c:pt idx="642">
                  <c:v>7</c:v>
                </c:pt>
                <c:pt idx="643">
                  <c:v>7</c:v>
                </c:pt>
                <c:pt idx="644">
                  <c:v>7</c:v>
                </c:pt>
                <c:pt idx="645">
                  <c:v>7</c:v>
                </c:pt>
                <c:pt idx="646">
                  <c:v>7</c:v>
                </c:pt>
                <c:pt idx="647">
                  <c:v>7</c:v>
                </c:pt>
                <c:pt idx="648">
                  <c:v>7</c:v>
                </c:pt>
                <c:pt idx="649">
                  <c:v>7</c:v>
                </c:pt>
                <c:pt idx="650">
                  <c:v>7</c:v>
                </c:pt>
                <c:pt idx="651">
                  <c:v>7</c:v>
                </c:pt>
                <c:pt idx="652">
                  <c:v>7</c:v>
                </c:pt>
                <c:pt idx="653">
                  <c:v>7</c:v>
                </c:pt>
                <c:pt idx="654">
                  <c:v>7</c:v>
                </c:pt>
                <c:pt idx="655">
                  <c:v>7</c:v>
                </c:pt>
                <c:pt idx="656">
                  <c:v>7</c:v>
                </c:pt>
                <c:pt idx="657">
                  <c:v>7</c:v>
                </c:pt>
                <c:pt idx="658">
                  <c:v>7</c:v>
                </c:pt>
                <c:pt idx="659">
                  <c:v>7</c:v>
                </c:pt>
                <c:pt idx="660">
                  <c:v>7</c:v>
                </c:pt>
                <c:pt idx="661">
                  <c:v>7</c:v>
                </c:pt>
                <c:pt idx="662">
                  <c:v>7</c:v>
                </c:pt>
                <c:pt idx="663">
                  <c:v>7</c:v>
                </c:pt>
                <c:pt idx="664">
                  <c:v>7</c:v>
                </c:pt>
                <c:pt idx="665">
                  <c:v>7.5</c:v>
                </c:pt>
                <c:pt idx="666">
                  <c:v>7.5</c:v>
                </c:pt>
                <c:pt idx="667">
                  <c:v>7.5</c:v>
                </c:pt>
                <c:pt idx="668">
                  <c:v>7.5</c:v>
                </c:pt>
                <c:pt idx="669">
                  <c:v>7.5</c:v>
                </c:pt>
                <c:pt idx="670">
                  <c:v>7.5</c:v>
                </c:pt>
                <c:pt idx="671">
                  <c:v>7.5</c:v>
                </c:pt>
                <c:pt idx="672">
                  <c:v>7.5</c:v>
                </c:pt>
                <c:pt idx="673">
                  <c:v>7.5</c:v>
                </c:pt>
                <c:pt idx="674">
                  <c:v>7.5</c:v>
                </c:pt>
                <c:pt idx="675">
                  <c:v>7.5</c:v>
                </c:pt>
                <c:pt idx="676">
                  <c:v>7.5</c:v>
                </c:pt>
                <c:pt idx="677">
                  <c:v>7.5</c:v>
                </c:pt>
                <c:pt idx="678">
                  <c:v>7.5</c:v>
                </c:pt>
                <c:pt idx="679">
                  <c:v>7.5</c:v>
                </c:pt>
                <c:pt idx="680">
                  <c:v>7.5</c:v>
                </c:pt>
                <c:pt idx="681">
                  <c:v>7.5</c:v>
                </c:pt>
                <c:pt idx="682">
                  <c:v>7.5</c:v>
                </c:pt>
                <c:pt idx="683">
                  <c:v>7.5</c:v>
                </c:pt>
                <c:pt idx="684">
                  <c:v>7.5</c:v>
                </c:pt>
                <c:pt idx="685">
                  <c:v>7.5</c:v>
                </c:pt>
                <c:pt idx="686">
                  <c:v>8</c:v>
                </c:pt>
                <c:pt idx="687">
                  <c:v>8</c:v>
                </c:pt>
              </c:numCache>
            </c:numRef>
          </c:val>
          <c:smooth val="0"/>
        </c:ser>
        <c:dLbls>
          <c:showLegendKey val="0"/>
          <c:showVal val="0"/>
          <c:showCatName val="0"/>
          <c:showSerName val="0"/>
          <c:showPercent val="0"/>
          <c:showBubbleSize val="0"/>
        </c:dLbls>
        <c:marker val="1"/>
        <c:smooth val="0"/>
        <c:axId val="128840448"/>
        <c:axId val="128841984"/>
      </c:lineChart>
      <c:dateAx>
        <c:axId val="128840448"/>
        <c:scaling>
          <c:orientation val="minMax"/>
        </c:scaling>
        <c:delete val="0"/>
        <c:axPos val="b"/>
        <c:numFmt formatCode="[$-409]mmm\-yy;@" sourceLinked="1"/>
        <c:majorTickMark val="out"/>
        <c:minorTickMark val="none"/>
        <c:tickLblPos val="nextTo"/>
        <c:crossAx val="128841984"/>
        <c:crosses val="autoZero"/>
        <c:auto val="1"/>
        <c:lblOffset val="100"/>
        <c:baseTimeUnit val="days"/>
        <c:majorUnit val="3"/>
        <c:majorTimeUnit val="months"/>
        <c:minorUnit val="1"/>
        <c:minorTimeUnit val="months"/>
      </c:dateAx>
      <c:valAx>
        <c:axId val="128841984"/>
        <c:scaling>
          <c:orientation val="minMax"/>
          <c:max val="11"/>
          <c:min val="0"/>
        </c:scaling>
        <c:delete val="0"/>
        <c:axPos val="l"/>
        <c:majorGridlines>
          <c:spPr>
            <a:ln>
              <a:solidFill>
                <a:srgbClr val="000000">
                  <a:shade val="76000"/>
                  <a:shade val="95000"/>
                  <a:satMod val="105000"/>
                </a:srgbClr>
              </a:solidFill>
            </a:ln>
          </c:spPr>
        </c:majorGridlines>
        <c:numFmt formatCode="0" sourceLinked="0"/>
        <c:majorTickMark val="out"/>
        <c:minorTickMark val="none"/>
        <c:tickLblPos val="nextTo"/>
        <c:crossAx val="128840448"/>
        <c:crosses val="autoZero"/>
        <c:crossBetween val="between"/>
        <c:majorUnit val="1"/>
        <c:minorUnit val="1"/>
      </c:valAx>
      <c:spPr>
        <a:noFill/>
        <a:ln w="25400">
          <a:noFill/>
        </a:ln>
      </c:spPr>
    </c:plotArea>
    <c:legend>
      <c:legendPos val="r"/>
      <c:layout>
        <c:manualLayout>
          <c:xMode val="edge"/>
          <c:yMode val="edge"/>
          <c:x val="0.60642191616937835"/>
          <c:y val="4.9978573809259293E-3"/>
          <c:w val="0.38114866969057115"/>
          <c:h val="0.25115157480314959"/>
        </c:manualLayout>
      </c:layout>
      <c:overlay val="0"/>
      <c:txPr>
        <a:bodyPr/>
        <a:lstStyle/>
        <a:p>
          <a:pPr>
            <a:defRPr sz="1400" baseline="0"/>
          </a:pPr>
          <a:endParaRPr lang="it-IT"/>
        </a:p>
      </c:txPr>
    </c:legend>
    <c:plotVisOnly val="1"/>
    <c:dispBlanksAs val="gap"/>
    <c:showDLblsOverMax val="0"/>
  </c:chart>
  <c:spPr>
    <a:noFill/>
    <a:ln>
      <a:solidFill>
        <a:srgbClr val="FFFFFF">
          <a:lumMod val="50000"/>
        </a:srgbClr>
      </a:solidFill>
    </a:ln>
  </c:spPr>
  <c:externalData r:id="rId2">
    <c:autoUpdate val="0"/>
  </c:externalData>
  <c:userShapes r:id="rId3"/>
</c:chartSpace>
</file>

<file path=ppt/charts/chart7.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TASSI INTERESSE IMPRESE NON FINANZIARIE  </a:t>
            </a:r>
            <a:r>
              <a:rPr lang="en-US" dirty="0" smtClean="0"/>
              <a:t>RON </a:t>
            </a:r>
            <a:endParaRPr lang="en-US" dirty="0"/>
          </a:p>
        </c:rich>
      </c:tx>
      <c:layout>
        <c:manualLayout>
          <c:xMode val="edge"/>
          <c:yMode val="edge"/>
          <c:x val="5.0916666666666707E-2"/>
          <c:y val="2.3148148148148147E-2"/>
        </c:manualLayout>
      </c:layout>
      <c:overlay val="0"/>
    </c:title>
    <c:autoTitleDeleted val="0"/>
    <c:plotArea>
      <c:layout>
        <c:manualLayout>
          <c:layoutTarget val="inner"/>
          <c:xMode val="edge"/>
          <c:yMode val="edge"/>
          <c:x val="7.9688822680948693E-2"/>
          <c:y val="8.9166571569858202E-2"/>
          <c:w val="0.89268773694954795"/>
          <c:h val="0.82035237199827638"/>
        </c:manualLayout>
      </c:layout>
      <c:lineChart>
        <c:grouping val="standard"/>
        <c:varyColors val="0"/>
        <c:ser>
          <c:idx val="0"/>
          <c:order val="0"/>
          <c:tx>
            <c:strRef>
              <c:f>Sheet1!$F$2</c:f>
              <c:strCache>
                <c:ptCount val="1"/>
                <c:pt idx="0">
                  <c:v>TOTALE</c:v>
                </c:pt>
              </c:strCache>
            </c:strRef>
          </c:tx>
          <c:spPr>
            <a:ln>
              <a:solidFill>
                <a:srgbClr val="92D050"/>
              </a:solidFill>
            </a:ln>
          </c:spPr>
          <c:marker>
            <c:symbol val="none"/>
          </c:marker>
          <c:cat>
            <c:strRef>
              <c:f>Sheet1!$A$3:$E$15</c:f>
              <c:strCache>
                <c:ptCount val="13"/>
                <c:pt idx="0">
                  <c:v>2007</c:v>
                </c:pt>
                <c:pt idx="1">
                  <c:v>2008</c:v>
                </c:pt>
                <c:pt idx="2">
                  <c:v>2009</c:v>
                </c:pt>
                <c:pt idx="3">
                  <c:v>2010</c:v>
                </c:pt>
                <c:pt idx="4">
                  <c:v>2011</c:v>
                </c:pt>
                <c:pt idx="5">
                  <c:v>2012 jan</c:v>
                </c:pt>
                <c:pt idx="6">
                  <c:v>Feb.</c:v>
                </c:pt>
                <c:pt idx="7">
                  <c:v>Mar.</c:v>
                </c:pt>
                <c:pt idx="8">
                  <c:v>Apr.</c:v>
                </c:pt>
                <c:pt idx="9">
                  <c:v>May</c:v>
                </c:pt>
                <c:pt idx="10">
                  <c:v>Jun.</c:v>
                </c:pt>
                <c:pt idx="11">
                  <c:v>Jul.</c:v>
                </c:pt>
                <c:pt idx="12">
                  <c:v>Aug.</c:v>
                </c:pt>
              </c:strCache>
            </c:strRef>
          </c:cat>
          <c:val>
            <c:numRef>
              <c:f>Sheet1!$F$3:$F$15</c:f>
              <c:numCache>
                <c:formatCode>General</c:formatCode>
                <c:ptCount val="13"/>
                <c:pt idx="0">
                  <c:v>11.84</c:v>
                </c:pt>
                <c:pt idx="1">
                  <c:v>18.34</c:v>
                </c:pt>
                <c:pt idx="2">
                  <c:v>16.059999999999999</c:v>
                </c:pt>
                <c:pt idx="3">
                  <c:v>10.57</c:v>
                </c:pt>
                <c:pt idx="4">
                  <c:v>10.450000000000005</c:v>
                </c:pt>
                <c:pt idx="5">
                  <c:v>10.18</c:v>
                </c:pt>
                <c:pt idx="6">
                  <c:v>9.7299999999999986</c:v>
                </c:pt>
                <c:pt idx="7">
                  <c:v>9.4600000000000026</c:v>
                </c:pt>
                <c:pt idx="8">
                  <c:v>9.2800000000000011</c:v>
                </c:pt>
                <c:pt idx="9">
                  <c:v>9.3700000000000028</c:v>
                </c:pt>
                <c:pt idx="10">
                  <c:v>9.5500000000000007</c:v>
                </c:pt>
                <c:pt idx="11">
                  <c:v>9.58</c:v>
                </c:pt>
                <c:pt idx="12">
                  <c:v>9.76</c:v>
                </c:pt>
              </c:numCache>
            </c:numRef>
          </c:val>
          <c:smooth val="0"/>
        </c:ser>
        <c:ser>
          <c:idx val="1"/>
          <c:order val="1"/>
          <c:tx>
            <c:strRef>
              <c:f>Sheet1!$G$2</c:f>
              <c:strCache>
                <c:ptCount val="1"/>
                <c:pt idx="0">
                  <c:v>1 ANNO </c:v>
                </c:pt>
              </c:strCache>
            </c:strRef>
          </c:tx>
          <c:marker>
            <c:symbol val="none"/>
          </c:marker>
          <c:cat>
            <c:strRef>
              <c:f>Sheet1!$A$3:$E$15</c:f>
              <c:strCache>
                <c:ptCount val="13"/>
                <c:pt idx="0">
                  <c:v>2007</c:v>
                </c:pt>
                <c:pt idx="1">
                  <c:v>2008</c:v>
                </c:pt>
                <c:pt idx="2">
                  <c:v>2009</c:v>
                </c:pt>
                <c:pt idx="3">
                  <c:v>2010</c:v>
                </c:pt>
                <c:pt idx="4">
                  <c:v>2011</c:v>
                </c:pt>
                <c:pt idx="5">
                  <c:v>2012 jan</c:v>
                </c:pt>
                <c:pt idx="6">
                  <c:v>Feb.</c:v>
                </c:pt>
                <c:pt idx="7">
                  <c:v>Mar.</c:v>
                </c:pt>
                <c:pt idx="8">
                  <c:v>Apr.</c:v>
                </c:pt>
                <c:pt idx="9">
                  <c:v>May</c:v>
                </c:pt>
                <c:pt idx="10">
                  <c:v>Jun.</c:v>
                </c:pt>
                <c:pt idx="11">
                  <c:v>Jul.</c:v>
                </c:pt>
                <c:pt idx="12">
                  <c:v>Aug.</c:v>
                </c:pt>
              </c:strCache>
            </c:strRef>
          </c:cat>
          <c:val>
            <c:numRef>
              <c:f>Sheet1!$G$3:$G$15</c:f>
              <c:numCache>
                <c:formatCode>General</c:formatCode>
                <c:ptCount val="13"/>
                <c:pt idx="0">
                  <c:v>11.950000000000005</c:v>
                </c:pt>
                <c:pt idx="1">
                  <c:v>18.95999999999999</c:v>
                </c:pt>
                <c:pt idx="2">
                  <c:v>16.239999999999988</c:v>
                </c:pt>
                <c:pt idx="3">
                  <c:v>9.98</c:v>
                </c:pt>
                <c:pt idx="4">
                  <c:v>10.25</c:v>
                </c:pt>
                <c:pt idx="5">
                  <c:v>9.91</c:v>
                </c:pt>
                <c:pt idx="6">
                  <c:v>9.3000000000000007</c:v>
                </c:pt>
                <c:pt idx="7">
                  <c:v>9.0500000000000007</c:v>
                </c:pt>
                <c:pt idx="8">
                  <c:v>8.92</c:v>
                </c:pt>
                <c:pt idx="9">
                  <c:v>9.0500000000000007</c:v>
                </c:pt>
                <c:pt idx="10">
                  <c:v>9.27</c:v>
                </c:pt>
                <c:pt idx="11">
                  <c:v>9.3700000000000028</c:v>
                </c:pt>
                <c:pt idx="12">
                  <c:v>9.620000000000001</c:v>
                </c:pt>
              </c:numCache>
            </c:numRef>
          </c:val>
          <c:smooth val="0"/>
        </c:ser>
        <c:ser>
          <c:idx val="2"/>
          <c:order val="2"/>
          <c:tx>
            <c:strRef>
              <c:f>Sheet1!$H$2</c:f>
              <c:strCache>
                <c:ptCount val="1"/>
                <c:pt idx="0">
                  <c:v>1- 5 ANNI</c:v>
                </c:pt>
              </c:strCache>
            </c:strRef>
          </c:tx>
          <c:spPr>
            <a:ln>
              <a:solidFill>
                <a:srgbClr val="FF0000"/>
              </a:solidFill>
            </a:ln>
          </c:spPr>
          <c:marker>
            <c:symbol val="none"/>
          </c:marker>
          <c:cat>
            <c:strRef>
              <c:f>Sheet1!$A$3:$E$15</c:f>
              <c:strCache>
                <c:ptCount val="13"/>
                <c:pt idx="0">
                  <c:v>2007</c:v>
                </c:pt>
                <c:pt idx="1">
                  <c:v>2008</c:v>
                </c:pt>
                <c:pt idx="2">
                  <c:v>2009</c:v>
                </c:pt>
                <c:pt idx="3">
                  <c:v>2010</c:v>
                </c:pt>
                <c:pt idx="4">
                  <c:v>2011</c:v>
                </c:pt>
                <c:pt idx="5">
                  <c:v>2012 jan</c:v>
                </c:pt>
                <c:pt idx="6">
                  <c:v>Feb.</c:v>
                </c:pt>
                <c:pt idx="7">
                  <c:v>Mar.</c:v>
                </c:pt>
                <c:pt idx="8">
                  <c:v>Apr.</c:v>
                </c:pt>
                <c:pt idx="9">
                  <c:v>May</c:v>
                </c:pt>
                <c:pt idx="10">
                  <c:v>Jun.</c:v>
                </c:pt>
                <c:pt idx="11">
                  <c:v>Jul.</c:v>
                </c:pt>
                <c:pt idx="12">
                  <c:v>Aug.</c:v>
                </c:pt>
              </c:strCache>
            </c:strRef>
          </c:cat>
          <c:val>
            <c:numRef>
              <c:f>Sheet1!$H$3:$H$15</c:f>
              <c:numCache>
                <c:formatCode>General</c:formatCode>
                <c:ptCount val="13"/>
                <c:pt idx="0">
                  <c:v>12.12</c:v>
                </c:pt>
                <c:pt idx="1">
                  <c:v>18.23</c:v>
                </c:pt>
                <c:pt idx="2">
                  <c:v>16.239999999999988</c:v>
                </c:pt>
                <c:pt idx="3">
                  <c:v>10.98</c:v>
                </c:pt>
                <c:pt idx="4">
                  <c:v>10.61</c:v>
                </c:pt>
                <c:pt idx="5">
                  <c:v>10.350000000000005</c:v>
                </c:pt>
                <c:pt idx="6">
                  <c:v>10.07</c:v>
                </c:pt>
                <c:pt idx="7">
                  <c:v>9.67</c:v>
                </c:pt>
                <c:pt idx="8">
                  <c:v>9.41</c:v>
                </c:pt>
                <c:pt idx="9">
                  <c:v>9.3800000000000008</c:v>
                </c:pt>
                <c:pt idx="10">
                  <c:v>9.66</c:v>
                </c:pt>
                <c:pt idx="11">
                  <c:v>9.59</c:v>
                </c:pt>
                <c:pt idx="12">
                  <c:v>9.7299999999999986</c:v>
                </c:pt>
              </c:numCache>
            </c:numRef>
          </c:val>
          <c:smooth val="0"/>
        </c:ser>
        <c:ser>
          <c:idx val="3"/>
          <c:order val="3"/>
          <c:tx>
            <c:strRef>
              <c:f>Sheet1!$I$2</c:f>
              <c:strCache>
                <c:ptCount val="1"/>
                <c:pt idx="0">
                  <c:v>&gt; 5 ANNI</c:v>
                </c:pt>
              </c:strCache>
            </c:strRef>
          </c:tx>
          <c:marker>
            <c:symbol val="none"/>
          </c:marker>
          <c:cat>
            <c:strRef>
              <c:f>Sheet1!$A$3:$E$15</c:f>
              <c:strCache>
                <c:ptCount val="13"/>
                <c:pt idx="0">
                  <c:v>2007</c:v>
                </c:pt>
                <c:pt idx="1">
                  <c:v>2008</c:v>
                </c:pt>
                <c:pt idx="2">
                  <c:v>2009</c:v>
                </c:pt>
                <c:pt idx="3">
                  <c:v>2010</c:v>
                </c:pt>
                <c:pt idx="4">
                  <c:v>2011</c:v>
                </c:pt>
                <c:pt idx="5">
                  <c:v>2012 jan</c:v>
                </c:pt>
                <c:pt idx="6">
                  <c:v>Feb.</c:v>
                </c:pt>
                <c:pt idx="7">
                  <c:v>Mar.</c:v>
                </c:pt>
                <c:pt idx="8">
                  <c:v>Apr.</c:v>
                </c:pt>
                <c:pt idx="9">
                  <c:v>May</c:v>
                </c:pt>
                <c:pt idx="10">
                  <c:v>Jun.</c:v>
                </c:pt>
                <c:pt idx="11">
                  <c:v>Jul.</c:v>
                </c:pt>
                <c:pt idx="12">
                  <c:v>Aug.</c:v>
                </c:pt>
              </c:strCache>
            </c:strRef>
          </c:cat>
          <c:val>
            <c:numRef>
              <c:f>Sheet1!$I$3:$I$15</c:f>
              <c:numCache>
                <c:formatCode>General</c:formatCode>
                <c:ptCount val="13"/>
                <c:pt idx="0">
                  <c:v>11.129999999999999</c:v>
                </c:pt>
                <c:pt idx="1">
                  <c:v>17.07</c:v>
                </c:pt>
                <c:pt idx="2">
                  <c:v>15.370000000000005</c:v>
                </c:pt>
                <c:pt idx="3">
                  <c:v>11.53</c:v>
                </c:pt>
                <c:pt idx="4">
                  <c:v>10.83</c:v>
                </c:pt>
                <c:pt idx="5">
                  <c:v>10.76</c:v>
                </c:pt>
                <c:pt idx="6">
                  <c:v>10.57</c:v>
                </c:pt>
                <c:pt idx="7">
                  <c:v>10.360000000000005</c:v>
                </c:pt>
                <c:pt idx="8">
                  <c:v>10.130000000000001</c:v>
                </c:pt>
                <c:pt idx="9">
                  <c:v>10.26</c:v>
                </c:pt>
                <c:pt idx="10">
                  <c:v>10.220000000000001</c:v>
                </c:pt>
                <c:pt idx="11">
                  <c:v>10.200000000000001</c:v>
                </c:pt>
                <c:pt idx="12">
                  <c:v>10.220000000000001</c:v>
                </c:pt>
              </c:numCache>
            </c:numRef>
          </c:val>
          <c:smooth val="0"/>
        </c:ser>
        <c:dLbls>
          <c:showLegendKey val="0"/>
          <c:showVal val="0"/>
          <c:showCatName val="0"/>
          <c:showSerName val="0"/>
          <c:showPercent val="0"/>
          <c:showBubbleSize val="0"/>
        </c:dLbls>
        <c:marker val="1"/>
        <c:smooth val="0"/>
        <c:axId val="129239680"/>
        <c:axId val="129241472"/>
      </c:lineChart>
      <c:catAx>
        <c:axId val="129239680"/>
        <c:scaling>
          <c:orientation val="minMax"/>
        </c:scaling>
        <c:delete val="0"/>
        <c:axPos val="b"/>
        <c:majorTickMark val="none"/>
        <c:minorTickMark val="none"/>
        <c:tickLblPos val="nextTo"/>
        <c:crossAx val="129241472"/>
        <c:crosses val="autoZero"/>
        <c:auto val="1"/>
        <c:lblAlgn val="ctr"/>
        <c:lblOffset val="100"/>
        <c:noMultiLvlLbl val="0"/>
      </c:catAx>
      <c:valAx>
        <c:axId val="129241472"/>
        <c:scaling>
          <c:orientation val="minMax"/>
          <c:min val="8"/>
        </c:scaling>
        <c:delete val="0"/>
        <c:axPos val="l"/>
        <c:majorGridlines/>
        <c:title>
          <c:overlay val="0"/>
        </c:title>
        <c:numFmt formatCode="General" sourceLinked="1"/>
        <c:majorTickMark val="none"/>
        <c:minorTickMark val="none"/>
        <c:tickLblPos val="nextTo"/>
        <c:crossAx val="129239680"/>
        <c:crosses val="autoZero"/>
        <c:crossBetween val="between"/>
      </c:valAx>
    </c:plotArea>
    <c:legend>
      <c:legendPos val="r"/>
      <c:layout>
        <c:manualLayout>
          <c:xMode val="edge"/>
          <c:yMode val="edge"/>
          <c:x val="0.70961374760587392"/>
          <c:y val="0.40348700977595203"/>
          <c:w val="0.19962876262088858"/>
          <c:h val="0.23500076077446841"/>
        </c:manualLayout>
      </c:layout>
      <c:overlay val="0"/>
      <c:txPr>
        <a:bodyPr/>
        <a:lstStyle/>
        <a:p>
          <a:pPr>
            <a:defRPr sz="1200" b="1"/>
          </a:pPr>
          <a:endParaRPr lang="it-IT"/>
        </a:p>
      </c:txPr>
    </c:legend>
    <c:plotVisOnly val="1"/>
    <c:dispBlanksAs val="gap"/>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Tassi</a:t>
            </a:r>
            <a:r>
              <a:rPr lang="en-US" baseline="0"/>
              <a:t> interesse imprese non finanziarie EURO </a:t>
            </a:r>
            <a:endParaRPr lang="en-US"/>
          </a:p>
        </c:rich>
      </c:tx>
      <c:layout>
        <c:manualLayout>
          <c:xMode val="edge"/>
          <c:yMode val="edge"/>
          <c:x val="0.23011111111111121"/>
          <c:y val="5.0925925925925923E-2"/>
        </c:manualLayout>
      </c:layout>
      <c:overlay val="0"/>
    </c:title>
    <c:autoTitleDeleted val="0"/>
    <c:plotArea>
      <c:layout>
        <c:manualLayout>
          <c:layoutTarget val="inner"/>
          <c:xMode val="edge"/>
          <c:yMode val="edge"/>
          <c:x val="8.1709228913953325E-2"/>
          <c:y val="0.10435897435897436"/>
          <c:w val="0.89090338369865929"/>
          <c:h val="0.78533757318796638"/>
        </c:manualLayout>
      </c:layout>
      <c:lineChart>
        <c:grouping val="standard"/>
        <c:varyColors val="0"/>
        <c:ser>
          <c:idx val="0"/>
          <c:order val="0"/>
          <c:tx>
            <c:strRef>
              <c:f>Sheet1!$F$2</c:f>
              <c:strCache>
                <c:ptCount val="1"/>
                <c:pt idx="0">
                  <c:v>TOTALE</c:v>
                </c:pt>
              </c:strCache>
            </c:strRef>
          </c:tx>
          <c:spPr>
            <a:ln>
              <a:solidFill>
                <a:srgbClr val="00B050"/>
              </a:solidFill>
            </a:ln>
          </c:spPr>
          <c:marker>
            <c:symbol val="none"/>
          </c:marker>
          <c:cat>
            <c:strRef>
              <c:f>Sheet1!$A$3:$E$15</c:f>
              <c:strCache>
                <c:ptCount val="13"/>
                <c:pt idx="0">
                  <c:v>2007</c:v>
                </c:pt>
                <c:pt idx="1">
                  <c:v>2008</c:v>
                </c:pt>
                <c:pt idx="2">
                  <c:v>2009</c:v>
                </c:pt>
                <c:pt idx="3">
                  <c:v>2010</c:v>
                </c:pt>
                <c:pt idx="4">
                  <c:v>2011</c:v>
                </c:pt>
                <c:pt idx="5">
                  <c:v>2012 JAN</c:v>
                </c:pt>
                <c:pt idx="6">
                  <c:v>Feb.</c:v>
                </c:pt>
                <c:pt idx="7">
                  <c:v>Mar.</c:v>
                </c:pt>
                <c:pt idx="8">
                  <c:v>Apr.</c:v>
                </c:pt>
                <c:pt idx="9">
                  <c:v>May</c:v>
                </c:pt>
                <c:pt idx="10">
                  <c:v>Jun.</c:v>
                </c:pt>
                <c:pt idx="11">
                  <c:v>Jul.</c:v>
                </c:pt>
                <c:pt idx="12">
                  <c:v>Aug.</c:v>
                </c:pt>
              </c:strCache>
            </c:strRef>
          </c:cat>
          <c:val>
            <c:numRef>
              <c:f>Sheet1!$F$3:$F$15</c:f>
              <c:numCache>
                <c:formatCode>General</c:formatCode>
                <c:ptCount val="13"/>
                <c:pt idx="0">
                  <c:v>7.95</c:v>
                </c:pt>
                <c:pt idx="1">
                  <c:v>7.63</c:v>
                </c:pt>
                <c:pt idx="2">
                  <c:v>5.9700000000000024</c:v>
                </c:pt>
                <c:pt idx="3">
                  <c:v>5.63</c:v>
                </c:pt>
                <c:pt idx="4">
                  <c:v>5.73</c:v>
                </c:pt>
                <c:pt idx="5">
                  <c:v>5.6199999999999974</c:v>
                </c:pt>
                <c:pt idx="6">
                  <c:v>5.45</c:v>
                </c:pt>
                <c:pt idx="7">
                  <c:v>5.33</c:v>
                </c:pt>
                <c:pt idx="8">
                  <c:v>5.1899999999999995</c:v>
                </c:pt>
                <c:pt idx="9">
                  <c:v>5.13</c:v>
                </c:pt>
                <c:pt idx="10">
                  <c:v>5.1199999999999974</c:v>
                </c:pt>
                <c:pt idx="11">
                  <c:v>5.03</c:v>
                </c:pt>
                <c:pt idx="12">
                  <c:v>4.9300000000000024</c:v>
                </c:pt>
              </c:numCache>
            </c:numRef>
          </c:val>
          <c:smooth val="0"/>
        </c:ser>
        <c:ser>
          <c:idx val="1"/>
          <c:order val="1"/>
          <c:tx>
            <c:strRef>
              <c:f>Sheet1!$G$2</c:f>
              <c:strCache>
                <c:ptCount val="1"/>
                <c:pt idx="0">
                  <c:v>1 ANNO </c:v>
                </c:pt>
              </c:strCache>
            </c:strRef>
          </c:tx>
          <c:marker>
            <c:symbol val="none"/>
          </c:marker>
          <c:cat>
            <c:strRef>
              <c:f>Sheet1!$A$3:$E$15</c:f>
              <c:strCache>
                <c:ptCount val="13"/>
                <c:pt idx="0">
                  <c:v>2007</c:v>
                </c:pt>
                <c:pt idx="1">
                  <c:v>2008</c:v>
                </c:pt>
                <c:pt idx="2">
                  <c:v>2009</c:v>
                </c:pt>
                <c:pt idx="3">
                  <c:v>2010</c:v>
                </c:pt>
                <c:pt idx="4">
                  <c:v>2011</c:v>
                </c:pt>
                <c:pt idx="5">
                  <c:v>2012 JAN</c:v>
                </c:pt>
                <c:pt idx="6">
                  <c:v>Feb.</c:v>
                </c:pt>
                <c:pt idx="7">
                  <c:v>Mar.</c:v>
                </c:pt>
                <c:pt idx="8">
                  <c:v>Apr.</c:v>
                </c:pt>
                <c:pt idx="9">
                  <c:v>May</c:v>
                </c:pt>
                <c:pt idx="10">
                  <c:v>Jun.</c:v>
                </c:pt>
                <c:pt idx="11">
                  <c:v>Jul.</c:v>
                </c:pt>
                <c:pt idx="12">
                  <c:v>Aug.</c:v>
                </c:pt>
              </c:strCache>
            </c:strRef>
          </c:cat>
          <c:val>
            <c:numRef>
              <c:f>Sheet1!$G$3:$G$15</c:f>
              <c:numCache>
                <c:formatCode>General</c:formatCode>
                <c:ptCount val="13"/>
                <c:pt idx="0">
                  <c:v>7.31</c:v>
                </c:pt>
                <c:pt idx="1">
                  <c:v>6.71</c:v>
                </c:pt>
                <c:pt idx="2">
                  <c:v>5.7</c:v>
                </c:pt>
                <c:pt idx="3">
                  <c:v>5.3199999999999985</c:v>
                </c:pt>
                <c:pt idx="4">
                  <c:v>5.29</c:v>
                </c:pt>
                <c:pt idx="5">
                  <c:v>5.23</c:v>
                </c:pt>
                <c:pt idx="6">
                  <c:v>4.95</c:v>
                </c:pt>
                <c:pt idx="7">
                  <c:v>4.87</c:v>
                </c:pt>
                <c:pt idx="8">
                  <c:v>4.75</c:v>
                </c:pt>
                <c:pt idx="9">
                  <c:v>4.7</c:v>
                </c:pt>
                <c:pt idx="10">
                  <c:v>4.6599999999999975</c:v>
                </c:pt>
                <c:pt idx="11">
                  <c:v>4.63</c:v>
                </c:pt>
                <c:pt idx="12">
                  <c:v>4.57</c:v>
                </c:pt>
              </c:numCache>
            </c:numRef>
          </c:val>
          <c:smooth val="0"/>
        </c:ser>
        <c:ser>
          <c:idx val="2"/>
          <c:order val="2"/>
          <c:tx>
            <c:strRef>
              <c:f>Sheet1!$H$2</c:f>
              <c:strCache>
                <c:ptCount val="1"/>
                <c:pt idx="0">
                  <c:v> 1- 5 ANNI  </c:v>
                </c:pt>
              </c:strCache>
            </c:strRef>
          </c:tx>
          <c:spPr>
            <a:ln>
              <a:solidFill>
                <a:srgbClr val="FF0000"/>
              </a:solidFill>
            </a:ln>
          </c:spPr>
          <c:marker>
            <c:symbol val="none"/>
          </c:marker>
          <c:cat>
            <c:strRef>
              <c:f>Sheet1!$A$3:$E$15</c:f>
              <c:strCache>
                <c:ptCount val="13"/>
                <c:pt idx="0">
                  <c:v>2007</c:v>
                </c:pt>
                <c:pt idx="1">
                  <c:v>2008</c:v>
                </c:pt>
                <c:pt idx="2">
                  <c:v>2009</c:v>
                </c:pt>
                <c:pt idx="3">
                  <c:v>2010</c:v>
                </c:pt>
                <c:pt idx="4">
                  <c:v>2011</c:v>
                </c:pt>
                <c:pt idx="5">
                  <c:v>2012 JAN</c:v>
                </c:pt>
                <c:pt idx="6">
                  <c:v>Feb.</c:v>
                </c:pt>
                <c:pt idx="7">
                  <c:v>Mar.</c:v>
                </c:pt>
                <c:pt idx="8">
                  <c:v>Apr.</c:v>
                </c:pt>
                <c:pt idx="9">
                  <c:v>May</c:v>
                </c:pt>
                <c:pt idx="10">
                  <c:v>Jun.</c:v>
                </c:pt>
                <c:pt idx="11">
                  <c:v>Jul.</c:v>
                </c:pt>
                <c:pt idx="12">
                  <c:v>Aug.</c:v>
                </c:pt>
              </c:strCache>
            </c:strRef>
          </c:cat>
          <c:val>
            <c:numRef>
              <c:f>Sheet1!$H$3:$H$15</c:f>
              <c:numCache>
                <c:formatCode>General</c:formatCode>
                <c:ptCount val="13"/>
                <c:pt idx="0">
                  <c:v>8.15</c:v>
                </c:pt>
                <c:pt idx="1">
                  <c:v>7.94</c:v>
                </c:pt>
                <c:pt idx="2">
                  <c:v>6.1499999999999995</c:v>
                </c:pt>
                <c:pt idx="3">
                  <c:v>5.6899999999999995</c:v>
                </c:pt>
                <c:pt idx="4">
                  <c:v>5.7700000000000014</c:v>
                </c:pt>
                <c:pt idx="5">
                  <c:v>5.59</c:v>
                </c:pt>
                <c:pt idx="6">
                  <c:v>5.45</c:v>
                </c:pt>
                <c:pt idx="7">
                  <c:v>5.34</c:v>
                </c:pt>
                <c:pt idx="8">
                  <c:v>5.1499999999999995</c:v>
                </c:pt>
                <c:pt idx="9">
                  <c:v>5.1199999999999974</c:v>
                </c:pt>
                <c:pt idx="10">
                  <c:v>5.1599999999999975</c:v>
                </c:pt>
                <c:pt idx="11">
                  <c:v>5</c:v>
                </c:pt>
                <c:pt idx="12">
                  <c:v>4.92</c:v>
                </c:pt>
              </c:numCache>
            </c:numRef>
          </c:val>
          <c:smooth val="0"/>
        </c:ser>
        <c:ser>
          <c:idx val="3"/>
          <c:order val="3"/>
          <c:tx>
            <c:strRef>
              <c:f>Sheet1!$I$2</c:f>
              <c:strCache>
                <c:ptCount val="1"/>
                <c:pt idx="0">
                  <c:v>&lt; 5 ANNI</c:v>
                </c:pt>
              </c:strCache>
            </c:strRef>
          </c:tx>
          <c:marker>
            <c:symbol val="none"/>
          </c:marker>
          <c:cat>
            <c:strRef>
              <c:f>Sheet1!$A$3:$E$15</c:f>
              <c:strCache>
                <c:ptCount val="13"/>
                <c:pt idx="0">
                  <c:v>2007</c:v>
                </c:pt>
                <c:pt idx="1">
                  <c:v>2008</c:v>
                </c:pt>
                <c:pt idx="2">
                  <c:v>2009</c:v>
                </c:pt>
                <c:pt idx="3">
                  <c:v>2010</c:v>
                </c:pt>
                <c:pt idx="4">
                  <c:v>2011</c:v>
                </c:pt>
                <c:pt idx="5">
                  <c:v>2012 JAN</c:v>
                </c:pt>
                <c:pt idx="6">
                  <c:v>Feb.</c:v>
                </c:pt>
                <c:pt idx="7">
                  <c:v>Mar.</c:v>
                </c:pt>
                <c:pt idx="8">
                  <c:v>Apr.</c:v>
                </c:pt>
                <c:pt idx="9">
                  <c:v>May</c:v>
                </c:pt>
                <c:pt idx="10">
                  <c:v>Jun.</c:v>
                </c:pt>
                <c:pt idx="11">
                  <c:v>Jul.</c:v>
                </c:pt>
                <c:pt idx="12">
                  <c:v>Aug.</c:v>
                </c:pt>
              </c:strCache>
            </c:strRef>
          </c:cat>
          <c:val>
            <c:numRef>
              <c:f>Sheet1!$I$3:$I$15</c:f>
              <c:numCache>
                <c:formatCode>General</c:formatCode>
                <c:ptCount val="13"/>
                <c:pt idx="0">
                  <c:v>8.34</c:v>
                </c:pt>
                <c:pt idx="1">
                  <c:v>8.2399999999999984</c:v>
                </c:pt>
                <c:pt idx="2">
                  <c:v>6.06</c:v>
                </c:pt>
                <c:pt idx="3">
                  <c:v>5.8</c:v>
                </c:pt>
                <c:pt idx="4">
                  <c:v>6</c:v>
                </c:pt>
                <c:pt idx="5">
                  <c:v>5.92</c:v>
                </c:pt>
                <c:pt idx="6">
                  <c:v>5.81</c:v>
                </c:pt>
                <c:pt idx="7">
                  <c:v>5.6499999999999995</c:v>
                </c:pt>
                <c:pt idx="8">
                  <c:v>5.55</c:v>
                </c:pt>
                <c:pt idx="9">
                  <c:v>5.45</c:v>
                </c:pt>
                <c:pt idx="10">
                  <c:v>5.4</c:v>
                </c:pt>
                <c:pt idx="11">
                  <c:v>5.31</c:v>
                </c:pt>
                <c:pt idx="12">
                  <c:v>5.18</c:v>
                </c:pt>
              </c:numCache>
            </c:numRef>
          </c:val>
          <c:smooth val="0"/>
        </c:ser>
        <c:dLbls>
          <c:showLegendKey val="0"/>
          <c:showVal val="0"/>
          <c:showCatName val="0"/>
          <c:showSerName val="0"/>
          <c:showPercent val="0"/>
          <c:showBubbleSize val="0"/>
        </c:dLbls>
        <c:marker val="1"/>
        <c:smooth val="0"/>
        <c:axId val="129277952"/>
        <c:axId val="129279488"/>
      </c:lineChart>
      <c:catAx>
        <c:axId val="129277952"/>
        <c:scaling>
          <c:orientation val="minMax"/>
        </c:scaling>
        <c:delete val="0"/>
        <c:axPos val="b"/>
        <c:majorTickMark val="none"/>
        <c:minorTickMark val="none"/>
        <c:tickLblPos val="nextTo"/>
        <c:crossAx val="129279488"/>
        <c:crosses val="autoZero"/>
        <c:auto val="1"/>
        <c:lblAlgn val="ctr"/>
        <c:lblOffset val="100"/>
        <c:noMultiLvlLbl val="0"/>
      </c:catAx>
      <c:valAx>
        <c:axId val="129279488"/>
        <c:scaling>
          <c:orientation val="minMax"/>
          <c:min val="4"/>
        </c:scaling>
        <c:delete val="0"/>
        <c:axPos val="l"/>
        <c:majorGridlines/>
        <c:title>
          <c:overlay val="0"/>
        </c:title>
        <c:numFmt formatCode="General" sourceLinked="1"/>
        <c:majorTickMark val="none"/>
        <c:minorTickMark val="none"/>
        <c:tickLblPos val="nextTo"/>
        <c:crossAx val="129277952"/>
        <c:crosses val="autoZero"/>
        <c:crossBetween val="between"/>
        <c:majorUnit val="0.5"/>
      </c:valAx>
    </c:plotArea>
    <c:legend>
      <c:legendPos val="r"/>
      <c:layout>
        <c:manualLayout>
          <c:xMode val="edge"/>
          <c:yMode val="edge"/>
          <c:x val="0.78192192192192167"/>
          <c:y val="0.37142782152230985"/>
          <c:w val="0.12348348348348356"/>
          <c:h val="0.17500747022006871"/>
        </c:manualLayout>
      </c:layout>
      <c:overlay val="0"/>
      <c:txPr>
        <a:bodyPr/>
        <a:lstStyle/>
        <a:p>
          <a:pPr>
            <a:defRPr sz="1200" b="1"/>
          </a:pPr>
          <a:endParaRPr lang="it-IT"/>
        </a:p>
      </c:txPr>
    </c:legend>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038174915635545E-2"/>
          <c:y val="5.6231503670736795E-2"/>
          <c:w val="0.90161264998125146"/>
          <c:h val="0.71123150367073684"/>
        </c:manualLayout>
      </c:layout>
      <c:lineChart>
        <c:grouping val="standard"/>
        <c:varyColors val="0"/>
        <c:ser>
          <c:idx val="0"/>
          <c:order val="0"/>
          <c:tx>
            <c:strRef>
              <c:f>Sheet1!$B$6:$B$8</c:f>
              <c:strCache>
                <c:ptCount val="1"/>
                <c:pt idx="0">
                  <c:v>EUR
 average (RON/EUR) CURSL_EURM</c:v>
                </c:pt>
              </c:strCache>
            </c:strRef>
          </c:tx>
          <c:spPr>
            <a:ln>
              <a:solidFill>
                <a:srgbClr val="FF0000"/>
              </a:solidFill>
            </a:ln>
          </c:spPr>
          <c:marker>
            <c:symbol val="none"/>
          </c:marker>
          <c:cat>
            <c:numRef>
              <c:f>Sheet1!$A$9:$A$77</c:f>
              <c:numCache>
                <c:formatCode>mmm\.\ yyyy</c:formatCode>
                <c:ptCount val="69"/>
                <c:pt idx="0">
                  <c:v>41153</c:v>
                </c:pt>
                <c:pt idx="1">
                  <c:v>41122</c:v>
                </c:pt>
                <c:pt idx="2">
                  <c:v>41091</c:v>
                </c:pt>
                <c:pt idx="3">
                  <c:v>41061</c:v>
                </c:pt>
                <c:pt idx="4">
                  <c:v>41030</c:v>
                </c:pt>
                <c:pt idx="5">
                  <c:v>41000</c:v>
                </c:pt>
                <c:pt idx="6">
                  <c:v>40969</c:v>
                </c:pt>
                <c:pt idx="7">
                  <c:v>40940</c:v>
                </c:pt>
                <c:pt idx="8">
                  <c:v>40909</c:v>
                </c:pt>
                <c:pt idx="9">
                  <c:v>40878</c:v>
                </c:pt>
                <c:pt idx="10">
                  <c:v>40848</c:v>
                </c:pt>
                <c:pt idx="11">
                  <c:v>40817</c:v>
                </c:pt>
                <c:pt idx="12">
                  <c:v>40787</c:v>
                </c:pt>
                <c:pt idx="13">
                  <c:v>40756</c:v>
                </c:pt>
                <c:pt idx="14">
                  <c:v>40725</c:v>
                </c:pt>
                <c:pt idx="15">
                  <c:v>40695</c:v>
                </c:pt>
                <c:pt idx="16">
                  <c:v>40664</c:v>
                </c:pt>
                <c:pt idx="17">
                  <c:v>40634</c:v>
                </c:pt>
                <c:pt idx="18">
                  <c:v>40603</c:v>
                </c:pt>
                <c:pt idx="19">
                  <c:v>40575</c:v>
                </c:pt>
                <c:pt idx="20">
                  <c:v>40544</c:v>
                </c:pt>
                <c:pt idx="21">
                  <c:v>40513</c:v>
                </c:pt>
                <c:pt idx="22">
                  <c:v>40483</c:v>
                </c:pt>
                <c:pt idx="23">
                  <c:v>40452</c:v>
                </c:pt>
                <c:pt idx="24">
                  <c:v>40422</c:v>
                </c:pt>
                <c:pt idx="25">
                  <c:v>40391</c:v>
                </c:pt>
                <c:pt idx="26">
                  <c:v>40360</c:v>
                </c:pt>
                <c:pt idx="27">
                  <c:v>40330</c:v>
                </c:pt>
                <c:pt idx="28">
                  <c:v>40299</c:v>
                </c:pt>
                <c:pt idx="29">
                  <c:v>40269</c:v>
                </c:pt>
                <c:pt idx="30">
                  <c:v>40238</c:v>
                </c:pt>
                <c:pt idx="31">
                  <c:v>40210</c:v>
                </c:pt>
                <c:pt idx="32">
                  <c:v>40179</c:v>
                </c:pt>
                <c:pt idx="33">
                  <c:v>40148</c:v>
                </c:pt>
                <c:pt idx="34">
                  <c:v>40118</c:v>
                </c:pt>
                <c:pt idx="35">
                  <c:v>40087</c:v>
                </c:pt>
                <c:pt idx="36">
                  <c:v>40057</c:v>
                </c:pt>
                <c:pt idx="37">
                  <c:v>40026</c:v>
                </c:pt>
                <c:pt idx="38">
                  <c:v>39995</c:v>
                </c:pt>
                <c:pt idx="39">
                  <c:v>39965</c:v>
                </c:pt>
                <c:pt idx="40">
                  <c:v>39934</c:v>
                </c:pt>
                <c:pt idx="41">
                  <c:v>39904</c:v>
                </c:pt>
                <c:pt idx="42">
                  <c:v>39873</c:v>
                </c:pt>
                <c:pt idx="43">
                  <c:v>39845</c:v>
                </c:pt>
                <c:pt idx="44">
                  <c:v>39814</c:v>
                </c:pt>
                <c:pt idx="45">
                  <c:v>39783</c:v>
                </c:pt>
                <c:pt idx="46">
                  <c:v>39753</c:v>
                </c:pt>
                <c:pt idx="47">
                  <c:v>39722</c:v>
                </c:pt>
                <c:pt idx="48">
                  <c:v>39692</c:v>
                </c:pt>
                <c:pt idx="49">
                  <c:v>39661</c:v>
                </c:pt>
                <c:pt idx="50">
                  <c:v>39630</c:v>
                </c:pt>
                <c:pt idx="51">
                  <c:v>39600</c:v>
                </c:pt>
                <c:pt idx="52">
                  <c:v>39569</c:v>
                </c:pt>
                <c:pt idx="53">
                  <c:v>39539</c:v>
                </c:pt>
                <c:pt idx="54">
                  <c:v>39508</c:v>
                </c:pt>
                <c:pt idx="55">
                  <c:v>39479</c:v>
                </c:pt>
                <c:pt idx="56">
                  <c:v>39448</c:v>
                </c:pt>
                <c:pt idx="57">
                  <c:v>39417</c:v>
                </c:pt>
                <c:pt idx="58">
                  <c:v>39387</c:v>
                </c:pt>
                <c:pt idx="59">
                  <c:v>39356</c:v>
                </c:pt>
                <c:pt idx="60">
                  <c:v>39326</c:v>
                </c:pt>
                <c:pt idx="61">
                  <c:v>39295</c:v>
                </c:pt>
                <c:pt idx="62">
                  <c:v>39264</c:v>
                </c:pt>
                <c:pt idx="63">
                  <c:v>39234</c:v>
                </c:pt>
                <c:pt idx="64">
                  <c:v>39203</c:v>
                </c:pt>
                <c:pt idx="65">
                  <c:v>39173</c:v>
                </c:pt>
                <c:pt idx="66">
                  <c:v>39142</c:v>
                </c:pt>
                <c:pt idx="67">
                  <c:v>39114</c:v>
                </c:pt>
                <c:pt idx="68">
                  <c:v>39083</c:v>
                </c:pt>
              </c:numCache>
            </c:numRef>
          </c:cat>
          <c:val>
            <c:numRef>
              <c:f>Sheet1!$B$9:$B$77</c:f>
              <c:numCache>
                <c:formatCode>#,##0.0000</c:formatCode>
                <c:ptCount val="69"/>
                <c:pt idx="0">
                  <c:v>4.5007000000000001</c:v>
                </c:pt>
                <c:pt idx="1">
                  <c:v>4.5163000000000002</c:v>
                </c:pt>
                <c:pt idx="2">
                  <c:v>4.5484</c:v>
                </c:pt>
                <c:pt idx="3">
                  <c:v>4.4603000000000002</c:v>
                </c:pt>
                <c:pt idx="4">
                  <c:v>4.4381000000000004</c:v>
                </c:pt>
                <c:pt idx="5">
                  <c:v>4.3760000000000003</c:v>
                </c:pt>
                <c:pt idx="6">
                  <c:v>4.3651999999999962</c:v>
                </c:pt>
                <c:pt idx="7">
                  <c:v>4.3506</c:v>
                </c:pt>
                <c:pt idx="8">
                  <c:v>4.3427999999999995</c:v>
                </c:pt>
                <c:pt idx="9">
                  <c:v>4.3266999999999998</c:v>
                </c:pt>
                <c:pt idx="10">
                  <c:v>4.3536000000000001</c:v>
                </c:pt>
                <c:pt idx="11">
                  <c:v>4.3237999999999985</c:v>
                </c:pt>
                <c:pt idx="12">
                  <c:v>4.282</c:v>
                </c:pt>
                <c:pt idx="13">
                  <c:v>4.2500999999999998</c:v>
                </c:pt>
                <c:pt idx="14">
                  <c:v>4.2404999999999999</c:v>
                </c:pt>
                <c:pt idx="15">
                  <c:v>4.1928999999999963</c:v>
                </c:pt>
                <c:pt idx="16">
                  <c:v>4.1119999999999965</c:v>
                </c:pt>
                <c:pt idx="17">
                  <c:v>4.0991999999999997</c:v>
                </c:pt>
                <c:pt idx="18">
                  <c:v>4.1645999999999948</c:v>
                </c:pt>
                <c:pt idx="19">
                  <c:v>4.2472000000000003</c:v>
                </c:pt>
                <c:pt idx="20">
                  <c:v>4.2622</c:v>
                </c:pt>
                <c:pt idx="21">
                  <c:v>4.2924999999999995</c:v>
                </c:pt>
                <c:pt idx="22">
                  <c:v>4.2930999999999999</c:v>
                </c:pt>
                <c:pt idx="23">
                  <c:v>4.2798000000000034</c:v>
                </c:pt>
                <c:pt idx="24">
                  <c:v>4.2641999999999962</c:v>
                </c:pt>
                <c:pt idx="25">
                  <c:v>4.2389000000000001</c:v>
                </c:pt>
                <c:pt idx="26">
                  <c:v>4.2610999999999999</c:v>
                </c:pt>
                <c:pt idx="27">
                  <c:v>4.2396000000000038</c:v>
                </c:pt>
                <c:pt idx="28">
                  <c:v>4.1742999999999997</c:v>
                </c:pt>
                <c:pt idx="29">
                  <c:v>4.1284999999999963</c:v>
                </c:pt>
                <c:pt idx="30">
                  <c:v>4.0878999999999985</c:v>
                </c:pt>
                <c:pt idx="31">
                  <c:v>4.1178999999999961</c:v>
                </c:pt>
                <c:pt idx="32">
                  <c:v>4.1408999999999985</c:v>
                </c:pt>
                <c:pt idx="33">
                  <c:v>4.2247999999999966</c:v>
                </c:pt>
                <c:pt idx="34">
                  <c:v>4.2881</c:v>
                </c:pt>
                <c:pt idx="35">
                  <c:v>4.2847999999999997</c:v>
                </c:pt>
                <c:pt idx="36">
                  <c:v>4.2389000000000001</c:v>
                </c:pt>
                <c:pt idx="37">
                  <c:v>4.2184999999999997</c:v>
                </c:pt>
                <c:pt idx="38">
                  <c:v>4.2168000000000001</c:v>
                </c:pt>
                <c:pt idx="39">
                  <c:v>4.2126000000000001</c:v>
                </c:pt>
                <c:pt idx="40">
                  <c:v>4.1688999999999963</c:v>
                </c:pt>
                <c:pt idx="41">
                  <c:v>4.1953999999999985</c:v>
                </c:pt>
                <c:pt idx="42">
                  <c:v>4.2820999999999998</c:v>
                </c:pt>
                <c:pt idx="43">
                  <c:v>4.2839</c:v>
                </c:pt>
                <c:pt idx="44">
                  <c:v>4.2327000000000004</c:v>
                </c:pt>
                <c:pt idx="45">
                  <c:v>3.915299999999998</c:v>
                </c:pt>
                <c:pt idx="46">
                  <c:v>3.7753000000000001</c:v>
                </c:pt>
                <c:pt idx="47">
                  <c:v>3.7454000000000001</c:v>
                </c:pt>
                <c:pt idx="48">
                  <c:v>3.6254</c:v>
                </c:pt>
                <c:pt idx="49">
                  <c:v>3.5267999999999997</c:v>
                </c:pt>
                <c:pt idx="50">
                  <c:v>3.5791999999999997</c:v>
                </c:pt>
                <c:pt idx="51">
                  <c:v>3.6556999999999982</c:v>
                </c:pt>
                <c:pt idx="52">
                  <c:v>3.6593999999999998</c:v>
                </c:pt>
                <c:pt idx="53">
                  <c:v>3.6425999999999998</c:v>
                </c:pt>
                <c:pt idx="54">
                  <c:v>3.7218</c:v>
                </c:pt>
                <c:pt idx="55">
                  <c:v>3.6527999999999987</c:v>
                </c:pt>
                <c:pt idx="56">
                  <c:v>3.6930000000000001</c:v>
                </c:pt>
                <c:pt idx="57">
                  <c:v>3.5289000000000001</c:v>
                </c:pt>
                <c:pt idx="58">
                  <c:v>3.4706999999999981</c:v>
                </c:pt>
                <c:pt idx="59">
                  <c:v>3.3524999999999978</c:v>
                </c:pt>
                <c:pt idx="60">
                  <c:v>3.3465999999999987</c:v>
                </c:pt>
                <c:pt idx="61">
                  <c:v>3.2237000000000018</c:v>
                </c:pt>
                <c:pt idx="62">
                  <c:v>3.1337000000000002</c:v>
                </c:pt>
                <c:pt idx="63">
                  <c:v>3.2263999999999999</c:v>
                </c:pt>
                <c:pt idx="64">
                  <c:v>3.2850000000000001</c:v>
                </c:pt>
                <c:pt idx="65">
                  <c:v>3.3348999999999984</c:v>
                </c:pt>
                <c:pt idx="66">
                  <c:v>3.3693999999999997</c:v>
                </c:pt>
                <c:pt idx="67">
                  <c:v>3.3823999999999987</c:v>
                </c:pt>
                <c:pt idx="68">
                  <c:v>3.3936999999999982</c:v>
                </c:pt>
              </c:numCache>
            </c:numRef>
          </c:val>
          <c:smooth val="0"/>
        </c:ser>
        <c:ser>
          <c:idx val="1"/>
          <c:order val="1"/>
          <c:tx>
            <c:strRef>
              <c:f>Sheet1!$C$6:$C$8</c:f>
              <c:strCache>
                <c:ptCount val="1"/>
                <c:pt idx="0">
                  <c:v>USD
 average (RON/USD) CURSL_USDM</c:v>
                </c:pt>
              </c:strCache>
            </c:strRef>
          </c:tx>
          <c:marker>
            <c:symbol val="none"/>
          </c:marker>
          <c:cat>
            <c:numRef>
              <c:f>Sheet1!$A$9:$A$77</c:f>
              <c:numCache>
                <c:formatCode>mmm\.\ yyyy</c:formatCode>
                <c:ptCount val="69"/>
                <c:pt idx="0">
                  <c:v>41153</c:v>
                </c:pt>
                <c:pt idx="1">
                  <c:v>41122</c:v>
                </c:pt>
                <c:pt idx="2">
                  <c:v>41091</c:v>
                </c:pt>
                <c:pt idx="3">
                  <c:v>41061</c:v>
                </c:pt>
                <c:pt idx="4">
                  <c:v>41030</c:v>
                </c:pt>
                <c:pt idx="5">
                  <c:v>41000</c:v>
                </c:pt>
                <c:pt idx="6">
                  <c:v>40969</c:v>
                </c:pt>
                <c:pt idx="7">
                  <c:v>40940</c:v>
                </c:pt>
                <c:pt idx="8">
                  <c:v>40909</c:v>
                </c:pt>
                <c:pt idx="9">
                  <c:v>40878</c:v>
                </c:pt>
                <c:pt idx="10">
                  <c:v>40848</c:v>
                </c:pt>
                <c:pt idx="11">
                  <c:v>40817</c:v>
                </c:pt>
                <c:pt idx="12">
                  <c:v>40787</c:v>
                </c:pt>
                <c:pt idx="13">
                  <c:v>40756</c:v>
                </c:pt>
                <c:pt idx="14">
                  <c:v>40725</c:v>
                </c:pt>
                <c:pt idx="15">
                  <c:v>40695</c:v>
                </c:pt>
                <c:pt idx="16">
                  <c:v>40664</c:v>
                </c:pt>
                <c:pt idx="17">
                  <c:v>40634</c:v>
                </c:pt>
                <c:pt idx="18">
                  <c:v>40603</c:v>
                </c:pt>
                <c:pt idx="19">
                  <c:v>40575</c:v>
                </c:pt>
                <c:pt idx="20">
                  <c:v>40544</c:v>
                </c:pt>
                <c:pt idx="21">
                  <c:v>40513</c:v>
                </c:pt>
                <c:pt idx="22">
                  <c:v>40483</c:v>
                </c:pt>
                <c:pt idx="23">
                  <c:v>40452</c:v>
                </c:pt>
                <c:pt idx="24">
                  <c:v>40422</c:v>
                </c:pt>
                <c:pt idx="25">
                  <c:v>40391</c:v>
                </c:pt>
                <c:pt idx="26">
                  <c:v>40360</c:v>
                </c:pt>
                <c:pt idx="27">
                  <c:v>40330</c:v>
                </c:pt>
                <c:pt idx="28">
                  <c:v>40299</c:v>
                </c:pt>
                <c:pt idx="29">
                  <c:v>40269</c:v>
                </c:pt>
                <c:pt idx="30">
                  <c:v>40238</c:v>
                </c:pt>
                <c:pt idx="31">
                  <c:v>40210</c:v>
                </c:pt>
                <c:pt idx="32">
                  <c:v>40179</c:v>
                </c:pt>
                <c:pt idx="33">
                  <c:v>40148</c:v>
                </c:pt>
                <c:pt idx="34">
                  <c:v>40118</c:v>
                </c:pt>
                <c:pt idx="35">
                  <c:v>40087</c:v>
                </c:pt>
                <c:pt idx="36">
                  <c:v>40057</c:v>
                </c:pt>
                <c:pt idx="37">
                  <c:v>40026</c:v>
                </c:pt>
                <c:pt idx="38">
                  <c:v>39995</c:v>
                </c:pt>
                <c:pt idx="39">
                  <c:v>39965</c:v>
                </c:pt>
                <c:pt idx="40">
                  <c:v>39934</c:v>
                </c:pt>
                <c:pt idx="41">
                  <c:v>39904</c:v>
                </c:pt>
                <c:pt idx="42">
                  <c:v>39873</c:v>
                </c:pt>
                <c:pt idx="43">
                  <c:v>39845</c:v>
                </c:pt>
                <c:pt idx="44">
                  <c:v>39814</c:v>
                </c:pt>
                <c:pt idx="45">
                  <c:v>39783</c:v>
                </c:pt>
                <c:pt idx="46">
                  <c:v>39753</c:v>
                </c:pt>
                <c:pt idx="47">
                  <c:v>39722</c:v>
                </c:pt>
                <c:pt idx="48">
                  <c:v>39692</c:v>
                </c:pt>
                <c:pt idx="49">
                  <c:v>39661</c:v>
                </c:pt>
                <c:pt idx="50">
                  <c:v>39630</c:v>
                </c:pt>
                <c:pt idx="51">
                  <c:v>39600</c:v>
                </c:pt>
                <c:pt idx="52">
                  <c:v>39569</c:v>
                </c:pt>
                <c:pt idx="53">
                  <c:v>39539</c:v>
                </c:pt>
                <c:pt idx="54">
                  <c:v>39508</c:v>
                </c:pt>
                <c:pt idx="55">
                  <c:v>39479</c:v>
                </c:pt>
                <c:pt idx="56">
                  <c:v>39448</c:v>
                </c:pt>
                <c:pt idx="57">
                  <c:v>39417</c:v>
                </c:pt>
                <c:pt idx="58">
                  <c:v>39387</c:v>
                </c:pt>
                <c:pt idx="59">
                  <c:v>39356</c:v>
                </c:pt>
                <c:pt idx="60">
                  <c:v>39326</c:v>
                </c:pt>
                <c:pt idx="61">
                  <c:v>39295</c:v>
                </c:pt>
                <c:pt idx="62">
                  <c:v>39264</c:v>
                </c:pt>
                <c:pt idx="63">
                  <c:v>39234</c:v>
                </c:pt>
                <c:pt idx="64">
                  <c:v>39203</c:v>
                </c:pt>
                <c:pt idx="65">
                  <c:v>39173</c:v>
                </c:pt>
                <c:pt idx="66">
                  <c:v>39142</c:v>
                </c:pt>
                <c:pt idx="67">
                  <c:v>39114</c:v>
                </c:pt>
                <c:pt idx="68">
                  <c:v>39083</c:v>
                </c:pt>
              </c:numCache>
            </c:numRef>
          </c:cat>
          <c:val>
            <c:numRef>
              <c:f>Sheet1!$C$9:$C$77</c:f>
              <c:numCache>
                <c:formatCode>#,##0.0000</c:formatCode>
                <c:ptCount val="69"/>
                <c:pt idx="0">
                  <c:v>3.5015999999999998</c:v>
                </c:pt>
                <c:pt idx="1">
                  <c:v>3.6406999999999998</c:v>
                </c:pt>
                <c:pt idx="2">
                  <c:v>3.6993</c:v>
                </c:pt>
                <c:pt idx="3">
                  <c:v>3.5569999999999982</c:v>
                </c:pt>
                <c:pt idx="4">
                  <c:v>3.4702999999999982</c:v>
                </c:pt>
                <c:pt idx="5">
                  <c:v>3.3243</c:v>
                </c:pt>
                <c:pt idx="6">
                  <c:v>3.3059999999999987</c:v>
                </c:pt>
                <c:pt idx="7">
                  <c:v>3.2879000000000018</c:v>
                </c:pt>
                <c:pt idx="8">
                  <c:v>3.3649999999999998</c:v>
                </c:pt>
                <c:pt idx="9">
                  <c:v>3.2863000000000002</c:v>
                </c:pt>
                <c:pt idx="10">
                  <c:v>3.2119999999999997</c:v>
                </c:pt>
                <c:pt idx="11">
                  <c:v>3.1539000000000001</c:v>
                </c:pt>
                <c:pt idx="12">
                  <c:v>3.1091000000000002</c:v>
                </c:pt>
                <c:pt idx="13">
                  <c:v>2.9611999999999998</c:v>
                </c:pt>
                <c:pt idx="14">
                  <c:v>2.9699999999999998</c:v>
                </c:pt>
                <c:pt idx="15">
                  <c:v>2.9133999999999998</c:v>
                </c:pt>
                <c:pt idx="16">
                  <c:v>2.8651999999999997</c:v>
                </c:pt>
                <c:pt idx="17">
                  <c:v>2.8359999999999981</c:v>
                </c:pt>
                <c:pt idx="18">
                  <c:v>2.9735999999999998</c:v>
                </c:pt>
                <c:pt idx="19">
                  <c:v>3.1107999999999998</c:v>
                </c:pt>
                <c:pt idx="20">
                  <c:v>3.1917999999999997</c:v>
                </c:pt>
                <c:pt idx="21">
                  <c:v>3.2439000000000018</c:v>
                </c:pt>
                <c:pt idx="22">
                  <c:v>3.1402999999999999</c:v>
                </c:pt>
                <c:pt idx="23">
                  <c:v>3.0787999999999998</c:v>
                </c:pt>
                <c:pt idx="24">
                  <c:v>3.2636000000000012</c:v>
                </c:pt>
                <c:pt idx="25">
                  <c:v>3.2847000000000017</c:v>
                </c:pt>
                <c:pt idx="26">
                  <c:v>3.3387999999999987</c:v>
                </c:pt>
                <c:pt idx="27">
                  <c:v>3.4699999999999998</c:v>
                </c:pt>
                <c:pt idx="28">
                  <c:v>3.3207</c:v>
                </c:pt>
                <c:pt idx="29">
                  <c:v>3.0757999999999988</c:v>
                </c:pt>
                <c:pt idx="30">
                  <c:v>3.0112999999999981</c:v>
                </c:pt>
                <c:pt idx="31">
                  <c:v>3.0070999999999999</c:v>
                </c:pt>
                <c:pt idx="32">
                  <c:v>2.8997999999999982</c:v>
                </c:pt>
                <c:pt idx="33">
                  <c:v>2.8951999999999987</c:v>
                </c:pt>
                <c:pt idx="34">
                  <c:v>2.8740999999999981</c:v>
                </c:pt>
                <c:pt idx="35">
                  <c:v>2.8903999999999987</c:v>
                </c:pt>
                <c:pt idx="36">
                  <c:v>2.9109999999999987</c:v>
                </c:pt>
                <c:pt idx="37">
                  <c:v>2.9575999999999998</c:v>
                </c:pt>
                <c:pt idx="38">
                  <c:v>2.9939999999999998</c:v>
                </c:pt>
                <c:pt idx="39">
                  <c:v>3.0034999999999998</c:v>
                </c:pt>
                <c:pt idx="40">
                  <c:v>3.0553999999999997</c:v>
                </c:pt>
                <c:pt idx="41">
                  <c:v>3.1777000000000002</c:v>
                </c:pt>
                <c:pt idx="42">
                  <c:v>3.2850999999999999</c:v>
                </c:pt>
                <c:pt idx="43">
                  <c:v>3.3479999999999999</c:v>
                </c:pt>
                <c:pt idx="44">
                  <c:v>3.1999</c:v>
                </c:pt>
                <c:pt idx="45">
                  <c:v>2.9025999999999987</c:v>
                </c:pt>
                <c:pt idx="46">
                  <c:v>2.9634</c:v>
                </c:pt>
                <c:pt idx="47">
                  <c:v>2.8130999999999982</c:v>
                </c:pt>
                <c:pt idx="48">
                  <c:v>2.5236999999999998</c:v>
                </c:pt>
                <c:pt idx="49">
                  <c:v>2.3571</c:v>
                </c:pt>
                <c:pt idx="50">
                  <c:v>2.2686999999999999</c:v>
                </c:pt>
                <c:pt idx="51">
                  <c:v>2.3505999999999987</c:v>
                </c:pt>
                <c:pt idx="52">
                  <c:v>2.3516999999999979</c:v>
                </c:pt>
                <c:pt idx="53">
                  <c:v>2.3101999999999987</c:v>
                </c:pt>
                <c:pt idx="54">
                  <c:v>2.3968999999999978</c:v>
                </c:pt>
                <c:pt idx="55">
                  <c:v>2.4766999999999979</c:v>
                </c:pt>
                <c:pt idx="56">
                  <c:v>2.5115999999999987</c:v>
                </c:pt>
                <c:pt idx="57">
                  <c:v>2.4247000000000001</c:v>
                </c:pt>
                <c:pt idx="58">
                  <c:v>2.3651999999999997</c:v>
                </c:pt>
                <c:pt idx="59">
                  <c:v>2.356799999999998</c:v>
                </c:pt>
                <c:pt idx="60">
                  <c:v>2.4091</c:v>
                </c:pt>
                <c:pt idx="61">
                  <c:v>2.3671000000000002</c:v>
                </c:pt>
                <c:pt idx="62">
                  <c:v>2.2847000000000017</c:v>
                </c:pt>
                <c:pt idx="63">
                  <c:v>2.4051999999999998</c:v>
                </c:pt>
                <c:pt idx="64">
                  <c:v>2.4313999999999987</c:v>
                </c:pt>
                <c:pt idx="65">
                  <c:v>2.4687999999999999</c:v>
                </c:pt>
                <c:pt idx="66">
                  <c:v>2.5447000000000002</c:v>
                </c:pt>
                <c:pt idx="67">
                  <c:v>2.5880999999999998</c:v>
                </c:pt>
                <c:pt idx="68">
                  <c:v>2.6132</c:v>
                </c:pt>
              </c:numCache>
            </c:numRef>
          </c:val>
          <c:smooth val="0"/>
        </c:ser>
        <c:dLbls>
          <c:showLegendKey val="0"/>
          <c:showVal val="0"/>
          <c:showCatName val="0"/>
          <c:showSerName val="0"/>
          <c:showPercent val="0"/>
          <c:showBubbleSize val="0"/>
        </c:dLbls>
        <c:marker val="1"/>
        <c:smooth val="0"/>
        <c:axId val="50269568"/>
        <c:axId val="50283648"/>
      </c:lineChart>
      <c:dateAx>
        <c:axId val="50269568"/>
        <c:scaling>
          <c:orientation val="minMax"/>
        </c:scaling>
        <c:delete val="0"/>
        <c:axPos val="b"/>
        <c:numFmt formatCode="mmm\.\ yyyy" sourceLinked="1"/>
        <c:majorTickMark val="out"/>
        <c:minorTickMark val="none"/>
        <c:tickLblPos val="nextTo"/>
        <c:crossAx val="50283648"/>
        <c:crosses val="autoZero"/>
        <c:auto val="1"/>
        <c:lblOffset val="100"/>
        <c:baseTimeUnit val="months"/>
      </c:dateAx>
      <c:valAx>
        <c:axId val="50283648"/>
        <c:scaling>
          <c:orientation val="minMax"/>
        </c:scaling>
        <c:delete val="0"/>
        <c:axPos val="l"/>
        <c:majorGridlines/>
        <c:numFmt formatCode="#,##0.0000" sourceLinked="1"/>
        <c:majorTickMark val="out"/>
        <c:minorTickMark val="none"/>
        <c:tickLblPos val="nextTo"/>
        <c:crossAx val="50269568"/>
        <c:crosses val="autoZero"/>
        <c:crossBetween val="between"/>
      </c:valAx>
    </c:plotArea>
    <c:legend>
      <c:legendPos val="r"/>
      <c:layout>
        <c:manualLayout>
          <c:xMode val="edge"/>
          <c:yMode val="edge"/>
          <c:x val="0.34905555555555556"/>
          <c:y val="0.4201447214931468"/>
          <c:w val="0.47316666666666707"/>
          <c:h val="0.27545129775444793"/>
        </c:manualLayout>
      </c:layout>
      <c:overlay val="0"/>
      <c:txPr>
        <a:bodyPr/>
        <a:lstStyle/>
        <a:p>
          <a:pPr>
            <a:defRPr sz="1200" b="1"/>
          </a:pPr>
          <a:endParaRPr lang="it-IT"/>
        </a:p>
      </c:txPr>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9AF2D23-104B-414E-8F9A-C9C99164ED1F}"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it-IT"/>
        </a:p>
      </dgm:t>
    </dgm:pt>
    <dgm:pt modelId="{86E03F4F-2DAC-40B4-A5D1-C13462936E58}">
      <dgm:prSet phldrT="[Testo]" custT="1"/>
      <dgm:spPr>
        <a:xfrm>
          <a:off x="962031" y="4447819"/>
          <a:ext cx="1448340" cy="1254747"/>
        </a:xfrm>
        <a:prstGeom prst="rect">
          <a:avLst/>
        </a:prstGeom>
        <a:noFill/>
        <a:ln>
          <a:noFill/>
        </a:ln>
        <a:effectLst/>
      </dgm:spPr>
      <dgm:t>
        <a:bodyPr/>
        <a:lstStyle/>
        <a:p>
          <a:pPr>
            <a:lnSpc>
              <a:spcPct val="100000"/>
            </a:lnSpc>
            <a:spcAft>
              <a:spcPts val="600"/>
            </a:spcAft>
          </a:pPr>
          <a:r>
            <a:rPr lang="it-IT" sz="1600" b="1" dirty="0" err="1" smtClean="0">
              <a:solidFill>
                <a:srgbClr val="002060"/>
              </a:solidFill>
              <a:latin typeface="Calibri"/>
              <a:ea typeface="+mn-ea"/>
              <a:cs typeface="+mn-cs"/>
            </a:rPr>
            <a:t>Scouting</a:t>
          </a:r>
          <a:endParaRPr lang="it-IT" sz="1600" b="1" dirty="0" smtClean="0">
            <a:solidFill>
              <a:srgbClr val="002060"/>
            </a:solidFill>
            <a:latin typeface="Calibri"/>
            <a:ea typeface="+mn-ea"/>
            <a:cs typeface="+mn-cs"/>
          </a:endParaRPr>
        </a:p>
        <a:p>
          <a:pPr>
            <a:lnSpc>
              <a:spcPct val="100000"/>
            </a:lnSpc>
            <a:spcAft>
              <a:spcPts val="600"/>
            </a:spcAft>
          </a:pPr>
          <a:r>
            <a:rPr lang="it-IT" sz="1600" b="1" dirty="0" smtClean="0">
              <a:solidFill>
                <a:srgbClr val="002060"/>
              </a:solidFill>
              <a:latin typeface="Calibri"/>
              <a:ea typeface="+mn-ea"/>
              <a:cs typeface="+mn-cs"/>
            </a:rPr>
            <a:t>Penetrazione</a:t>
          </a:r>
        </a:p>
        <a:p>
          <a:pPr>
            <a:lnSpc>
              <a:spcPct val="100000"/>
            </a:lnSpc>
            <a:spcAft>
              <a:spcPts val="600"/>
            </a:spcAft>
          </a:pPr>
          <a:r>
            <a:rPr lang="it-IT" sz="1600" b="1" dirty="0" smtClean="0">
              <a:solidFill>
                <a:srgbClr val="002060"/>
              </a:solidFill>
              <a:latin typeface="Calibri"/>
              <a:ea typeface="+mn-ea"/>
              <a:cs typeface="+mn-cs"/>
            </a:rPr>
            <a:t>Commerciale</a:t>
          </a:r>
          <a:endParaRPr lang="it-IT" sz="1600" b="1" dirty="0">
            <a:solidFill>
              <a:srgbClr val="002060"/>
            </a:solidFill>
            <a:latin typeface="Calibri"/>
            <a:ea typeface="+mn-ea"/>
            <a:cs typeface="+mn-cs"/>
          </a:endParaRPr>
        </a:p>
      </dgm:t>
    </dgm:pt>
    <dgm:pt modelId="{64F4FF10-64ED-4E09-BAD9-FD1CE32CD2F8}" type="parTrans" cxnId="{F368CA97-CB0B-4812-95C9-4F6774862323}">
      <dgm:prSet/>
      <dgm:spPr/>
      <dgm:t>
        <a:bodyPr/>
        <a:lstStyle/>
        <a:p>
          <a:endParaRPr lang="it-IT"/>
        </a:p>
      </dgm:t>
    </dgm:pt>
    <dgm:pt modelId="{984EEECB-113A-4CC8-8C17-FB0EE75F9069}" type="sibTrans" cxnId="{F368CA97-CB0B-4812-95C9-4F6774862323}">
      <dgm:prSet/>
      <dgm:spPr/>
      <dgm:t>
        <a:bodyPr/>
        <a:lstStyle/>
        <a:p>
          <a:endParaRPr lang="it-IT"/>
        </a:p>
      </dgm:t>
    </dgm:pt>
    <dgm:pt modelId="{1FB5476A-7D8C-4360-A9A8-4A2F8877815A}">
      <dgm:prSet phldrT="[Testo]" custT="1"/>
      <dgm:spPr>
        <a:xfrm>
          <a:off x="1945421" y="3551651"/>
          <a:ext cx="1695556" cy="2208988"/>
        </a:xfrm>
        <a:prstGeom prst="rect">
          <a:avLst/>
        </a:prstGeom>
        <a:noFill/>
        <a:ln>
          <a:noFill/>
        </a:ln>
        <a:effectLst/>
      </dgm:spPr>
      <dgm:t>
        <a:bodyPr/>
        <a:lstStyle/>
        <a:p>
          <a:pPr>
            <a:spcAft>
              <a:spcPts val="600"/>
            </a:spcAft>
          </a:pPr>
          <a:r>
            <a:rPr lang="it-IT" sz="1600" b="1" dirty="0" smtClean="0">
              <a:solidFill>
                <a:srgbClr val="002060"/>
              </a:solidFill>
              <a:latin typeface="Calibri"/>
              <a:ea typeface="+mn-ea"/>
              <a:cs typeface="+mn-cs"/>
            </a:rPr>
            <a:t>Assistenza</a:t>
          </a:r>
        </a:p>
        <a:p>
          <a:pPr>
            <a:spcAft>
              <a:spcPts val="600"/>
            </a:spcAft>
          </a:pPr>
          <a:r>
            <a:rPr lang="it-IT" sz="1600" b="1" dirty="0" smtClean="0">
              <a:solidFill>
                <a:srgbClr val="002060"/>
              </a:solidFill>
              <a:latin typeface="Calibri"/>
              <a:ea typeface="+mn-ea"/>
              <a:cs typeface="+mn-cs"/>
            </a:rPr>
            <a:t>Operatività</a:t>
          </a:r>
        </a:p>
        <a:p>
          <a:pPr>
            <a:spcAft>
              <a:spcPts val="600"/>
            </a:spcAft>
          </a:pPr>
          <a:r>
            <a:rPr lang="it-IT" sz="1600" b="1" dirty="0" smtClean="0">
              <a:solidFill>
                <a:srgbClr val="002060"/>
              </a:solidFill>
              <a:latin typeface="Calibri"/>
              <a:ea typeface="+mn-ea"/>
              <a:cs typeface="+mn-cs"/>
            </a:rPr>
            <a:t>Commerciale</a:t>
          </a:r>
          <a:endParaRPr lang="it-IT" sz="1600" b="1" dirty="0">
            <a:solidFill>
              <a:srgbClr val="002060"/>
            </a:solidFill>
            <a:latin typeface="Calibri"/>
            <a:ea typeface="+mn-ea"/>
            <a:cs typeface="+mn-cs"/>
          </a:endParaRPr>
        </a:p>
      </dgm:t>
    </dgm:pt>
    <dgm:pt modelId="{609B01C2-D643-423F-8FC2-31904747DE7D}" type="parTrans" cxnId="{0E33C0BD-9881-46FB-8467-17DB1EBF25B5}">
      <dgm:prSet/>
      <dgm:spPr/>
      <dgm:t>
        <a:bodyPr/>
        <a:lstStyle/>
        <a:p>
          <a:endParaRPr lang="it-IT"/>
        </a:p>
      </dgm:t>
    </dgm:pt>
    <dgm:pt modelId="{DBB24BF4-D731-4778-8DCF-D798948E718D}" type="sibTrans" cxnId="{0E33C0BD-9881-46FB-8467-17DB1EBF25B5}">
      <dgm:prSet/>
      <dgm:spPr/>
      <dgm:t>
        <a:bodyPr/>
        <a:lstStyle/>
        <a:p>
          <a:endParaRPr lang="it-IT"/>
        </a:p>
      </dgm:t>
    </dgm:pt>
    <dgm:pt modelId="{CD5CADAC-2259-496F-901D-AB56857D9BA9}">
      <dgm:prSet phldrT="[Testo]" custT="1"/>
      <dgm:spPr>
        <a:xfrm>
          <a:off x="3275502" y="2765936"/>
          <a:ext cx="1628009" cy="2962892"/>
        </a:xfrm>
        <a:prstGeom prst="rect">
          <a:avLst/>
        </a:prstGeom>
        <a:noFill/>
        <a:ln>
          <a:noFill/>
        </a:ln>
        <a:effectLst/>
      </dgm:spPr>
      <dgm:t>
        <a:bodyPr/>
        <a:lstStyle/>
        <a:p>
          <a:r>
            <a:rPr lang="it-IT" sz="1700" b="1" dirty="0" smtClean="0">
              <a:solidFill>
                <a:srgbClr val="002060"/>
              </a:solidFill>
              <a:latin typeface="Calibri"/>
              <a:ea typeface="+mn-ea"/>
              <a:cs typeface="+mn-cs"/>
            </a:rPr>
            <a:t>Pianificazione</a:t>
          </a:r>
        </a:p>
        <a:p>
          <a:r>
            <a:rPr lang="it-IT" sz="1700" b="1" dirty="0" smtClean="0">
              <a:solidFill>
                <a:srgbClr val="002060"/>
              </a:solidFill>
              <a:latin typeface="Calibri"/>
              <a:ea typeface="+mn-ea"/>
              <a:cs typeface="+mn-cs"/>
            </a:rPr>
            <a:t>Investimento</a:t>
          </a:r>
        </a:p>
        <a:p>
          <a:r>
            <a:rPr lang="it-IT" sz="1700" b="1" dirty="0" smtClean="0">
              <a:solidFill>
                <a:srgbClr val="002060"/>
              </a:solidFill>
              <a:latin typeface="Calibri"/>
              <a:ea typeface="+mn-ea"/>
              <a:cs typeface="+mn-cs"/>
            </a:rPr>
            <a:t>Estero</a:t>
          </a:r>
          <a:endParaRPr lang="it-IT" sz="1700" b="1" dirty="0">
            <a:solidFill>
              <a:srgbClr val="002060"/>
            </a:solidFill>
            <a:latin typeface="Calibri"/>
            <a:ea typeface="+mn-ea"/>
            <a:cs typeface="+mn-cs"/>
          </a:endParaRPr>
        </a:p>
      </dgm:t>
    </dgm:pt>
    <dgm:pt modelId="{1BBAFD03-9F49-4CA0-A86D-25C3EDF983F0}" type="parTrans" cxnId="{D8A01818-5608-4522-B64F-D470DEBD48DF}">
      <dgm:prSet/>
      <dgm:spPr/>
      <dgm:t>
        <a:bodyPr/>
        <a:lstStyle/>
        <a:p>
          <a:endParaRPr lang="it-IT"/>
        </a:p>
      </dgm:t>
    </dgm:pt>
    <dgm:pt modelId="{6232288A-EDA8-403F-A881-18BBD9283FF8}" type="sibTrans" cxnId="{D8A01818-5608-4522-B64F-D470DEBD48DF}">
      <dgm:prSet/>
      <dgm:spPr/>
      <dgm:t>
        <a:bodyPr/>
        <a:lstStyle/>
        <a:p>
          <a:endParaRPr lang="it-IT"/>
        </a:p>
      </dgm:t>
    </dgm:pt>
    <dgm:pt modelId="{B320976E-7D61-4BAB-AFF0-A1D9E8763823}">
      <dgm:prSet custT="1"/>
      <dgm:spPr>
        <a:xfrm>
          <a:off x="4860070" y="2094905"/>
          <a:ext cx="1687056" cy="3532273"/>
        </a:xfrm>
        <a:prstGeom prst="rect">
          <a:avLst/>
        </a:prstGeom>
        <a:noFill/>
        <a:ln>
          <a:noFill/>
        </a:ln>
        <a:effectLst/>
      </dgm:spPr>
      <dgm:t>
        <a:bodyPr/>
        <a:lstStyle/>
        <a:p>
          <a:r>
            <a:rPr lang="it-IT" sz="1800" b="1" dirty="0" smtClean="0">
              <a:solidFill>
                <a:srgbClr val="002060"/>
              </a:solidFill>
              <a:latin typeface="Calibri"/>
              <a:ea typeface="+mn-ea"/>
              <a:cs typeface="+mn-cs"/>
            </a:rPr>
            <a:t>Realizzazione</a:t>
          </a:r>
        </a:p>
        <a:p>
          <a:r>
            <a:rPr lang="it-IT" sz="1800" b="1" dirty="0" smtClean="0">
              <a:solidFill>
                <a:srgbClr val="002060"/>
              </a:solidFill>
              <a:latin typeface="Calibri"/>
              <a:ea typeface="+mn-ea"/>
              <a:cs typeface="+mn-cs"/>
            </a:rPr>
            <a:t>Investimento </a:t>
          </a:r>
        </a:p>
        <a:p>
          <a:r>
            <a:rPr lang="it-IT" sz="1800" b="1" dirty="0" smtClean="0">
              <a:solidFill>
                <a:srgbClr val="002060"/>
              </a:solidFill>
              <a:latin typeface="Calibri"/>
              <a:ea typeface="+mn-ea"/>
              <a:cs typeface="+mn-cs"/>
            </a:rPr>
            <a:t>Estero</a:t>
          </a:r>
          <a:endParaRPr lang="it-IT" sz="1800" b="1" dirty="0">
            <a:solidFill>
              <a:srgbClr val="002060"/>
            </a:solidFill>
            <a:latin typeface="Calibri"/>
            <a:ea typeface="+mn-ea"/>
            <a:cs typeface="+mn-cs"/>
          </a:endParaRPr>
        </a:p>
      </dgm:t>
    </dgm:pt>
    <dgm:pt modelId="{A3FADB91-0B96-486D-A344-9825198CFD20}" type="parTrans" cxnId="{A1C95B9B-8423-4B0E-A1B2-934B00F763D4}">
      <dgm:prSet/>
      <dgm:spPr/>
      <dgm:t>
        <a:bodyPr/>
        <a:lstStyle/>
        <a:p>
          <a:endParaRPr lang="it-IT"/>
        </a:p>
      </dgm:t>
    </dgm:pt>
    <dgm:pt modelId="{6070AF35-1B20-4AA5-964D-2437DFC46AFE}" type="sibTrans" cxnId="{A1C95B9B-8423-4B0E-A1B2-934B00F763D4}">
      <dgm:prSet/>
      <dgm:spPr/>
      <dgm:t>
        <a:bodyPr/>
        <a:lstStyle/>
        <a:p>
          <a:endParaRPr lang="it-IT"/>
        </a:p>
      </dgm:t>
    </dgm:pt>
    <dgm:pt modelId="{5BED8D06-37B0-4C4E-A079-DEFBAE959268}">
      <dgm:prSet custT="1"/>
      <dgm:spPr>
        <a:xfrm>
          <a:off x="6735739" y="1612282"/>
          <a:ext cx="1687056" cy="3971414"/>
        </a:xfrm>
        <a:prstGeom prst="rect">
          <a:avLst/>
        </a:prstGeom>
        <a:noFill/>
        <a:ln>
          <a:noFill/>
        </a:ln>
        <a:effectLst/>
      </dgm:spPr>
      <dgm:t>
        <a:bodyPr/>
        <a:lstStyle/>
        <a:p>
          <a:r>
            <a:rPr lang="it-IT" sz="1900" b="1" dirty="0" smtClean="0">
              <a:solidFill>
                <a:srgbClr val="002060"/>
              </a:solidFill>
              <a:latin typeface="Calibri"/>
              <a:ea typeface="+mn-ea"/>
              <a:cs typeface="+mn-cs"/>
            </a:rPr>
            <a:t>Gestione</a:t>
          </a:r>
        </a:p>
        <a:p>
          <a:r>
            <a:rPr lang="it-IT" sz="1900" b="1" dirty="0" smtClean="0">
              <a:solidFill>
                <a:srgbClr val="002060"/>
              </a:solidFill>
              <a:latin typeface="Calibri"/>
              <a:ea typeface="+mn-ea"/>
              <a:cs typeface="+mn-cs"/>
            </a:rPr>
            <a:t>Consociate</a:t>
          </a:r>
        </a:p>
        <a:p>
          <a:r>
            <a:rPr lang="it-IT" sz="1900" b="1" dirty="0" smtClean="0">
              <a:solidFill>
                <a:srgbClr val="002060"/>
              </a:solidFill>
              <a:latin typeface="Calibri"/>
              <a:ea typeface="+mn-ea"/>
              <a:cs typeface="+mn-cs"/>
            </a:rPr>
            <a:t>Estere</a:t>
          </a:r>
          <a:endParaRPr lang="it-IT" sz="1900" b="1" dirty="0">
            <a:solidFill>
              <a:srgbClr val="002060"/>
            </a:solidFill>
            <a:latin typeface="Calibri"/>
            <a:ea typeface="+mn-ea"/>
            <a:cs typeface="+mn-cs"/>
          </a:endParaRPr>
        </a:p>
      </dgm:t>
    </dgm:pt>
    <dgm:pt modelId="{088D8A4A-ADE7-49FE-A805-451CA64CC968}" type="parTrans" cxnId="{F7E28215-A4AE-40E9-A1BE-B1C82C02B04C}">
      <dgm:prSet/>
      <dgm:spPr/>
      <dgm:t>
        <a:bodyPr/>
        <a:lstStyle/>
        <a:p>
          <a:endParaRPr lang="it-IT"/>
        </a:p>
      </dgm:t>
    </dgm:pt>
    <dgm:pt modelId="{FB0E97AA-22ED-4AB4-B60E-F939A8F0056A}" type="sibTrans" cxnId="{F7E28215-A4AE-40E9-A1BE-B1C82C02B04C}">
      <dgm:prSet/>
      <dgm:spPr/>
      <dgm:t>
        <a:bodyPr/>
        <a:lstStyle/>
        <a:p>
          <a:endParaRPr lang="it-IT"/>
        </a:p>
      </dgm:t>
    </dgm:pt>
    <dgm:pt modelId="{085D628D-5FB9-4C25-8EBE-0AC79D716DB2}" type="pres">
      <dgm:prSet presAssocID="{49AF2D23-104B-414E-8F9A-C9C99164ED1F}" presName="arrowDiagram" presStyleCnt="0">
        <dgm:presLayoutVars>
          <dgm:chMax val="5"/>
          <dgm:dir/>
          <dgm:resizeHandles val="exact"/>
        </dgm:presLayoutVars>
      </dgm:prSet>
      <dgm:spPr/>
      <dgm:t>
        <a:bodyPr/>
        <a:lstStyle/>
        <a:p>
          <a:endParaRPr lang="it-IT"/>
        </a:p>
      </dgm:t>
    </dgm:pt>
    <dgm:pt modelId="{890E890D-EF35-4ACE-8A27-45004C718FC2}" type="pres">
      <dgm:prSet presAssocID="{49AF2D23-104B-414E-8F9A-C9C99164ED1F}" presName="arrow" presStyleLbl="bgShp" presStyleIdx="0" presStyleCnt="1" custScaleX="112173" custScaleY="100000" custLinFactNeighborY="10175"/>
      <dgm:spPr>
        <a:xfrm>
          <a:off x="0" y="400546"/>
          <a:ext cx="8435280" cy="5360093"/>
        </a:xfrm>
        <a:prstGeom prst="swooshArrow">
          <a:avLst>
            <a:gd name="adj1" fmla="val 25000"/>
            <a:gd name="adj2" fmla="val 25000"/>
          </a:avLst>
        </a:prstGeom>
        <a:solidFill>
          <a:srgbClr val="4F81BD">
            <a:tint val="40000"/>
            <a:hueOff val="0"/>
            <a:satOff val="0"/>
            <a:lumOff val="0"/>
            <a:alphaOff val="0"/>
          </a:srgbClr>
        </a:solidFill>
        <a:ln>
          <a:noFill/>
        </a:ln>
        <a:effectLst/>
      </dgm:spPr>
      <dgm:t>
        <a:bodyPr/>
        <a:lstStyle/>
        <a:p>
          <a:endParaRPr lang="it-IT"/>
        </a:p>
      </dgm:t>
    </dgm:pt>
    <dgm:pt modelId="{6517A3C3-43DD-44F2-B33F-74ED383AF85B}" type="pres">
      <dgm:prSet presAssocID="{49AF2D23-104B-414E-8F9A-C9C99164ED1F}" presName="arrowDiagram5" presStyleCnt="0"/>
      <dgm:spPr/>
    </dgm:pt>
    <dgm:pt modelId="{B2CB4980-B56C-43CA-88CB-9499C9302CBB}" type="pres">
      <dgm:prSet presAssocID="{86E03F4F-2DAC-40B4-A5D1-C13462936E58}" presName="bullet5a" presStyleLbl="node1" presStyleIdx="0" presStyleCnt="5" custScaleX="102312" custScaleY="112921" custLinFactX="-100000" custLinFactNeighborX="-124751" custLinFactNeighborY="32558"/>
      <dgm:spPr>
        <a:xfrm>
          <a:off x="802431" y="4464496"/>
          <a:ext cx="194011" cy="194011"/>
        </a:xfrm>
        <a:prstGeom prst="ellipse">
          <a:avLst/>
        </a:prstGeom>
        <a:solidFill>
          <a:schemeClr val="accent6"/>
        </a:solidFill>
        <a:ln w="25400" cap="flat" cmpd="sng" algn="ctr">
          <a:solidFill>
            <a:schemeClr val="accent3"/>
          </a:solidFill>
          <a:prstDash val="solid"/>
        </a:ln>
        <a:effectLst/>
      </dgm:spPr>
      <dgm:t>
        <a:bodyPr/>
        <a:lstStyle/>
        <a:p>
          <a:endParaRPr lang="it-IT"/>
        </a:p>
      </dgm:t>
    </dgm:pt>
    <dgm:pt modelId="{BE505A82-C7D8-46D1-845F-43B19CF7FF36}" type="pres">
      <dgm:prSet presAssocID="{86E03F4F-2DAC-40B4-A5D1-C13462936E58}" presName="textBox5a" presStyleLbl="revTx" presStyleIdx="0" presStyleCnt="5" custScaleX="131069" custLinFactNeighborX="-15815" custLinFactNeighborY="-5764">
        <dgm:presLayoutVars>
          <dgm:bulletEnabled val="1"/>
        </dgm:presLayoutVars>
      </dgm:prSet>
      <dgm:spPr/>
      <dgm:t>
        <a:bodyPr/>
        <a:lstStyle/>
        <a:p>
          <a:endParaRPr lang="it-IT"/>
        </a:p>
      </dgm:t>
    </dgm:pt>
    <dgm:pt modelId="{A59CEF13-9100-449E-8290-FCEBBB929DD3}" type="pres">
      <dgm:prSet presAssocID="{1FB5476A-7D8C-4360-A9A8-4A2F8877815A}" presName="bullet5b" presStyleLbl="node1" presStyleIdx="1" presStyleCnt="5" custLinFactX="-5404" custLinFactNeighborX="-100000" custLinFactNeighborY="35271"/>
      <dgm:spPr>
        <a:xfrm>
          <a:off x="1724021" y="3499361"/>
          <a:ext cx="303670" cy="303670"/>
        </a:xfrm>
        <a:prstGeom prst="ellipse">
          <a:avLst/>
        </a:prstGeom>
        <a:solidFill>
          <a:schemeClr val="accent6"/>
        </a:solidFill>
        <a:ln w="25400" cap="flat" cmpd="sng" algn="ctr">
          <a:solidFill>
            <a:schemeClr val="accent3"/>
          </a:solidFill>
          <a:prstDash val="solid"/>
        </a:ln>
        <a:effectLst/>
      </dgm:spPr>
      <dgm:t>
        <a:bodyPr/>
        <a:lstStyle/>
        <a:p>
          <a:endParaRPr lang="it-IT"/>
        </a:p>
      </dgm:t>
    </dgm:pt>
    <dgm:pt modelId="{7E13773F-A766-4272-8F32-931BB139B952}" type="pres">
      <dgm:prSet presAssocID="{1FB5476A-7D8C-4360-A9A8-4A2F8877815A}" presName="textBox5b" presStyleLbl="revTx" presStyleIdx="1" presStyleCnt="5" custScaleX="121089" custLinFactNeighborX="-6373" custLinFactNeighborY="-813">
        <dgm:presLayoutVars>
          <dgm:bulletEnabled val="1"/>
        </dgm:presLayoutVars>
      </dgm:prSet>
      <dgm:spPr/>
      <dgm:t>
        <a:bodyPr/>
        <a:lstStyle/>
        <a:p>
          <a:endParaRPr lang="it-IT"/>
        </a:p>
      </dgm:t>
    </dgm:pt>
    <dgm:pt modelId="{55A14287-2A4B-4BAA-BC75-8E525F08A956}" type="pres">
      <dgm:prSet presAssocID="{CD5CADAC-2259-496F-901D-AB56857D9BA9}" presName="bullet5c" presStyleLbl="node1" presStyleIdx="2" presStyleCnt="5" custLinFactNeighborX="-66463" custLinFactNeighborY="35960"/>
      <dgm:spPr>
        <a:xfrm>
          <a:off x="3029549" y="2665438"/>
          <a:ext cx="404893" cy="404893"/>
        </a:xfrm>
        <a:prstGeom prst="ellipse">
          <a:avLst/>
        </a:prstGeom>
        <a:solidFill>
          <a:schemeClr val="accent6"/>
        </a:solidFill>
        <a:ln w="25400" cap="flat" cmpd="sng" algn="ctr">
          <a:solidFill>
            <a:schemeClr val="accent3"/>
          </a:solidFill>
          <a:prstDash val="solid"/>
        </a:ln>
        <a:effectLst/>
      </dgm:spPr>
      <dgm:t>
        <a:bodyPr/>
        <a:lstStyle/>
        <a:p>
          <a:endParaRPr lang="it-IT"/>
        </a:p>
      </dgm:t>
    </dgm:pt>
    <dgm:pt modelId="{C0E45759-5A1A-433B-AB22-1EF458DBB2B5}" type="pres">
      <dgm:prSet presAssocID="{CD5CADAC-2259-496F-901D-AB56857D9BA9}" presName="textBox5c" presStyleLbl="revTx" presStyleIdx="2" presStyleCnt="5" custScaleX="105838" custLinFactNeighborX="-8849" custLinFactNeighborY="-141">
        <dgm:presLayoutVars>
          <dgm:bulletEnabled val="1"/>
        </dgm:presLayoutVars>
      </dgm:prSet>
      <dgm:spPr/>
      <dgm:t>
        <a:bodyPr/>
        <a:lstStyle/>
        <a:p>
          <a:endParaRPr lang="it-IT"/>
        </a:p>
      </dgm:t>
    </dgm:pt>
    <dgm:pt modelId="{F58C6ADA-B085-4ED0-8F24-AFF3CA6EB975}" type="pres">
      <dgm:prSet presAssocID="{B320976E-7D61-4BAB-AFF0-A1D9E8763823}" presName="bullet5d" presStyleLbl="node1" presStyleIdx="3" presStyleCnt="5" custLinFactNeighborX="-46785" custLinFactNeighborY="14136"/>
      <dgm:spPr>
        <a:xfrm>
          <a:off x="4554994" y="1978892"/>
          <a:ext cx="522987" cy="522987"/>
        </a:xfrm>
        <a:prstGeom prst="ellipse">
          <a:avLst/>
        </a:prstGeom>
        <a:solidFill>
          <a:schemeClr val="accent6"/>
        </a:solidFill>
        <a:ln w="25400" cap="flat" cmpd="sng" algn="ctr">
          <a:solidFill>
            <a:schemeClr val="accent3"/>
          </a:solidFill>
          <a:prstDash val="solid"/>
        </a:ln>
        <a:effectLst/>
      </dgm:spPr>
      <dgm:t>
        <a:bodyPr/>
        <a:lstStyle/>
        <a:p>
          <a:endParaRPr lang="it-IT"/>
        </a:p>
      </dgm:t>
    </dgm:pt>
    <dgm:pt modelId="{21CE85FA-2E97-4C71-AF4F-BFEE3368E913}" type="pres">
      <dgm:prSet presAssocID="{B320976E-7D61-4BAB-AFF0-A1D9E8763823}" presName="textBox5d" presStyleLbl="revTx" presStyleIdx="3" presStyleCnt="5" custScaleX="119011" custLinFactNeighborX="-1203" custLinFactNeighborY="-2448">
        <dgm:presLayoutVars>
          <dgm:bulletEnabled val="1"/>
        </dgm:presLayoutVars>
      </dgm:prSet>
      <dgm:spPr/>
      <dgm:t>
        <a:bodyPr/>
        <a:lstStyle/>
        <a:p>
          <a:endParaRPr lang="it-IT"/>
        </a:p>
      </dgm:t>
    </dgm:pt>
    <dgm:pt modelId="{1F96FF14-7480-4C87-A9B1-6617CFF4EEA1}" type="pres">
      <dgm:prSet presAssocID="{5BED8D06-37B0-4C4E-A079-DEFBAE959268}" presName="bullet5e" presStyleLbl="node1" presStyleIdx="4" presStyleCnt="5" custLinFactNeighborX="7768" custLinFactNeighborY="-8505"/>
      <dgm:spPr>
        <a:xfrm>
          <a:off x="6344506" y="1428637"/>
          <a:ext cx="666387" cy="666387"/>
        </a:xfrm>
        <a:prstGeom prst="ellipse">
          <a:avLst/>
        </a:prstGeom>
        <a:solidFill>
          <a:schemeClr val="accent6"/>
        </a:solidFill>
        <a:ln w="25400" cap="flat" cmpd="sng" algn="ctr">
          <a:solidFill>
            <a:schemeClr val="accent3"/>
          </a:solidFill>
          <a:prstDash val="solid"/>
        </a:ln>
        <a:effectLst/>
      </dgm:spPr>
      <dgm:t>
        <a:bodyPr/>
        <a:lstStyle/>
        <a:p>
          <a:endParaRPr lang="it-IT"/>
        </a:p>
      </dgm:t>
    </dgm:pt>
    <dgm:pt modelId="{3DA1A317-86BA-4A56-BF08-EB9FE41A593F}" type="pres">
      <dgm:prSet presAssocID="{5BED8D06-37B0-4C4E-A079-DEFBAE959268}" presName="textBox5e" presStyleLbl="revTx" presStyleIdx="4" presStyleCnt="5" custScaleY="102350" custLinFactNeighborX="5273" custLinFactNeighborY="-5200">
        <dgm:presLayoutVars>
          <dgm:bulletEnabled val="1"/>
        </dgm:presLayoutVars>
      </dgm:prSet>
      <dgm:spPr/>
      <dgm:t>
        <a:bodyPr/>
        <a:lstStyle/>
        <a:p>
          <a:endParaRPr lang="it-IT"/>
        </a:p>
      </dgm:t>
    </dgm:pt>
  </dgm:ptLst>
  <dgm:cxnLst>
    <dgm:cxn modelId="{A1C95B9B-8423-4B0E-A1B2-934B00F763D4}" srcId="{49AF2D23-104B-414E-8F9A-C9C99164ED1F}" destId="{B320976E-7D61-4BAB-AFF0-A1D9E8763823}" srcOrd="3" destOrd="0" parTransId="{A3FADB91-0B96-486D-A344-9825198CFD20}" sibTransId="{6070AF35-1B20-4AA5-964D-2437DFC46AFE}"/>
    <dgm:cxn modelId="{D8A01818-5608-4522-B64F-D470DEBD48DF}" srcId="{49AF2D23-104B-414E-8F9A-C9C99164ED1F}" destId="{CD5CADAC-2259-496F-901D-AB56857D9BA9}" srcOrd="2" destOrd="0" parTransId="{1BBAFD03-9F49-4CA0-A86D-25C3EDF983F0}" sibTransId="{6232288A-EDA8-403F-A881-18BBD9283FF8}"/>
    <dgm:cxn modelId="{4B5156CD-16E8-41CA-930B-E70A365B2D55}" type="presOf" srcId="{86E03F4F-2DAC-40B4-A5D1-C13462936E58}" destId="{BE505A82-C7D8-46D1-845F-43B19CF7FF36}" srcOrd="0" destOrd="0" presId="urn:microsoft.com/office/officeart/2005/8/layout/arrow2"/>
    <dgm:cxn modelId="{4B60D334-8580-46CC-AECE-7546137A638D}" type="presOf" srcId="{B320976E-7D61-4BAB-AFF0-A1D9E8763823}" destId="{21CE85FA-2E97-4C71-AF4F-BFEE3368E913}" srcOrd="0" destOrd="0" presId="urn:microsoft.com/office/officeart/2005/8/layout/arrow2"/>
    <dgm:cxn modelId="{9B14337A-ECB6-43FF-8D05-7839B2191C93}" type="presOf" srcId="{49AF2D23-104B-414E-8F9A-C9C99164ED1F}" destId="{085D628D-5FB9-4C25-8EBE-0AC79D716DB2}" srcOrd="0" destOrd="0" presId="urn:microsoft.com/office/officeart/2005/8/layout/arrow2"/>
    <dgm:cxn modelId="{F7E28215-A4AE-40E9-A1BE-B1C82C02B04C}" srcId="{49AF2D23-104B-414E-8F9A-C9C99164ED1F}" destId="{5BED8D06-37B0-4C4E-A079-DEFBAE959268}" srcOrd="4" destOrd="0" parTransId="{088D8A4A-ADE7-49FE-A805-451CA64CC968}" sibTransId="{FB0E97AA-22ED-4AB4-B60E-F939A8F0056A}"/>
    <dgm:cxn modelId="{09C695CB-BD2D-4147-BAEB-4112DE13B750}" type="presOf" srcId="{5BED8D06-37B0-4C4E-A079-DEFBAE959268}" destId="{3DA1A317-86BA-4A56-BF08-EB9FE41A593F}" srcOrd="0" destOrd="0" presId="urn:microsoft.com/office/officeart/2005/8/layout/arrow2"/>
    <dgm:cxn modelId="{F368CA97-CB0B-4812-95C9-4F6774862323}" srcId="{49AF2D23-104B-414E-8F9A-C9C99164ED1F}" destId="{86E03F4F-2DAC-40B4-A5D1-C13462936E58}" srcOrd="0" destOrd="0" parTransId="{64F4FF10-64ED-4E09-BAD9-FD1CE32CD2F8}" sibTransId="{984EEECB-113A-4CC8-8C17-FB0EE75F9069}"/>
    <dgm:cxn modelId="{0E33C0BD-9881-46FB-8467-17DB1EBF25B5}" srcId="{49AF2D23-104B-414E-8F9A-C9C99164ED1F}" destId="{1FB5476A-7D8C-4360-A9A8-4A2F8877815A}" srcOrd="1" destOrd="0" parTransId="{609B01C2-D643-423F-8FC2-31904747DE7D}" sibTransId="{DBB24BF4-D731-4778-8DCF-D798948E718D}"/>
    <dgm:cxn modelId="{94CD0AF5-C7D8-4BC9-86AD-112D6931E43F}" type="presOf" srcId="{CD5CADAC-2259-496F-901D-AB56857D9BA9}" destId="{C0E45759-5A1A-433B-AB22-1EF458DBB2B5}" srcOrd="0" destOrd="0" presId="urn:microsoft.com/office/officeart/2005/8/layout/arrow2"/>
    <dgm:cxn modelId="{5914029E-8658-46CD-8E61-7F8126D5715D}" type="presOf" srcId="{1FB5476A-7D8C-4360-A9A8-4A2F8877815A}" destId="{7E13773F-A766-4272-8F32-931BB139B952}" srcOrd="0" destOrd="0" presId="urn:microsoft.com/office/officeart/2005/8/layout/arrow2"/>
    <dgm:cxn modelId="{B9489695-C3F8-4DF2-90EF-6763E48EBBB8}" type="presParOf" srcId="{085D628D-5FB9-4C25-8EBE-0AC79D716DB2}" destId="{890E890D-EF35-4ACE-8A27-45004C718FC2}" srcOrd="0" destOrd="0" presId="urn:microsoft.com/office/officeart/2005/8/layout/arrow2"/>
    <dgm:cxn modelId="{767DF59A-778C-4574-88DD-7C1C9C031F1E}" type="presParOf" srcId="{085D628D-5FB9-4C25-8EBE-0AC79D716DB2}" destId="{6517A3C3-43DD-44F2-B33F-74ED383AF85B}" srcOrd="1" destOrd="0" presId="urn:microsoft.com/office/officeart/2005/8/layout/arrow2"/>
    <dgm:cxn modelId="{A96252CA-335D-4816-A310-DBCCFD8C95D6}" type="presParOf" srcId="{6517A3C3-43DD-44F2-B33F-74ED383AF85B}" destId="{B2CB4980-B56C-43CA-88CB-9499C9302CBB}" srcOrd="0" destOrd="0" presId="urn:microsoft.com/office/officeart/2005/8/layout/arrow2"/>
    <dgm:cxn modelId="{276A94CB-61DD-4E84-9FA4-FF6796B32D52}" type="presParOf" srcId="{6517A3C3-43DD-44F2-B33F-74ED383AF85B}" destId="{BE505A82-C7D8-46D1-845F-43B19CF7FF36}" srcOrd="1" destOrd="0" presId="urn:microsoft.com/office/officeart/2005/8/layout/arrow2"/>
    <dgm:cxn modelId="{67528B84-7D3E-46E9-AF52-0FDF1E8D206E}" type="presParOf" srcId="{6517A3C3-43DD-44F2-B33F-74ED383AF85B}" destId="{A59CEF13-9100-449E-8290-FCEBBB929DD3}" srcOrd="2" destOrd="0" presId="urn:microsoft.com/office/officeart/2005/8/layout/arrow2"/>
    <dgm:cxn modelId="{2B149820-6642-4191-8058-AC0E07829284}" type="presParOf" srcId="{6517A3C3-43DD-44F2-B33F-74ED383AF85B}" destId="{7E13773F-A766-4272-8F32-931BB139B952}" srcOrd="3" destOrd="0" presId="urn:microsoft.com/office/officeart/2005/8/layout/arrow2"/>
    <dgm:cxn modelId="{67F5071B-1856-4583-96B2-4A35E4F8EB4E}" type="presParOf" srcId="{6517A3C3-43DD-44F2-B33F-74ED383AF85B}" destId="{55A14287-2A4B-4BAA-BC75-8E525F08A956}" srcOrd="4" destOrd="0" presId="urn:microsoft.com/office/officeart/2005/8/layout/arrow2"/>
    <dgm:cxn modelId="{F0F6E0A3-52DB-471C-84B6-592A107F8E47}" type="presParOf" srcId="{6517A3C3-43DD-44F2-B33F-74ED383AF85B}" destId="{C0E45759-5A1A-433B-AB22-1EF458DBB2B5}" srcOrd="5" destOrd="0" presId="urn:microsoft.com/office/officeart/2005/8/layout/arrow2"/>
    <dgm:cxn modelId="{83D19394-19A8-4D01-91F7-FE6BAA1F8029}" type="presParOf" srcId="{6517A3C3-43DD-44F2-B33F-74ED383AF85B}" destId="{F58C6ADA-B085-4ED0-8F24-AFF3CA6EB975}" srcOrd="6" destOrd="0" presId="urn:microsoft.com/office/officeart/2005/8/layout/arrow2"/>
    <dgm:cxn modelId="{BB78F3FC-F99F-42A2-ACB4-16CC11392298}" type="presParOf" srcId="{6517A3C3-43DD-44F2-B33F-74ED383AF85B}" destId="{21CE85FA-2E97-4C71-AF4F-BFEE3368E913}" srcOrd="7" destOrd="0" presId="urn:microsoft.com/office/officeart/2005/8/layout/arrow2"/>
    <dgm:cxn modelId="{D3485BBF-EF34-44EA-A1D7-76D5004D3BFA}" type="presParOf" srcId="{6517A3C3-43DD-44F2-B33F-74ED383AF85B}" destId="{1F96FF14-7480-4C87-A9B1-6617CFF4EEA1}" srcOrd="8" destOrd="0" presId="urn:microsoft.com/office/officeart/2005/8/layout/arrow2"/>
    <dgm:cxn modelId="{4EE28DA9-0340-4269-8C83-AABC105FEF22}" type="presParOf" srcId="{6517A3C3-43DD-44F2-B33F-74ED383AF85B}" destId="{3DA1A317-86BA-4A56-BF08-EB9FE41A593F}"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0E890D-EF35-4ACE-8A27-45004C718FC2}">
      <dsp:nvSpPr>
        <dsp:cNvPr id="0" name=""/>
        <dsp:cNvSpPr/>
      </dsp:nvSpPr>
      <dsp:spPr>
        <a:xfrm>
          <a:off x="82569" y="0"/>
          <a:ext cx="8270141" cy="4607917"/>
        </a:xfrm>
        <a:prstGeom prst="swooshArrow">
          <a:avLst>
            <a:gd name="adj1" fmla="val 25000"/>
            <a:gd name="adj2" fmla="val 25000"/>
          </a:avLst>
        </a:prstGeom>
        <a:solidFill>
          <a:srgbClr val="4F81BD">
            <a:tint val="40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B2CB4980-B56C-43CA-88CB-9499C9302CBB}">
      <dsp:nvSpPr>
        <dsp:cNvPr id="0" name=""/>
        <dsp:cNvSpPr/>
      </dsp:nvSpPr>
      <dsp:spPr>
        <a:xfrm>
          <a:off x="874440" y="3450776"/>
          <a:ext cx="173491" cy="191481"/>
        </a:xfrm>
        <a:prstGeom prst="ellipse">
          <a:avLst/>
        </a:prstGeom>
        <a:solidFill>
          <a:schemeClr val="accent6"/>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BE505A82-C7D8-46D1-845F-43B19CF7FF36}">
      <dsp:nvSpPr>
        <dsp:cNvPr id="0" name=""/>
        <dsp:cNvSpPr/>
      </dsp:nvSpPr>
      <dsp:spPr>
        <a:xfrm>
          <a:off x="1039520" y="3428095"/>
          <a:ext cx="1265889" cy="1096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9852" tIns="0" rIns="0" bIns="0" numCol="1" spcCol="1270" anchor="t" anchorCtr="0">
          <a:noAutofit/>
        </a:bodyPr>
        <a:lstStyle/>
        <a:p>
          <a:pPr lvl="0" algn="l" defTabSz="711200">
            <a:lnSpc>
              <a:spcPct val="100000"/>
            </a:lnSpc>
            <a:spcBef>
              <a:spcPct val="0"/>
            </a:spcBef>
            <a:spcAft>
              <a:spcPts val="600"/>
            </a:spcAft>
          </a:pPr>
          <a:r>
            <a:rPr lang="it-IT" sz="1600" b="1" kern="1200" dirty="0" err="1" smtClean="0">
              <a:solidFill>
                <a:srgbClr val="002060"/>
              </a:solidFill>
              <a:latin typeface="Calibri"/>
              <a:ea typeface="+mn-ea"/>
              <a:cs typeface="+mn-cs"/>
            </a:rPr>
            <a:t>Scouting</a:t>
          </a:r>
          <a:endParaRPr lang="it-IT" sz="1600" b="1" kern="1200" dirty="0" smtClean="0">
            <a:solidFill>
              <a:srgbClr val="002060"/>
            </a:solidFill>
            <a:latin typeface="Calibri"/>
            <a:ea typeface="+mn-ea"/>
            <a:cs typeface="+mn-cs"/>
          </a:endParaRPr>
        </a:p>
        <a:p>
          <a:pPr lvl="0" algn="l" defTabSz="711200">
            <a:lnSpc>
              <a:spcPct val="100000"/>
            </a:lnSpc>
            <a:spcBef>
              <a:spcPct val="0"/>
            </a:spcBef>
            <a:spcAft>
              <a:spcPts val="600"/>
            </a:spcAft>
          </a:pPr>
          <a:r>
            <a:rPr lang="it-IT" sz="1600" b="1" kern="1200" dirty="0" smtClean="0">
              <a:solidFill>
                <a:srgbClr val="002060"/>
              </a:solidFill>
              <a:latin typeface="Calibri"/>
              <a:ea typeface="+mn-ea"/>
              <a:cs typeface="+mn-cs"/>
            </a:rPr>
            <a:t>Penetrazione</a:t>
          </a:r>
        </a:p>
        <a:p>
          <a:pPr lvl="0" algn="l" defTabSz="711200">
            <a:lnSpc>
              <a:spcPct val="100000"/>
            </a:lnSpc>
            <a:spcBef>
              <a:spcPct val="0"/>
            </a:spcBef>
            <a:spcAft>
              <a:spcPts val="600"/>
            </a:spcAft>
          </a:pPr>
          <a:r>
            <a:rPr lang="it-IT" sz="1600" b="1" kern="1200" dirty="0" smtClean="0">
              <a:solidFill>
                <a:srgbClr val="002060"/>
              </a:solidFill>
              <a:latin typeface="Calibri"/>
              <a:ea typeface="+mn-ea"/>
              <a:cs typeface="+mn-cs"/>
            </a:rPr>
            <a:t>Commerciale</a:t>
          </a:r>
          <a:endParaRPr lang="it-IT" sz="1600" b="1" kern="1200" dirty="0">
            <a:solidFill>
              <a:srgbClr val="002060"/>
            </a:solidFill>
            <a:latin typeface="Calibri"/>
            <a:ea typeface="+mn-ea"/>
            <a:cs typeface="+mn-cs"/>
          </a:endParaRPr>
        </a:p>
      </dsp:txBody>
      <dsp:txXfrm>
        <a:off x="1039520" y="3428095"/>
        <a:ext cx="1265889" cy="1096684"/>
      </dsp:txXfrm>
    </dsp:sp>
    <dsp:sp modelId="{A59CEF13-9100-449E-8290-FCEBBB929DD3}">
      <dsp:nvSpPr>
        <dsp:cNvPr id="0" name=""/>
        <dsp:cNvSpPr/>
      </dsp:nvSpPr>
      <dsp:spPr>
        <a:xfrm>
          <a:off x="1895652" y="2618182"/>
          <a:ext cx="265416" cy="265416"/>
        </a:xfrm>
        <a:prstGeom prst="ellipse">
          <a:avLst/>
        </a:prstGeom>
        <a:solidFill>
          <a:schemeClr val="accent6"/>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7E13773F-A766-4272-8F32-931BB139B952}">
      <dsp:nvSpPr>
        <dsp:cNvPr id="0" name=""/>
        <dsp:cNvSpPr/>
      </dsp:nvSpPr>
      <dsp:spPr>
        <a:xfrm>
          <a:off x="2101072" y="2641578"/>
          <a:ext cx="1481963" cy="19307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638" tIns="0" rIns="0" bIns="0" numCol="1" spcCol="1270" anchor="t" anchorCtr="0">
          <a:noAutofit/>
        </a:bodyPr>
        <a:lstStyle/>
        <a:p>
          <a:pPr lvl="0" algn="l" defTabSz="711200">
            <a:lnSpc>
              <a:spcPct val="90000"/>
            </a:lnSpc>
            <a:spcBef>
              <a:spcPct val="0"/>
            </a:spcBef>
            <a:spcAft>
              <a:spcPts val="600"/>
            </a:spcAft>
          </a:pPr>
          <a:r>
            <a:rPr lang="it-IT" sz="1600" b="1" kern="1200" dirty="0" smtClean="0">
              <a:solidFill>
                <a:srgbClr val="002060"/>
              </a:solidFill>
              <a:latin typeface="Calibri"/>
              <a:ea typeface="+mn-ea"/>
              <a:cs typeface="+mn-cs"/>
            </a:rPr>
            <a:t>Assistenza</a:t>
          </a:r>
        </a:p>
        <a:p>
          <a:pPr lvl="0" algn="l" defTabSz="711200">
            <a:lnSpc>
              <a:spcPct val="90000"/>
            </a:lnSpc>
            <a:spcBef>
              <a:spcPct val="0"/>
            </a:spcBef>
            <a:spcAft>
              <a:spcPts val="600"/>
            </a:spcAft>
          </a:pPr>
          <a:r>
            <a:rPr lang="it-IT" sz="1600" b="1" kern="1200" dirty="0" smtClean="0">
              <a:solidFill>
                <a:srgbClr val="002060"/>
              </a:solidFill>
              <a:latin typeface="Calibri"/>
              <a:ea typeface="+mn-ea"/>
              <a:cs typeface="+mn-cs"/>
            </a:rPr>
            <a:t>Operatività</a:t>
          </a:r>
        </a:p>
        <a:p>
          <a:pPr lvl="0" algn="l" defTabSz="711200">
            <a:lnSpc>
              <a:spcPct val="90000"/>
            </a:lnSpc>
            <a:spcBef>
              <a:spcPct val="0"/>
            </a:spcBef>
            <a:spcAft>
              <a:spcPts val="600"/>
            </a:spcAft>
          </a:pPr>
          <a:r>
            <a:rPr lang="it-IT" sz="1600" b="1" kern="1200" dirty="0" smtClean="0">
              <a:solidFill>
                <a:srgbClr val="002060"/>
              </a:solidFill>
              <a:latin typeface="Calibri"/>
              <a:ea typeface="+mn-ea"/>
              <a:cs typeface="+mn-cs"/>
            </a:rPr>
            <a:t>Commerciale</a:t>
          </a:r>
          <a:endParaRPr lang="it-IT" sz="1600" b="1" kern="1200" dirty="0">
            <a:solidFill>
              <a:srgbClr val="002060"/>
            </a:solidFill>
            <a:latin typeface="Calibri"/>
            <a:ea typeface="+mn-ea"/>
            <a:cs typeface="+mn-cs"/>
          </a:endParaRPr>
        </a:p>
      </dsp:txBody>
      <dsp:txXfrm>
        <a:off x="2101072" y="2641578"/>
        <a:ext cx="1481963" cy="1930717"/>
      </dsp:txXfrm>
    </dsp:sp>
    <dsp:sp modelId="{55A14287-2A4B-4BAA-BC75-8E525F08A956}">
      <dsp:nvSpPr>
        <dsp:cNvPr id="0" name=""/>
        <dsp:cNvSpPr/>
      </dsp:nvSpPr>
      <dsp:spPr>
        <a:xfrm>
          <a:off x="3119833" y="1948657"/>
          <a:ext cx="353888" cy="353888"/>
        </a:xfrm>
        <a:prstGeom prst="ellipse">
          <a:avLst/>
        </a:prstGeom>
        <a:solidFill>
          <a:schemeClr val="accent6"/>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C0E45759-5A1A-433B-AB22-1EF458DBB2B5}">
      <dsp:nvSpPr>
        <dsp:cNvPr id="0" name=""/>
        <dsp:cNvSpPr/>
      </dsp:nvSpPr>
      <dsp:spPr>
        <a:xfrm>
          <a:off x="3364532" y="1994691"/>
          <a:ext cx="1505995" cy="2589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87518" tIns="0" rIns="0" bIns="0" numCol="1" spcCol="1270" anchor="t" anchorCtr="0">
          <a:noAutofit/>
        </a:bodyPr>
        <a:lstStyle/>
        <a:p>
          <a:pPr lvl="0" algn="l" defTabSz="755650">
            <a:lnSpc>
              <a:spcPct val="90000"/>
            </a:lnSpc>
            <a:spcBef>
              <a:spcPct val="0"/>
            </a:spcBef>
            <a:spcAft>
              <a:spcPct val="35000"/>
            </a:spcAft>
          </a:pPr>
          <a:r>
            <a:rPr lang="it-IT" sz="1700" b="1" kern="1200" dirty="0" smtClean="0">
              <a:solidFill>
                <a:srgbClr val="002060"/>
              </a:solidFill>
              <a:latin typeface="Calibri"/>
              <a:ea typeface="+mn-ea"/>
              <a:cs typeface="+mn-cs"/>
            </a:rPr>
            <a:t>Pianificazione</a:t>
          </a:r>
        </a:p>
        <a:p>
          <a:pPr lvl="0" algn="l" defTabSz="755650">
            <a:lnSpc>
              <a:spcPct val="90000"/>
            </a:lnSpc>
            <a:spcBef>
              <a:spcPct val="0"/>
            </a:spcBef>
            <a:spcAft>
              <a:spcPct val="35000"/>
            </a:spcAft>
          </a:pPr>
          <a:r>
            <a:rPr lang="it-IT" sz="1700" b="1" kern="1200" dirty="0" smtClean="0">
              <a:solidFill>
                <a:srgbClr val="002060"/>
              </a:solidFill>
              <a:latin typeface="Calibri"/>
              <a:ea typeface="+mn-ea"/>
              <a:cs typeface="+mn-cs"/>
            </a:rPr>
            <a:t>Investimento</a:t>
          </a:r>
        </a:p>
        <a:p>
          <a:pPr lvl="0" algn="l" defTabSz="755650">
            <a:lnSpc>
              <a:spcPct val="90000"/>
            </a:lnSpc>
            <a:spcBef>
              <a:spcPct val="0"/>
            </a:spcBef>
            <a:spcAft>
              <a:spcPct val="35000"/>
            </a:spcAft>
          </a:pPr>
          <a:r>
            <a:rPr lang="it-IT" sz="1700" b="1" kern="1200" dirty="0" smtClean="0">
              <a:solidFill>
                <a:srgbClr val="002060"/>
              </a:solidFill>
              <a:latin typeface="Calibri"/>
              <a:ea typeface="+mn-ea"/>
              <a:cs typeface="+mn-cs"/>
            </a:rPr>
            <a:t>Estero</a:t>
          </a:r>
          <a:endParaRPr lang="it-IT" sz="1700" b="1" kern="1200" dirty="0">
            <a:solidFill>
              <a:srgbClr val="002060"/>
            </a:solidFill>
            <a:latin typeface="Calibri"/>
            <a:ea typeface="+mn-ea"/>
            <a:cs typeface="+mn-cs"/>
          </a:endParaRPr>
        </a:p>
      </dsp:txBody>
      <dsp:txXfrm>
        <a:off x="3364532" y="1994691"/>
        <a:ext cx="1505995" cy="2589649"/>
      </dsp:txXfrm>
    </dsp:sp>
    <dsp:sp modelId="{F58C6ADA-B085-4ED0-8F24-AFF3CA6EB975}">
      <dsp:nvSpPr>
        <dsp:cNvPr id="0" name=""/>
        <dsp:cNvSpPr/>
      </dsp:nvSpPr>
      <dsp:spPr>
        <a:xfrm>
          <a:off x="4512497" y="1336751"/>
          <a:ext cx="457105" cy="457105"/>
        </a:xfrm>
        <a:prstGeom prst="ellipse">
          <a:avLst/>
        </a:prstGeom>
        <a:solidFill>
          <a:schemeClr val="accent6"/>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21CE85FA-2E97-4C71-AF4F-BFEE3368E913}">
      <dsp:nvSpPr>
        <dsp:cNvPr id="0" name=""/>
        <dsp:cNvSpPr/>
      </dsp:nvSpPr>
      <dsp:spPr>
        <a:xfrm>
          <a:off x="4797006" y="1425110"/>
          <a:ext cx="1754856" cy="3087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2211" tIns="0" rIns="0" bIns="0" numCol="1" spcCol="1270" anchor="t" anchorCtr="0">
          <a:noAutofit/>
        </a:bodyPr>
        <a:lstStyle/>
        <a:p>
          <a:pPr lvl="0" algn="l" defTabSz="800100">
            <a:lnSpc>
              <a:spcPct val="90000"/>
            </a:lnSpc>
            <a:spcBef>
              <a:spcPct val="0"/>
            </a:spcBef>
            <a:spcAft>
              <a:spcPct val="35000"/>
            </a:spcAft>
          </a:pPr>
          <a:r>
            <a:rPr lang="it-IT" sz="1800" b="1" kern="1200" dirty="0" smtClean="0">
              <a:solidFill>
                <a:srgbClr val="002060"/>
              </a:solidFill>
              <a:latin typeface="Calibri"/>
              <a:ea typeface="+mn-ea"/>
              <a:cs typeface="+mn-cs"/>
            </a:rPr>
            <a:t>Realizzazione</a:t>
          </a:r>
        </a:p>
        <a:p>
          <a:pPr lvl="0" algn="l" defTabSz="800100">
            <a:lnSpc>
              <a:spcPct val="90000"/>
            </a:lnSpc>
            <a:spcBef>
              <a:spcPct val="0"/>
            </a:spcBef>
            <a:spcAft>
              <a:spcPct val="35000"/>
            </a:spcAft>
          </a:pPr>
          <a:r>
            <a:rPr lang="it-IT" sz="1800" b="1" kern="1200" dirty="0" smtClean="0">
              <a:solidFill>
                <a:srgbClr val="002060"/>
              </a:solidFill>
              <a:latin typeface="Calibri"/>
              <a:ea typeface="+mn-ea"/>
              <a:cs typeface="+mn-cs"/>
            </a:rPr>
            <a:t>Investimento </a:t>
          </a:r>
        </a:p>
        <a:p>
          <a:pPr lvl="0" algn="l" defTabSz="800100">
            <a:lnSpc>
              <a:spcPct val="90000"/>
            </a:lnSpc>
            <a:spcBef>
              <a:spcPct val="0"/>
            </a:spcBef>
            <a:spcAft>
              <a:spcPct val="35000"/>
            </a:spcAft>
          </a:pPr>
          <a:r>
            <a:rPr lang="it-IT" sz="1800" b="1" kern="1200" dirty="0" smtClean="0">
              <a:solidFill>
                <a:srgbClr val="002060"/>
              </a:solidFill>
              <a:latin typeface="Calibri"/>
              <a:ea typeface="+mn-ea"/>
              <a:cs typeface="+mn-cs"/>
            </a:rPr>
            <a:t>Estero</a:t>
          </a:r>
          <a:endParaRPr lang="it-IT" sz="1800" b="1" kern="1200" dirty="0">
            <a:solidFill>
              <a:srgbClr val="002060"/>
            </a:solidFill>
            <a:latin typeface="Calibri"/>
            <a:ea typeface="+mn-ea"/>
            <a:cs typeface="+mn-cs"/>
          </a:endParaRPr>
        </a:p>
      </dsp:txBody>
      <dsp:txXfrm>
        <a:off x="4797006" y="1425110"/>
        <a:ext cx="1754856" cy="3087304"/>
      </dsp:txXfrm>
    </dsp:sp>
    <dsp:sp modelId="{1F96FF14-7480-4C87-A9B1-6617CFF4EEA1}">
      <dsp:nvSpPr>
        <dsp:cNvPr id="0" name=""/>
        <dsp:cNvSpPr/>
      </dsp:nvSpPr>
      <dsp:spPr>
        <a:xfrm>
          <a:off x="6183463" y="855808"/>
          <a:ext cx="582440" cy="582440"/>
        </a:xfrm>
        <a:prstGeom prst="ellipse">
          <a:avLst/>
        </a:prstGeom>
        <a:solidFill>
          <a:schemeClr val="accent6"/>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3DA1A317-86BA-4A56-BF08-EB9FE41A593F}">
      <dsp:nvSpPr>
        <dsp:cNvPr id="0" name=""/>
        <dsp:cNvSpPr/>
      </dsp:nvSpPr>
      <dsp:spPr>
        <a:xfrm>
          <a:off x="6507192" y="980361"/>
          <a:ext cx="1474533" cy="3471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8623" tIns="0" rIns="0" bIns="0" numCol="1" spcCol="1270" anchor="t" anchorCtr="0">
          <a:noAutofit/>
        </a:bodyPr>
        <a:lstStyle/>
        <a:p>
          <a:pPr lvl="0" algn="l" defTabSz="844550">
            <a:lnSpc>
              <a:spcPct val="90000"/>
            </a:lnSpc>
            <a:spcBef>
              <a:spcPct val="0"/>
            </a:spcBef>
            <a:spcAft>
              <a:spcPct val="35000"/>
            </a:spcAft>
          </a:pPr>
          <a:r>
            <a:rPr lang="it-IT" sz="1900" b="1" kern="1200" dirty="0" smtClean="0">
              <a:solidFill>
                <a:srgbClr val="002060"/>
              </a:solidFill>
              <a:latin typeface="Calibri"/>
              <a:ea typeface="+mn-ea"/>
              <a:cs typeface="+mn-cs"/>
            </a:rPr>
            <a:t>Gestione</a:t>
          </a:r>
        </a:p>
        <a:p>
          <a:pPr lvl="0" algn="l" defTabSz="844550">
            <a:lnSpc>
              <a:spcPct val="90000"/>
            </a:lnSpc>
            <a:spcBef>
              <a:spcPct val="0"/>
            </a:spcBef>
            <a:spcAft>
              <a:spcPct val="35000"/>
            </a:spcAft>
          </a:pPr>
          <a:r>
            <a:rPr lang="it-IT" sz="1900" b="1" kern="1200" dirty="0" smtClean="0">
              <a:solidFill>
                <a:srgbClr val="002060"/>
              </a:solidFill>
              <a:latin typeface="Calibri"/>
              <a:ea typeface="+mn-ea"/>
              <a:cs typeface="+mn-cs"/>
            </a:rPr>
            <a:t>Consociate</a:t>
          </a:r>
        </a:p>
        <a:p>
          <a:pPr lvl="0" algn="l" defTabSz="844550">
            <a:lnSpc>
              <a:spcPct val="90000"/>
            </a:lnSpc>
            <a:spcBef>
              <a:spcPct val="0"/>
            </a:spcBef>
            <a:spcAft>
              <a:spcPct val="35000"/>
            </a:spcAft>
          </a:pPr>
          <a:r>
            <a:rPr lang="it-IT" sz="1900" b="1" kern="1200" dirty="0" smtClean="0">
              <a:solidFill>
                <a:srgbClr val="002060"/>
              </a:solidFill>
              <a:latin typeface="Calibri"/>
              <a:ea typeface="+mn-ea"/>
              <a:cs typeface="+mn-cs"/>
            </a:rPr>
            <a:t>Estere</a:t>
          </a:r>
          <a:endParaRPr lang="it-IT" sz="1900" b="1" kern="1200" dirty="0">
            <a:solidFill>
              <a:srgbClr val="002060"/>
            </a:solidFill>
            <a:latin typeface="Calibri"/>
            <a:ea typeface="+mn-ea"/>
            <a:cs typeface="+mn-cs"/>
          </a:endParaRPr>
        </a:p>
      </dsp:txBody>
      <dsp:txXfrm>
        <a:off x="6507192" y="980361"/>
        <a:ext cx="1474533" cy="3471125"/>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0771</cdr:x>
      <cdr:y>0.00755</cdr:y>
    </cdr:from>
    <cdr:to>
      <cdr:x>0.65896</cdr:x>
      <cdr:y>0.09434</cdr:y>
    </cdr:to>
    <cdr:sp macro="" textlink="">
      <cdr:nvSpPr>
        <cdr:cNvPr id="2" name="TextBox 1"/>
        <cdr:cNvSpPr txBox="1"/>
      </cdr:nvSpPr>
      <cdr:spPr>
        <a:xfrm xmlns:a="http://schemas.openxmlformats.org/drawingml/2006/main">
          <a:off x="54429" y="27214"/>
          <a:ext cx="4599214" cy="31296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400" b="1" dirty="0"/>
            <a:t>Total</a:t>
          </a:r>
          <a:r>
            <a:rPr lang="en-US" sz="1400" b="1" baseline="0" dirty="0"/>
            <a:t> credit and deposit data, RON </a:t>
          </a:r>
          <a:r>
            <a:rPr lang="en-US" sz="1400" b="1" baseline="0" dirty="0" err="1"/>
            <a:t>bln</a:t>
          </a:r>
          <a:r>
            <a:rPr lang="en-US" sz="1100" baseline="0" dirty="0"/>
            <a:t>.</a:t>
          </a:r>
          <a:endParaRPr lang="en-US" sz="1100" dirty="0"/>
        </a:p>
      </cdr:txBody>
    </cdr:sp>
  </cdr:relSizeAnchor>
  <cdr:relSizeAnchor xmlns:cdr="http://schemas.openxmlformats.org/drawingml/2006/chartDrawing">
    <cdr:from>
      <cdr:x>0.75459</cdr:x>
      <cdr:y>0.27901</cdr:y>
    </cdr:from>
    <cdr:to>
      <cdr:x>0.99428</cdr:x>
      <cdr:y>0.35651</cdr:y>
    </cdr:to>
    <cdr:sp macro="" textlink="">
      <cdr:nvSpPr>
        <cdr:cNvPr id="3" name="TextBox 2"/>
        <cdr:cNvSpPr txBox="1"/>
      </cdr:nvSpPr>
      <cdr:spPr>
        <a:xfrm xmlns:a="http://schemas.openxmlformats.org/drawingml/2006/main">
          <a:off x="6477000" y="1371600"/>
          <a:ext cx="2057400" cy="3810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1800" b="1" dirty="0" smtClean="0">
              <a:solidFill>
                <a:schemeClr val="bg1"/>
              </a:solidFill>
            </a:rPr>
            <a:t>+8,8% (ago 2012)</a:t>
          </a:r>
          <a:endParaRPr lang="en-US" sz="1800" b="1" dirty="0">
            <a:solidFill>
              <a:schemeClr val="bg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4957</cdr:x>
      <cdr:y>0.02083</cdr:y>
    </cdr:from>
    <cdr:to>
      <cdr:x>0.55</cdr:x>
      <cdr:y>0.12723</cdr:y>
    </cdr:to>
    <cdr:sp macro="" textlink="">
      <cdr:nvSpPr>
        <cdr:cNvPr id="2" name="TextBox 1"/>
        <cdr:cNvSpPr txBox="1"/>
      </cdr:nvSpPr>
      <cdr:spPr>
        <a:xfrm xmlns:a="http://schemas.openxmlformats.org/drawingml/2006/main">
          <a:off x="453268" y="87331"/>
          <a:ext cx="4575931" cy="446070"/>
        </a:xfrm>
        <a:prstGeom xmlns:a="http://schemas.openxmlformats.org/drawingml/2006/main" prst="rect">
          <a:avLst/>
        </a:prstGeom>
      </cdr:spPr>
      <cdr:txBody>
        <a:bodyPr xmlns:a="http://schemas.openxmlformats.org/drawingml/2006/main" vertOverflow="clip" wrap="square" rtlCol="0" anchor="t"/>
        <a:lstStyle xmlns:a="http://schemas.openxmlformats.org/drawingml/2006/main"/>
        <a:p xmlns:a="http://schemas.openxmlformats.org/drawingml/2006/main">
          <a:r>
            <a:rPr lang="en-US" sz="1400" b="1" dirty="0"/>
            <a:t>Private sector credit </a:t>
          </a:r>
          <a:r>
            <a:rPr lang="en-US" sz="1400" b="1" dirty="0" smtClean="0"/>
            <a:t>by </a:t>
          </a:r>
          <a:r>
            <a:rPr lang="en-US" sz="1400" b="1" dirty="0"/>
            <a:t>maturity</a:t>
          </a:r>
          <a:r>
            <a:rPr lang="en-US" sz="1000" dirty="0"/>
            <a:t>, %</a:t>
          </a:r>
        </a:p>
      </cdr:txBody>
    </cdr:sp>
  </cdr:relSizeAnchor>
</c:userShapes>
</file>

<file path=ppt/drawings/drawing3.xml><?xml version="1.0" encoding="utf-8"?>
<c:userShapes xmlns:c="http://schemas.openxmlformats.org/drawingml/2006/chart">
  <cdr:relSizeAnchor xmlns:cdr="http://schemas.openxmlformats.org/drawingml/2006/chartDrawing">
    <cdr:from>
      <cdr:x>0.07133</cdr:x>
      <cdr:y>0.02431</cdr:y>
    </cdr:from>
    <cdr:to>
      <cdr:x>0.3709</cdr:x>
      <cdr:y>0.20486</cdr:y>
    </cdr:to>
    <cdr:sp macro="" textlink="">
      <cdr:nvSpPr>
        <cdr:cNvPr id="2" name="TextBox 1"/>
        <cdr:cNvSpPr txBox="1"/>
      </cdr:nvSpPr>
      <cdr:spPr>
        <a:xfrm xmlns:a="http://schemas.openxmlformats.org/drawingml/2006/main">
          <a:off x="476251" y="66675"/>
          <a:ext cx="2000250" cy="4953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a:t>EUR interest rates,</a:t>
          </a:r>
          <a:r>
            <a:rPr lang="en-US" sz="1100" baseline="0" dirty="0"/>
            <a:t> % &amp; Romania CDS, basis points</a:t>
          </a:r>
          <a:endParaRPr 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07242</cdr:x>
      <cdr:y>0.03125</cdr:y>
    </cdr:from>
    <cdr:to>
      <cdr:x>0.77877</cdr:x>
      <cdr:y>0.14236</cdr:y>
    </cdr:to>
    <cdr:sp macro="" textlink="">
      <cdr:nvSpPr>
        <cdr:cNvPr id="2" name="TextBox 1"/>
        <cdr:cNvSpPr txBox="1"/>
      </cdr:nvSpPr>
      <cdr:spPr>
        <a:xfrm xmlns:a="http://schemas.openxmlformats.org/drawingml/2006/main">
          <a:off x="695325" y="85725"/>
          <a:ext cx="6781800"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a:t>RON interest rates, %</a:t>
          </a:r>
        </a:p>
      </cdr:txBody>
    </cdr:sp>
  </cdr:relSizeAnchor>
</c:userShapes>
</file>

<file path=ppt/drawings/drawing5.xml><?xml version="1.0" encoding="utf-8"?>
<c:userShapes xmlns:c="http://schemas.openxmlformats.org/drawingml/2006/chart">
  <cdr:relSizeAnchor xmlns:cdr="http://schemas.openxmlformats.org/drawingml/2006/chartDrawing">
    <cdr:from>
      <cdr:x>0.10345</cdr:x>
      <cdr:y>0.83333</cdr:y>
    </cdr:from>
    <cdr:to>
      <cdr:x>0.2069</cdr:x>
      <cdr:y>1</cdr:y>
    </cdr:to>
    <cdr:sp macro="" textlink="">
      <cdr:nvSpPr>
        <cdr:cNvPr id="2" name="TextBox 1"/>
        <cdr:cNvSpPr txBox="1"/>
      </cdr:nvSpPr>
      <cdr:spPr>
        <a:xfrm xmlns:a="http://schemas.openxmlformats.org/drawingml/2006/main">
          <a:off x="914400" y="4953000"/>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076575" cy="512763"/>
          </a:xfrm>
          <a:prstGeom prst="rect">
            <a:avLst/>
          </a:prstGeom>
        </p:spPr>
        <p:txBody>
          <a:bodyPr vert="horz" lIns="94768" tIns="47384" rIns="94768" bIns="47384" rtlCol="0"/>
          <a:lstStyle>
            <a:lvl1pPr algn="l">
              <a:defRPr sz="1200">
                <a:latin typeface="Arial" pitchFamily="34" charset="0"/>
                <a:cs typeface="Arial" pitchFamily="34" charset="0"/>
              </a:defRPr>
            </a:lvl1pPr>
          </a:lstStyle>
          <a:p>
            <a:pPr>
              <a:defRPr/>
            </a:pPr>
            <a:endParaRPr lang="it-IT"/>
          </a:p>
        </p:txBody>
      </p:sp>
      <p:sp>
        <p:nvSpPr>
          <p:cNvPr id="3" name="Segnaposto data 2"/>
          <p:cNvSpPr>
            <a:spLocks noGrp="1"/>
          </p:cNvSpPr>
          <p:nvPr>
            <p:ph type="dt" sz="quarter" idx="1"/>
          </p:nvPr>
        </p:nvSpPr>
        <p:spPr>
          <a:xfrm>
            <a:off x="4021138" y="0"/>
            <a:ext cx="3076575" cy="512763"/>
          </a:xfrm>
          <a:prstGeom prst="rect">
            <a:avLst/>
          </a:prstGeom>
        </p:spPr>
        <p:txBody>
          <a:bodyPr vert="horz" lIns="94768" tIns="47384" rIns="94768" bIns="47384" rtlCol="0"/>
          <a:lstStyle>
            <a:lvl1pPr algn="r">
              <a:defRPr sz="1200">
                <a:latin typeface="Arial" pitchFamily="34" charset="0"/>
                <a:cs typeface="Arial" pitchFamily="34" charset="0"/>
              </a:defRPr>
            </a:lvl1pPr>
          </a:lstStyle>
          <a:p>
            <a:pPr>
              <a:defRPr/>
            </a:pPr>
            <a:fld id="{6B987697-9AE6-4BC6-8477-6DB2385085DF}" type="datetimeFigureOut">
              <a:rPr lang="it-IT"/>
              <a:pPr>
                <a:defRPr/>
              </a:pPr>
              <a:t>13/11/2012</a:t>
            </a:fld>
            <a:endParaRPr lang="it-IT"/>
          </a:p>
        </p:txBody>
      </p:sp>
      <p:sp>
        <p:nvSpPr>
          <p:cNvPr id="4" name="Segnaposto piè di pagina 3"/>
          <p:cNvSpPr>
            <a:spLocks noGrp="1"/>
          </p:cNvSpPr>
          <p:nvPr>
            <p:ph type="ftr" sz="quarter" idx="2"/>
          </p:nvPr>
        </p:nvSpPr>
        <p:spPr>
          <a:xfrm>
            <a:off x="0" y="9720263"/>
            <a:ext cx="3076575" cy="512762"/>
          </a:xfrm>
          <a:prstGeom prst="rect">
            <a:avLst/>
          </a:prstGeom>
        </p:spPr>
        <p:txBody>
          <a:bodyPr vert="horz" lIns="94768" tIns="47384" rIns="94768" bIns="47384" rtlCol="0" anchor="b"/>
          <a:lstStyle>
            <a:lvl1pPr algn="l">
              <a:defRPr sz="1200">
                <a:latin typeface="Arial" pitchFamily="34" charset="0"/>
                <a:cs typeface="Arial" pitchFamily="34" charset="0"/>
              </a:defRPr>
            </a:lvl1pPr>
          </a:lstStyle>
          <a:p>
            <a:pPr>
              <a:defRPr/>
            </a:pPr>
            <a:endParaRPr lang="it-IT"/>
          </a:p>
        </p:txBody>
      </p:sp>
      <p:sp>
        <p:nvSpPr>
          <p:cNvPr id="5" name="Segnaposto numero diapositiva 4"/>
          <p:cNvSpPr>
            <a:spLocks noGrp="1"/>
          </p:cNvSpPr>
          <p:nvPr>
            <p:ph type="sldNum" sz="quarter" idx="3"/>
          </p:nvPr>
        </p:nvSpPr>
        <p:spPr>
          <a:xfrm>
            <a:off x="4021138" y="9720263"/>
            <a:ext cx="3076575" cy="512762"/>
          </a:xfrm>
          <a:prstGeom prst="rect">
            <a:avLst/>
          </a:prstGeom>
        </p:spPr>
        <p:txBody>
          <a:bodyPr vert="horz" lIns="94768" tIns="47384" rIns="94768" bIns="47384" rtlCol="0" anchor="b"/>
          <a:lstStyle>
            <a:lvl1pPr algn="r">
              <a:defRPr sz="1200">
                <a:latin typeface="Arial" pitchFamily="34" charset="0"/>
                <a:cs typeface="Arial" pitchFamily="34" charset="0"/>
              </a:defRPr>
            </a:lvl1pPr>
          </a:lstStyle>
          <a:p>
            <a:pPr>
              <a:defRPr/>
            </a:pPr>
            <a:fld id="{D859F523-BE5A-4F20-BD10-8EC92B2CCDAF}" type="slidenum">
              <a:rPr lang="it-IT"/>
              <a:pPr>
                <a:defRPr/>
              </a:pPr>
              <a:t>‹N›</a:t>
            </a:fld>
            <a:endParaRPr lang="it-IT"/>
          </a:p>
        </p:txBody>
      </p:sp>
    </p:spTree>
    <p:extLst>
      <p:ext uri="{BB962C8B-B14F-4D97-AF65-F5344CB8AC3E}">
        <p14:creationId xmlns:p14="http://schemas.microsoft.com/office/powerpoint/2010/main" val="41142978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30765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68" tIns="47384" rIns="94768" bIns="47384" numCol="1" anchor="t" anchorCtr="0" compatLnSpc="1">
            <a:prstTxWarp prst="textNoShape">
              <a:avLst/>
            </a:prstTxWarp>
          </a:bodyPr>
          <a:lstStyle>
            <a:lvl1pPr>
              <a:defRPr sz="1200">
                <a:latin typeface="Arial" charset="0"/>
                <a:cs typeface="+mn-cs"/>
              </a:defRPr>
            </a:lvl1pPr>
          </a:lstStyle>
          <a:p>
            <a:pPr>
              <a:defRPr/>
            </a:pPr>
            <a:endParaRPr lang="it-IT"/>
          </a:p>
        </p:txBody>
      </p:sp>
      <p:sp>
        <p:nvSpPr>
          <p:cNvPr id="7171" name="Rectangle 3"/>
          <p:cNvSpPr>
            <a:spLocks noGrp="1" noChangeArrowheads="1"/>
          </p:cNvSpPr>
          <p:nvPr>
            <p:ph type="dt" idx="1"/>
          </p:nvPr>
        </p:nvSpPr>
        <p:spPr bwMode="auto">
          <a:xfrm>
            <a:off x="4021138" y="0"/>
            <a:ext cx="30765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68" tIns="47384" rIns="94768" bIns="47384" numCol="1" anchor="t" anchorCtr="0" compatLnSpc="1">
            <a:prstTxWarp prst="textNoShape">
              <a:avLst/>
            </a:prstTxWarp>
          </a:bodyPr>
          <a:lstStyle>
            <a:lvl1pPr algn="r">
              <a:defRPr sz="1200">
                <a:latin typeface="Arial" charset="0"/>
                <a:cs typeface="+mn-cs"/>
              </a:defRPr>
            </a:lvl1pPr>
          </a:lstStyle>
          <a:p>
            <a:pPr>
              <a:defRPr/>
            </a:pPr>
            <a:endParaRPr lang="it-IT"/>
          </a:p>
        </p:txBody>
      </p:sp>
      <p:sp>
        <p:nvSpPr>
          <p:cNvPr id="35844" name="Rectangle 4"/>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7173" name="Rectangle 5"/>
          <p:cNvSpPr>
            <a:spLocks noGrp="1" noChangeArrowheads="1"/>
          </p:cNvSpPr>
          <p:nvPr>
            <p:ph type="body" sz="quarter" idx="3"/>
          </p:nvPr>
        </p:nvSpPr>
        <p:spPr bwMode="auto">
          <a:xfrm>
            <a:off x="709613" y="4860925"/>
            <a:ext cx="5680075"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68" tIns="47384" rIns="94768" bIns="47384" numCol="1" anchor="t" anchorCtr="0" compatLnSpc="1">
            <a:prstTxWarp prst="textNoShape">
              <a:avLst/>
            </a:prstTxWarp>
          </a:bodyPr>
          <a:lstStyle/>
          <a:p>
            <a:pPr lvl="0"/>
            <a:r>
              <a:rPr lang="it-IT" noProof="0" smtClean="0"/>
              <a:t>Fare clic per modificare gli stili del testo dello schema</a:t>
            </a:r>
          </a:p>
          <a:p>
            <a:pPr lvl="1"/>
            <a:r>
              <a:rPr lang="it-IT" noProof="0" smtClean="0"/>
              <a:t>Secondo livello</a:t>
            </a:r>
          </a:p>
          <a:p>
            <a:pPr lvl="2"/>
            <a:r>
              <a:rPr lang="it-IT" noProof="0" smtClean="0"/>
              <a:t>Terzo livello</a:t>
            </a:r>
          </a:p>
          <a:p>
            <a:pPr lvl="3"/>
            <a:r>
              <a:rPr lang="it-IT" noProof="0" smtClean="0"/>
              <a:t>Quarto livello</a:t>
            </a:r>
          </a:p>
          <a:p>
            <a:pPr lvl="4"/>
            <a:r>
              <a:rPr lang="it-IT" noProof="0" smtClean="0"/>
              <a:t>Quinto livello</a:t>
            </a:r>
          </a:p>
        </p:txBody>
      </p:sp>
      <p:sp>
        <p:nvSpPr>
          <p:cNvPr id="7174" name="Rectangle 6"/>
          <p:cNvSpPr>
            <a:spLocks noGrp="1" noChangeArrowheads="1"/>
          </p:cNvSpPr>
          <p:nvPr>
            <p:ph type="ftr" sz="quarter" idx="4"/>
          </p:nvPr>
        </p:nvSpPr>
        <p:spPr bwMode="auto">
          <a:xfrm>
            <a:off x="0" y="9720263"/>
            <a:ext cx="3076575"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68" tIns="47384" rIns="94768" bIns="47384" numCol="1" anchor="b" anchorCtr="0" compatLnSpc="1">
            <a:prstTxWarp prst="textNoShape">
              <a:avLst/>
            </a:prstTxWarp>
          </a:bodyPr>
          <a:lstStyle>
            <a:lvl1pPr>
              <a:defRPr sz="1200">
                <a:latin typeface="Arial" charset="0"/>
                <a:cs typeface="+mn-cs"/>
              </a:defRPr>
            </a:lvl1pPr>
          </a:lstStyle>
          <a:p>
            <a:pPr>
              <a:defRPr/>
            </a:pPr>
            <a:endParaRPr lang="it-IT"/>
          </a:p>
        </p:txBody>
      </p:sp>
      <p:sp>
        <p:nvSpPr>
          <p:cNvPr id="7175" name="Rectangle 7"/>
          <p:cNvSpPr>
            <a:spLocks noGrp="1" noChangeArrowheads="1"/>
          </p:cNvSpPr>
          <p:nvPr>
            <p:ph type="sldNum" sz="quarter" idx="5"/>
          </p:nvPr>
        </p:nvSpPr>
        <p:spPr bwMode="auto">
          <a:xfrm>
            <a:off x="4021138" y="9720263"/>
            <a:ext cx="3076575"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768" tIns="47384" rIns="94768" bIns="47384" numCol="1" anchor="b" anchorCtr="0" compatLnSpc="1">
            <a:prstTxWarp prst="textNoShape">
              <a:avLst/>
            </a:prstTxWarp>
          </a:bodyPr>
          <a:lstStyle>
            <a:lvl1pPr algn="r">
              <a:defRPr sz="1200">
                <a:latin typeface="Arial" charset="0"/>
                <a:cs typeface="+mn-cs"/>
              </a:defRPr>
            </a:lvl1pPr>
          </a:lstStyle>
          <a:p>
            <a:pPr>
              <a:defRPr/>
            </a:pPr>
            <a:fld id="{DA3E69DA-C3A9-49C5-AF0A-985A40973332}" type="slidenum">
              <a:rPr lang="it-IT"/>
              <a:pPr>
                <a:defRPr/>
              </a:pPr>
              <a:t>‹N›</a:t>
            </a:fld>
            <a:endParaRPr lang="it-IT"/>
          </a:p>
        </p:txBody>
      </p:sp>
    </p:spTree>
    <p:extLst>
      <p:ext uri="{BB962C8B-B14F-4D97-AF65-F5344CB8AC3E}">
        <p14:creationId xmlns:p14="http://schemas.microsoft.com/office/powerpoint/2010/main" val="187320702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p>
            <a:fld id="{E58E4BF4-52B8-4361-B737-392BA2A8D8CA}" type="slidenum">
              <a:rPr lang="en-GB" smtClean="0"/>
              <a:pPr/>
              <a:t>3</a:t>
            </a:fld>
            <a:endParaRPr lang="en-GB" smtClean="0"/>
          </a:p>
        </p:txBody>
      </p:sp>
      <p:sp>
        <p:nvSpPr>
          <p:cNvPr id="36867" name="Rectangle 2"/>
          <p:cNvSpPr>
            <a:spLocks noGrp="1" noRot="1" noChangeAspect="1" noChangeArrowheads="1" noTextEdit="1"/>
          </p:cNvSpPr>
          <p:nvPr>
            <p:ph type="sldImg"/>
          </p:nvPr>
        </p:nvSpPr>
        <p:spPr>
          <a:ln/>
        </p:spPr>
      </p:sp>
      <p:sp>
        <p:nvSpPr>
          <p:cNvPr id="36868" name="Rectangle 3"/>
          <p:cNvSpPr>
            <a:spLocks noGrp="1" noChangeArrowheads="1"/>
          </p:cNvSpPr>
          <p:nvPr>
            <p:ph type="body" idx="1"/>
          </p:nvPr>
        </p:nvSpPr>
        <p:spPr>
          <a:noFill/>
          <a:ln/>
        </p:spPr>
        <p:txBody>
          <a:bodyP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egnaposto immagine diapositiva 1"/>
          <p:cNvSpPr>
            <a:spLocks noGrp="1" noRot="1" noChangeAspect="1" noTextEdit="1"/>
          </p:cNvSpPr>
          <p:nvPr>
            <p:ph type="sldImg"/>
          </p:nvPr>
        </p:nvSpPr>
        <p:spPr>
          <a:ln/>
        </p:spPr>
      </p:sp>
      <p:sp>
        <p:nvSpPr>
          <p:cNvPr id="40963" name="Segnaposto note 2"/>
          <p:cNvSpPr>
            <a:spLocks noGrp="1"/>
          </p:cNvSpPr>
          <p:nvPr>
            <p:ph type="body" idx="1"/>
          </p:nvPr>
        </p:nvSpPr>
        <p:spPr>
          <a:noFill/>
        </p:spPr>
        <p:txBody>
          <a:bodyPr/>
          <a:lstStyle/>
          <a:p>
            <a:endParaRPr lang="it-IT" smtClean="0"/>
          </a:p>
        </p:txBody>
      </p:sp>
      <p:sp>
        <p:nvSpPr>
          <p:cNvPr id="31748" name="Segnaposto numero diapositiva 3"/>
          <p:cNvSpPr>
            <a:spLocks noGrp="1"/>
          </p:cNvSpPr>
          <p:nvPr>
            <p:ph type="sldNum" sz="quarter" idx="5"/>
          </p:nvPr>
        </p:nvSpPr>
        <p:spPr/>
        <p:txBody>
          <a:bodyPr/>
          <a:lstStyle>
            <a:lvl1pPr defTabSz="949325" eaLnBrk="0" hangingPunct="0">
              <a:defRPr sz="2000">
                <a:solidFill>
                  <a:schemeClr val="tx1"/>
                </a:solidFill>
                <a:latin typeface="Arial" charset="0"/>
                <a:ea typeface="MS PGothic" pitchFamily="34" charset="-128"/>
              </a:defRPr>
            </a:lvl1pPr>
            <a:lvl2pPr marL="742950" indent="-285750" defTabSz="949325" eaLnBrk="0" hangingPunct="0">
              <a:defRPr sz="2000">
                <a:solidFill>
                  <a:schemeClr val="tx1"/>
                </a:solidFill>
                <a:latin typeface="Arial" charset="0"/>
                <a:ea typeface="MS PGothic" pitchFamily="34" charset="-128"/>
              </a:defRPr>
            </a:lvl2pPr>
            <a:lvl3pPr marL="1143000" indent="-228600" defTabSz="949325" eaLnBrk="0" hangingPunct="0">
              <a:defRPr sz="2000">
                <a:solidFill>
                  <a:schemeClr val="tx1"/>
                </a:solidFill>
                <a:latin typeface="Arial" charset="0"/>
                <a:ea typeface="MS PGothic" pitchFamily="34" charset="-128"/>
              </a:defRPr>
            </a:lvl3pPr>
            <a:lvl4pPr marL="1600200" indent="-228600" defTabSz="949325" eaLnBrk="0" hangingPunct="0">
              <a:defRPr sz="2000">
                <a:solidFill>
                  <a:schemeClr val="tx1"/>
                </a:solidFill>
                <a:latin typeface="Arial" charset="0"/>
                <a:ea typeface="MS PGothic" pitchFamily="34" charset="-128"/>
              </a:defRPr>
            </a:lvl4pPr>
            <a:lvl5pPr marL="2057400" indent="-228600" defTabSz="949325" eaLnBrk="0" hangingPunct="0">
              <a:defRPr sz="2000">
                <a:solidFill>
                  <a:schemeClr val="tx1"/>
                </a:solidFill>
                <a:latin typeface="Arial" charset="0"/>
                <a:ea typeface="MS PGothic" pitchFamily="34" charset="-128"/>
              </a:defRPr>
            </a:lvl5pPr>
            <a:lvl6pPr marL="2514600" indent="-228600" defTabSz="949325"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charset="0"/>
                <a:ea typeface="MS PGothic" pitchFamily="34" charset="-128"/>
              </a:defRPr>
            </a:lvl6pPr>
            <a:lvl7pPr marL="2971800" indent="-228600" defTabSz="949325"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charset="0"/>
                <a:ea typeface="MS PGothic" pitchFamily="34" charset="-128"/>
              </a:defRPr>
            </a:lvl7pPr>
            <a:lvl8pPr marL="3429000" indent="-228600" defTabSz="949325"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charset="0"/>
                <a:ea typeface="MS PGothic" pitchFamily="34" charset="-128"/>
              </a:defRPr>
            </a:lvl8pPr>
            <a:lvl9pPr marL="3886200" indent="-228600" defTabSz="949325"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charset="0"/>
                <a:ea typeface="MS PGothic" pitchFamily="34" charset="-128"/>
              </a:defRPr>
            </a:lvl9pPr>
          </a:lstStyle>
          <a:p>
            <a:pPr eaLnBrk="1" hangingPunct="1">
              <a:defRPr/>
            </a:pPr>
            <a:fld id="{146BA558-54D1-42D0-BDFA-27DD8D297F3C}" type="slidenum">
              <a:rPr lang="it-IT" sz="1200" smtClean="0"/>
              <a:pPr eaLnBrk="1" hangingPunct="1">
                <a:defRPr/>
              </a:pPr>
              <a:t>7</a:t>
            </a:fld>
            <a:endParaRPr lang="it-IT" sz="120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p>
            <a:fld id="{8B9CC855-08DC-4E75-8F08-77DA69F5262F}" type="slidenum">
              <a:rPr lang="en-GB" smtClean="0"/>
              <a:pPr/>
              <a:t>12</a:t>
            </a:fld>
            <a:endParaRPr lang="en-GB" smtClean="0"/>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a:ln/>
        </p:spPr>
        <p:txBody>
          <a:bodyPr/>
          <a:lstStyle/>
          <a:p>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Tree>
    <p:extLst>
      <p:ext uri="{BB962C8B-B14F-4D97-AF65-F5344CB8AC3E}">
        <p14:creationId xmlns:p14="http://schemas.microsoft.com/office/powerpoint/2010/main" val="11083719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1600200"/>
            <a:ext cx="8229600" cy="4525963"/>
          </a:xfrm>
          <a:prstGeom prst="rect">
            <a:avLst/>
          </a:prstGeo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36236863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783388" y="234950"/>
            <a:ext cx="2108200" cy="5891213"/>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34950"/>
            <a:ext cx="6173788" cy="5891213"/>
          </a:xfrm>
          <a:prstGeom prst="rect">
            <a:avLst/>
          </a:prstGeo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6747509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bg>
      <p:bgPr>
        <a:solidFill>
          <a:schemeClr val="bg1"/>
        </a:solidFill>
        <a:effectLst/>
      </p:bgPr>
    </p:bg>
    <p:spTree>
      <p:nvGrpSpPr>
        <p:cNvPr id="1" name=""/>
        <p:cNvGrpSpPr/>
        <p:nvPr/>
      </p:nvGrpSpPr>
      <p:grpSpPr>
        <a:xfrm>
          <a:off x="0" y="0"/>
          <a:ext cx="0" cy="0"/>
          <a:chOff x="0" y="0"/>
          <a:chExt cx="0" cy="0"/>
        </a:xfrm>
      </p:grpSpPr>
      <p:sp>
        <p:nvSpPr>
          <p:cNvPr id="3" name="Working Draft Text" hidden="1"/>
          <p:cNvSpPr>
            <a:spLocks noChangeArrowheads="1"/>
          </p:cNvSpPr>
          <p:nvPr/>
        </p:nvSpPr>
        <p:spPr bwMode="auto">
          <a:xfrm>
            <a:off x="427038" y="349250"/>
            <a:ext cx="3109912" cy="295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2813"/>
            <a:r>
              <a:rPr lang="en-US"/>
              <a:t>Working Draft    </a:t>
            </a:r>
          </a:p>
        </p:txBody>
      </p:sp>
      <p:sp>
        <p:nvSpPr>
          <p:cNvPr id="4" name="Working Draft" hidden="1"/>
          <p:cNvSpPr txBox="1">
            <a:spLocks noChangeArrowheads="1"/>
          </p:cNvSpPr>
          <p:nvPr/>
        </p:nvSpPr>
        <p:spPr bwMode="auto">
          <a:xfrm>
            <a:off x="427038" y="593725"/>
            <a:ext cx="4224337"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US" sz="1200" smtClean="0">
                <a:cs typeface="+mn-cs"/>
              </a:rPr>
              <a:t>Last Modified 30/01/2007 16.48.39 W. Europe Standard Time</a:t>
            </a:r>
          </a:p>
        </p:txBody>
      </p:sp>
      <p:sp>
        <p:nvSpPr>
          <p:cNvPr id="5" name="Printed" hidden="1"/>
          <p:cNvSpPr txBox="1">
            <a:spLocks noChangeArrowheads="1"/>
          </p:cNvSpPr>
          <p:nvPr/>
        </p:nvSpPr>
        <p:spPr bwMode="auto">
          <a:xfrm>
            <a:off x="427038" y="815975"/>
            <a:ext cx="3794125" cy="187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33450">
              <a:defRPr>
                <a:solidFill>
                  <a:schemeClr val="tx1"/>
                </a:solidFill>
                <a:latin typeface="Arial" charset="0"/>
              </a:defRPr>
            </a:lvl1pPr>
            <a:lvl2pPr marL="466725" defTabSz="933450">
              <a:defRPr>
                <a:solidFill>
                  <a:schemeClr val="tx1"/>
                </a:solidFill>
                <a:latin typeface="Arial" charset="0"/>
              </a:defRPr>
            </a:lvl2pPr>
            <a:lvl3pPr marL="933450" defTabSz="933450">
              <a:defRPr>
                <a:solidFill>
                  <a:schemeClr val="tx1"/>
                </a:solidFill>
                <a:latin typeface="Arial" charset="0"/>
              </a:defRPr>
            </a:lvl3pPr>
            <a:lvl4pPr marL="1400175" defTabSz="933450">
              <a:defRPr>
                <a:solidFill>
                  <a:schemeClr val="tx1"/>
                </a:solidFill>
                <a:latin typeface="Arial" charset="0"/>
              </a:defRPr>
            </a:lvl4pPr>
            <a:lvl5pPr marL="1865313" defTabSz="933450">
              <a:defRPr>
                <a:solidFill>
                  <a:schemeClr val="tx1"/>
                </a:solidFill>
                <a:latin typeface="Arial" charset="0"/>
              </a:defRPr>
            </a:lvl5pPr>
            <a:lvl6pPr marL="2322513" defTabSz="933450" fontAlgn="base">
              <a:spcBef>
                <a:spcPct val="0"/>
              </a:spcBef>
              <a:spcAft>
                <a:spcPct val="0"/>
              </a:spcAft>
              <a:defRPr>
                <a:solidFill>
                  <a:schemeClr val="tx1"/>
                </a:solidFill>
                <a:latin typeface="Arial" charset="0"/>
              </a:defRPr>
            </a:lvl6pPr>
            <a:lvl7pPr marL="2779713" defTabSz="933450" fontAlgn="base">
              <a:spcBef>
                <a:spcPct val="0"/>
              </a:spcBef>
              <a:spcAft>
                <a:spcPct val="0"/>
              </a:spcAft>
              <a:defRPr>
                <a:solidFill>
                  <a:schemeClr val="tx1"/>
                </a:solidFill>
                <a:latin typeface="Arial" charset="0"/>
              </a:defRPr>
            </a:lvl7pPr>
            <a:lvl8pPr marL="3236913" defTabSz="933450" fontAlgn="base">
              <a:spcBef>
                <a:spcPct val="0"/>
              </a:spcBef>
              <a:spcAft>
                <a:spcPct val="0"/>
              </a:spcAft>
              <a:defRPr>
                <a:solidFill>
                  <a:schemeClr val="tx1"/>
                </a:solidFill>
                <a:latin typeface="Arial" charset="0"/>
              </a:defRPr>
            </a:lvl8pPr>
            <a:lvl9pPr marL="3694113" defTabSz="933450" fontAlgn="base">
              <a:spcBef>
                <a:spcPct val="0"/>
              </a:spcBef>
              <a:spcAft>
                <a:spcPct val="0"/>
              </a:spcAft>
              <a:defRPr>
                <a:solidFill>
                  <a:schemeClr val="tx1"/>
                </a:solidFill>
                <a:latin typeface="Arial" charset="0"/>
              </a:defRPr>
            </a:lvl9pPr>
          </a:lstStyle>
          <a:p>
            <a:pPr>
              <a:defRPr/>
            </a:pPr>
            <a:r>
              <a:rPr lang="en-US" sz="1200" smtClean="0">
                <a:cs typeface="+mn-cs"/>
              </a:rPr>
              <a:t>Printed 30/01/2007 16.36.02 W. Europe Standard Time</a:t>
            </a:r>
          </a:p>
        </p:txBody>
      </p:sp>
      <p:pic>
        <p:nvPicPr>
          <p:cNvPr id="6" name="Picture 6" descr="018-presentaz_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7700" y="542925"/>
            <a:ext cx="617855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7"/>
          <p:cNvSpPr>
            <a:spLocks noChangeArrowheads="1"/>
          </p:cNvSpPr>
          <p:nvPr/>
        </p:nvSpPr>
        <p:spPr bwMode="auto">
          <a:xfrm>
            <a:off x="701675" y="6308725"/>
            <a:ext cx="8010525" cy="44450"/>
          </a:xfrm>
          <a:prstGeom prst="rect">
            <a:avLst/>
          </a:prstGeom>
          <a:solidFill>
            <a:srgbClr val="FD691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2978" name="Rectangle 2"/>
          <p:cNvSpPr>
            <a:spLocks noGrp="1" noChangeArrowheads="1"/>
          </p:cNvSpPr>
          <p:nvPr>
            <p:ph type="ctrTitle"/>
          </p:nvPr>
        </p:nvSpPr>
        <p:spPr>
          <a:xfrm>
            <a:off x="147638" y="2870200"/>
            <a:ext cx="8859837" cy="487363"/>
          </a:xfrm>
        </p:spPr>
        <p:txBody>
          <a:bodyPr/>
          <a:lstStyle>
            <a:lvl1pPr>
              <a:defRPr sz="3200"/>
            </a:lvl1pPr>
          </a:lstStyle>
          <a:p>
            <a:pPr lvl="0"/>
            <a:r>
              <a:rPr lang="en-GB" noProof="0" smtClean="0"/>
              <a:t>Titolo</a:t>
            </a:r>
            <a:endParaRPr lang="it-IT" noProof="0" smtClean="0"/>
          </a:p>
        </p:txBody>
      </p:sp>
    </p:spTree>
    <p:extLst>
      <p:ext uri="{BB962C8B-B14F-4D97-AF65-F5344CB8AC3E}">
        <p14:creationId xmlns:p14="http://schemas.microsoft.com/office/powerpoint/2010/main" val="3969225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28066352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Tree>
    <p:extLst>
      <p:ext uri="{BB962C8B-B14F-4D97-AF65-F5344CB8AC3E}">
        <p14:creationId xmlns:p14="http://schemas.microsoft.com/office/powerpoint/2010/main" val="4051835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25413" y="1582738"/>
            <a:ext cx="4319587"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597400" y="1582738"/>
            <a:ext cx="43211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34871789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28803013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val="371039271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06596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val="1684599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a:xfrm>
            <a:off x="457200" y="1600200"/>
            <a:ext cx="8229600" cy="4525963"/>
          </a:xfrm>
          <a:prstGeom prst="rect">
            <a:avLst/>
          </a:prstGeo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29337146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val="18450236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14007709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719888" y="234950"/>
            <a:ext cx="2198687" cy="2570163"/>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123825" y="234950"/>
            <a:ext cx="6443663" cy="2570163"/>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17823987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 2"/>
          <p:cNvPicPr>
            <a:picLocks noChangeArrowheads="1"/>
          </p:cNvPicPr>
          <p:nvPr userDrawn="1"/>
        </p:nvPicPr>
        <p:blipFill>
          <a:blip r:embed="rId2"/>
          <a:srcRect/>
          <a:stretch>
            <a:fillRect/>
          </a:stretch>
        </p:blipFill>
        <p:spPr bwMode="auto">
          <a:xfrm>
            <a:off x="4071938" y="1643063"/>
            <a:ext cx="4857750" cy="4572000"/>
          </a:xfrm>
          <a:prstGeom prst="rect">
            <a:avLst/>
          </a:prstGeom>
          <a:noFill/>
          <a:ln w="9525">
            <a:noFill/>
            <a:miter lim="800000"/>
            <a:headEnd/>
            <a:tailEnd/>
          </a:ln>
        </p:spPr>
      </p:pic>
      <p:pic>
        <p:nvPicPr>
          <p:cNvPr id="5" name="Picture 14" descr="Intesa Sanpaolo Romania_logo"/>
          <p:cNvPicPr>
            <a:picLocks noChangeAspect="1" noChangeArrowheads="1"/>
          </p:cNvPicPr>
          <p:nvPr userDrawn="1"/>
        </p:nvPicPr>
        <p:blipFill>
          <a:blip r:embed="rId3"/>
          <a:srcRect b="40129"/>
          <a:stretch>
            <a:fillRect/>
          </a:stretch>
        </p:blipFill>
        <p:spPr bwMode="auto">
          <a:xfrm>
            <a:off x="238125" y="428625"/>
            <a:ext cx="5119688" cy="587375"/>
          </a:xfrm>
          <a:prstGeom prst="rect">
            <a:avLst/>
          </a:prstGeom>
          <a:noFill/>
          <a:ln w="9525">
            <a:noFill/>
            <a:miter lim="800000"/>
            <a:headEnd/>
            <a:tailEnd/>
          </a:ln>
        </p:spPr>
      </p:pic>
      <p:sp>
        <p:nvSpPr>
          <p:cNvPr id="3077" name="Segnaposto titolo 1"/>
          <p:cNvSpPr>
            <a:spLocks noGrp="1"/>
          </p:cNvSpPr>
          <p:nvPr>
            <p:ph type="ctrTitle"/>
          </p:nvPr>
        </p:nvSpPr>
        <p:spPr>
          <a:xfrm>
            <a:off x="292100" y="2133600"/>
            <a:ext cx="7129463" cy="1462088"/>
          </a:xfrm>
        </p:spPr>
        <p:txBody>
          <a:bodyPr/>
          <a:lstStyle>
            <a:lvl1pPr>
              <a:defRPr sz="2800"/>
            </a:lvl1pPr>
          </a:lstStyle>
          <a:p>
            <a:r>
              <a:rPr lang="en-GB"/>
              <a:t>Fare clic per modificare stile</a:t>
            </a:r>
          </a:p>
        </p:txBody>
      </p:sp>
      <p:sp>
        <p:nvSpPr>
          <p:cNvPr id="3078" name="Segnaposto testo 2"/>
          <p:cNvSpPr>
            <a:spLocks noGrp="1"/>
          </p:cNvSpPr>
          <p:nvPr>
            <p:ph type="subTitle" idx="1"/>
          </p:nvPr>
        </p:nvSpPr>
        <p:spPr>
          <a:xfrm>
            <a:off x="304800" y="4267200"/>
            <a:ext cx="7162800" cy="838200"/>
          </a:xfrm>
        </p:spPr>
        <p:txBody>
          <a:bodyPr/>
          <a:lstStyle>
            <a:lvl1pPr>
              <a:defRPr b="0"/>
            </a:lvl1pPr>
          </a:lstStyle>
          <a:p>
            <a:r>
              <a:rPr lang="en-GB"/>
              <a:t>Fare clic per modificare lo stile del sottotitolo dello schem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5" name="Rectangle 17"/>
          <p:cNvSpPr>
            <a:spLocks noGrp="1" noChangeArrowheads="1"/>
          </p:cNvSpPr>
          <p:nvPr>
            <p:ph type="sldNum" sz="quarter" idx="11"/>
          </p:nvPr>
        </p:nvSpPr>
        <p:spPr>
          <a:ln/>
        </p:spPr>
        <p:txBody>
          <a:bodyPr/>
          <a:lstStyle>
            <a:lvl1pPr>
              <a:defRPr/>
            </a:lvl1pPr>
          </a:lstStyle>
          <a:p>
            <a:pPr>
              <a:defRPr/>
            </a:pPr>
            <a:fld id="{47738B04-6895-4C42-9C2F-00406FEBE1BB}" type="slidenum">
              <a:rPr lang="en-GB"/>
              <a:pPr>
                <a:defRPr/>
              </a:pPr>
              <a:t>‹N›</a:t>
            </a:fld>
            <a:endParaRPr lang="en-GB"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5" name="Rectangle 17"/>
          <p:cNvSpPr>
            <a:spLocks noGrp="1" noChangeArrowheads="1"/>
          </p:cNvSpPr>
          <p:nvPr>
            <p:ph type="sldNum" sz="quarter" idx="11"/>
          </p:nvPr>
        </p:nvSpPr>
        <p:spPr>
          <a:ln/>
        </p:spPr>
        <p:txBody>
          <a:bodyPr/>
          <a:lstStyle>
            <a:lvl1pPr>
              <a:defRPr/>
            </a:lvl1pPr>
          </a:lstStyle>
          <a:p>
            <a:pPr>
              <a:defRPr/>
            </a:pPr>
            <a:fld id="{29EF7BC2-15B9-40EF-A212-11CD8F392495}" type="slidenum">
              <a:rPr lang="en-GB"/>
              <a:pPr>
                <a:defRPr/>
              </a:pPr>
              <a:t>‹N›</a:t>
            </a:fld>
            <a:endParaRPr lang="en-GB"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03200" y="1042988"/>
            <a:ext cx="4300538" cy="4919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6138" y="1042988"/>
            <a:ext cx="4302125" cy="4919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6" name="Rectangle 17"/>
          <p:cNvSpPr>
            <a:spLocks noGrp="1" noChangeArrowheads="1"/>
          </p:cNvSpPr>
          <p:nvPr>
            <p:ph type="sldNum" sz="quarter" idx="11"/>
          </p:nvPr>
        </p:nvSpPr>
        <p:spPr>
          <a:ln/>
        </p:spPr>
        <p:txBody>
          <a:bodyPr/>
          <a:lstStyle>
            <a:lvl1pPr>
              <a:defRPr/>
            </a:lvl1pPr>
          </a:lstStyle>
          <a:p>
            <a:pPr>
              <a:defRPr/>
            </a:pPr>
            <a:fld id="{6B051B50-C585-41BB-8600-E2C1BEEAAC5F}" type="slidenum">
              <a:rPr lang="en-GB"/>
              <a:pPr>
                <a:defRPr/>
              </a:pPr>
              <a:t>‹N›</a:t>
            </a:fld>
            <a:endParaRPr lang="en-GB"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8" name="Rectangle 17"/>
          <p:cNvSpPr>
            <a:spLocks noGrp="1" noChangeArrowheads="1"/>
          </p:cNvSpPr>
          <p:nvPr>
            <p:ph type="sldNum" sz="quarter" idx="11"/>
          </p:nvPr>
        </p:nvSpPr>
        <p:spPr>
          <a:ln/>
        </p:spPr>
        <p:txBody>
          <a:bodyPr/>
          <a:lstStyle>
            <a:lvl1pPr>
              <a:defRPr/>
            </a:lvl1pPr>
          </a:lstStyle>
          <a:p>
            <a:pPr>
              <a:defRPr/>
            </a:pPr>
            <a:fld id="{AC8F93B7-8A16-4F06-BF11-AEC38A61DF0A}" type="slidenum">
              <a:rPr lang="en-GB"/>
              <a:pPr>
                <a:defRPr/>
              </a:pPr>
              <a:t>‹N›</a:t>
            </a:fld>
            <a:endParaRPr lang="en-GB"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4" name="Rectangle 17"/>
          <p:cNvSpPr>
            <a:spLocks noGrp="1" noChangeArrowheads="1"/>
          </p:cNvSpPr>
          <p:nvPr>
            <p:ph type="sldNum" sz="quarter" idx="11"/>
          </p:nvPr>
        </p:nvSpPr>
        <p:spPr>
          <a:ln/>
        </p:spPr>
        <p:txBody>
          <a:bodyPr/>
          <a:lstStyle>
            <a:lvl1pPr>
              <a:defRPr/>
            </a:lvl1pPr>
          </a:lstStyle>
          <a:p>
            <a:pPr>
              <a:defRPr/>
            </a:pPr>
            <a:fld id="{293CBE72-A91A-447A-8B25-4BDE17118F09}" type="slidenum">
              <a:rPr lang="en-GB"/>
              <a:pPr>
                <a:defRPr/>
              </a:pPr>
              <a:t>‹N›</a:t>
            </a:fld>
            <a:endParaRPr lang="en-GB"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3" name="Rectangle 17"/>
          <p:cNvSpPr>
            <a:spLocks noGrp="1" noChangeArrowheads="1"/>
          </p:cNvSpPr>
          <p:nvPr>
            <p:ph type="sldNum" sz="quarter" idx="11"/>
          </p:nvPr>
        </p:nvSpPr>
        <p:spPr>
          <a:ln/>
        </p:spPr>
        <p:txBody>
          <a:bodyPr/>
          <a:lstStyle>
            <a:lvl1pPr>
              <a:defRPr/>
            </a:lvl1pPr>
          </a:lstStyle>
          <a:p>
            <a:pPr>
              <a:defRPr/>
            </a:pPr>
            <a:fld id="{DB414175-995C-425F-8AB1-4F9BD907D7EA}" type="slidenum">
              <a:rPr lang="en-GB"/>
              <a:pPr>
                <a:defRPr/>
              </a:pPr>
              <a:t>‹N›</a:t>
            </a:fld>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Tree>
    <p:extLst>
      <p:ext uri="{BB962C8B-B14F-4D97-AF65-F5344CB8AC3E}">
        <p14:creationId xmlns:p14="http://schemas.microsoft.com/office/powerpoint/2010/main" val="5943658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6" name="Rectangle 17"/>
          <p:cNvSpPr>
            <a:spLocks noGrp="1" noChangeArrowheads="1"/>
          </p:cNvSpPr>
          <p:nvPr>
            <p:ph type="sldNum" sz="quarter" idx="11"/>
          </p:nvPr>
        </p:nvSpPr>
        <p:spPr>
          <a:ln/>
        </p:spPr>
        <p:txBody>
          <a:bodyPr/>
          <a:lstStyle>
            <a:lvl1pPr>
              <a:defRPr/>
            </a:lvl1pPr>
          </a:lstStyle>
          <a:p>
            <a:pPr>
              <a:defRPr/>
            </a:pPr>
            <a:fld id="{C55B4648-4BD8-489E-8EFC-CC2279B72E2E}" type="slidenum">
              <a:rPr lang="en-GB"/>
              <a:pPr>
                <a:defRPr/>
              </a:pPr>
              <a:t>‹N›</a:t>
            </a:fld>
            <a:endParaRPr lang="en-GB"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6" name="Rectangle 17"/>
          <p:cNvSpPr>
            <a:spLocks noGrp="1" noChangeArrowheads="1"/>
          </p:cNvSpPr>
          <p:nvPr>
            <p:ph type="sldNum" sz="quarter" idx="11"/>
          </p:nvPr>
        </p:nvSpPr>
        <p:spPr>
          <a:ln/>
        </p:spPr>
        <p:txBody>
          <a:bodyPr/>
          <a:lstStyle>
            <a:lvl1pPr>
              <a:defRPr/>
            </a:lvl1pPr>
          </a:lstStyle>
          <a:p>
            <a:pPr>
              <a:defRPr/>
            </a:pPr>
            <a:fld id="{F1F478B8-3B26-474B-8F26-6B179BF0A09B}" type="slidenum">
              <a:rPr lang="en-GB"/>
              <a:pPr>
                <a:defRPr/>
              </a:pPr>
              <a:t>‹N›</a:t>
            </a:fld>
            <a:endParaRPr lang="en-GB"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5" name="Rectangle 17"/>
          <p:cNvSpPr>
            <a:spLocks noGrp="1" noChangeArrowheads="1"/>
          </p:cNvSpPr>
          <p:nvPr>
            <p:ph type="sldNum" sz="quarter" idx="11"/>
          </p:nvPr>
        </p:nvSpPr>
        <p:spPr>
          <a:ln/>
        </p:spPr>
        <p:txBody>
          <a:bodyPr/>
          <a:lstStyle>
            <a:lvl1pPr>
              <a:defRPr/>
            </a:lvl1pPr>
          </a:lstStyle>
          <a:p>
            <a:pPr>
              <a:defRPr/>
            </a:pPr>
            <a:fld id="{3DC521F5-BF58-43F5-8971-BFAA498DDADB}" type="slidenum">
              <a:rPr lang="en-GB"/>
              <a:pPr>
                <a:defRPr/>
              </a:pPr>
              <a:t>‹N›</a:t>
            </a:fld>
            <a:endParaRPr lang="en-GB"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9100" y="109538"/>
            <a:ext cx="2189163" cy="585311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00025" y="109538"/>
            <a:ext cx="6416675" cy="58531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5" name="Rectangle 17"/>
          <p:cNvSpPr>
            <a:spLocks noGrp="1" noChangeArrowheads="1"/>
          </p:cNvSpPr>
          <p:nvPr>
            <p:ph type="sldNum" sz="quarter" idx="11"/>
          </p:nvPr>
        </p:nvSpPr>
        <p:spPr>
          <a:ln/>
        </p:spPr>
        <p:txBody>
          <a:bodyPr/>
          <a:lstStyle>
            <a:lvl1pPr>
              <a:defRPr/>
            </a:lvl1pPr>
          </a:lstStyle>
          <a:p>
            <a:pPr>
              <a:defRPr/>
            </a:pPr>
            <a:fld id="{E76997A4-5F6A-48EE-8647-9803BEDB8183}" type="slidenum">
              <a:rPr lang="en-GB"/>
              <a:pPr>
                <a:defRPr/>
              </a:pPr>
              <a:t>‹N›</a:t>
            </a:fld>
            <a:endParaRPr lang="en-GB"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 2"/>
          <p:cNvPicPr>
            <a:picLocks noChangeArrowheads="1"/>
          </p:cNvPicPr>
          <p:nvPr userDrawn="1"/>
        </p:nvPicPr>
        <p:blipFill>
          <a:blip r:embed="rId2"/>
          <a:srcRect/>
          <a:stretch>
            <a:fillRect/>
          </a:stretch>
        </p:blipFill>
        <p:spPr bwMode="auto">
          <a:xfrm>
            <a:off x="4071938" y="1643063"/>
            <a:ext cx="4857750" cy="4572000"/>
          </a:xfrm>
          <a:prstGeom prst="rect">
            <a:avLst/>
          </a:prstGeom>
          <a:noFill/>
          <a:ln w="9525">
            <a:noFill/>
            <a:miter lim="800000"/>
            <a:headEnd/>
            <a:tailEnd/>
          </a:ln>
        </p:spPr>
      </p:pic>
      <p:pic>
        <p:nvPicPr>
          <p:cNvPr id="5" name="Picture 14" descr="Intesa Sanpaolo Romania_logo"/>
          <p:cNvPicPr>
            <a:picLocks noChangeAspect="1" noChangeArrowheads="1"/>
          </p:cNvPicPr>
          <p:nvPr userDrawn="1"/>
        </p:nvPicPr>
        <p:blipFill>
          <a:blip r:embed="rId3"/>
          <a:srcRect b="40129"/>
          <a:stretch>
            <a:fillRect/>
          </a:stretch>
        </p:blipFill>
        <p:spPr bwMode="auto">
          <a:xfrm>
            <a:off x="238125" y="428625"/>
            <a:ext cx="5119688" cy="587375"/>
          </a:xfrm>
          <a:prstGeom prst="rect">
            <a:avLst/>
          </a:prstGeom>
          <a:noFill/>
          <a:ln w="9525">
            <a:noFill/>
            <a:miter lim="800000"/>
            <a:headEnd/>
            <a:tailEnd/>
          </a:ln>
        </p:spPr>
      </p:pic>
      <p:sp>
        <p:nvSpPr>
          <p:cNvPr id="3077" name="Segnaposto titolo 1"/>
          <p:cNvSpPr>
            <a:spLocks noGrp="1"/>
          </p:cNvSpPr>
          <p:nvPr>
            <p:ph type="ctrTitle"/>
          </p:nvPr>
        </p:nvSpPr>
        <p:spPr>
          <a:xfrm>
            <a:off x="292100" y="2133600"/>
            <a:ext cx="7129463" cy="1462088"/>
          </a:xfrm>
        </p:spPr>
        <p:txBody>
          <a:bodyPr/>
          <a:lstStyle>
            <a:lvl1pPr>
              <a:defRPr sz="2800"/>
            </a:lvl1pPr>
          </a:lstStyle>
          <a:p>
            <a:r>
              <a:rPr lang="en-GB"/>
              <a:t>Fare clic per modificare stile</a:t>
            </a:r>
          </a:p>
        </p:txBody>
      </p:sp>
      <p:sp>
        <p:nvSpPr>
          <p:cNvPr id="3078" name="Segnaposto testo 2"/>
          <p:cNvSpPr>
            <a:spLocks noGrp="1"/>
          </p:cNvSpPr>
          <p:nvPr>
            <p:ph type="subTitle" idx="1"/>
          </p:nvPr>
        </p:nvSpPr>
        <p:spPr>
          <a:xfrm>
            <a:off x="304800" y="4267200"/>
            <a:ext cx="7162800" cy="838200"/>
          </a:xfrm>
        </p:spPr>
        <p:txBody>
          <a:bodyPr/>
          <a:lstStyle>
            <a:lvl1pPr>
              <a:defRPr b="0"/>
            </a:lvl1pPr>
          </a:lstStyle>
          <a:p>
            <a:r>
              <a:rPr lang="en-GB"/>
              <a:t>Fare clic per modificare lo stile del sottotitolo dello schema</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5" name="Rectangle 17"/>
          <p:cNvSpPr>
            <a:spLocks noGrp="1" noChangeArrowheads="1"/>
          </p:cNvSpPr>
          <p:nvPr>
            <p:ph type="sldNum" sz="quarter" idx="11"/>
          </p:nvPr>
        </p:nvSpPr>
        <p:spPr>
          <a:ln/>
        </p:spPr>
        <p:txBody>
          <a:bodyPr/>
          <a:lstStyle>
            <a:lvl1pPr>
              <a:defRPr/>
            </a:lvl1pPr>
          </a:lstStyle>
          <a:p>
            <a:pPr>
              <a:defRPr/>
            </a:pPr>
            <a:fld id="{02A8103B-2856-437A-A6F9-46948F19D3A9}" type="slidenum">
              <a:rPr lang="en-GB"/>
              <a:pPr>
                <a:defRPr/>
              </a:pPr>
              <a:t>‹N›</a:t>
            </a:fld>
            <a:endParaRPr lang="en-GB"/>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5" name="Rectangle 17"/>
          <p:cNvSpPr>
            <a:spLocks noGrp="1" noChangeArrowheads="1"/>
          </p:cNvSpPr>
          <p:nvPr>
            <p:ph type="sldNum" sz="quarter" idx="11"/>
          </p:nvPr>
        </p:nvSpPr>
        <p:spPr>
          <a:ln/>
        </p:spPr>
        <p:txBody>
          <a:bodyPr/>
          <a:lstStyle>
            <a:lvl1pPr>
              <a:defRPr/>
            </a:lvl1pPr>
          </a:lstStyle>
          <a:p>
            <a:pPr>
              <a:defRPr/>
            </a:pPr>
            <a:fld id="{89148798-E4CF-44CB-AC9A-0358D43119E5}" type="slidenum">
              <a:rPr lang="en-GB"/>
              <a:pPr>
                <a:defRPr/>
              </a:pPr>
              <a:t>‹N›</a:t>
            </a:fld>
            <a:endParaRPr lang="en-GB"/>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03200" y="1042988"/>
            <a:ext cx="4300538" cy="4919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6138" y="1042988"/>
            <a:ext cx="4302125" cy="4919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6" name="Rectangle 17"/>
          <p:cNvSpPr>
            <a:spLocks noGrp="1" noChangeArrowheads="1"/>
          </p:cNvSpPr>
          <p:nvPr>
            <p:ph type="sldNum" sz="quarter" idx="11"/>
          </p:nvPr>
        </p:nvSpPr>
        <p:spPr>
          <a:ln/>
        </p:spPr>
        <p:txBody>
          <a:bodyPr/>
          <a:lstStyle>
            <a:lvl1pPr>
              <a:defRPr/>
            </a:lvl1pPr>
          </a:lstStyle>
          <a:p>
            <a:pPr>
              <a:defRPr/>
            </a:pPr>
            <a:fld id="{6BA2DE13-3E61-4B62-B60F-B5C97BDF6F5D}" type="slidenum">
              <a:rPr lang="en-GB"/>
              <a:pPr>
                <a:defRPr/>
              </a:pPr>
              <a:t>‹N›</a:t>
            </a:fld>
            <a:endParaRPr lang="en-GB"/>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8" name="Rectangle 17"/>
          <p:cNvSpPr>
            <a:spLocks noGrp="1" noChangeArrowheads="1"/>
          </p:cNvSpPr>
          <p:nvPr>
            <p:ph type="sldNum" sz="quarter" idx="11"/>
          </p:nvPr>
        </p:nvSpPr>
        <p:spPr>
          <a:ln/>
        </p:spPr>
        <p:txBody>
          <a:bodyPr/>
          <a:lstStyle>
            <a:lvl1pPr>
              <a:defRPr/>
            </a:lvl1pPr>
          </a:lstStyle>
          <a:p>
            <a:pPr>
              <a:defRPr/>
            </a:pPr>
            <a:fld id="{158B1420-5ADC-40AC-9724-7BD9909E0617}" type="slidenum">
              <a:rPr lang="en-GB"/>
              <a:pPr>
                <a:defRPr/>
              </a:pPr>
              <a:t>‹N›</a:t>
            </a:fld>
            <a:endParaRPr lang="en-GB"/>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4" name="Rectangle 17"/>
          <p:cNvSpPr>
            <a:spLocks noGrp="1" noChangeArrowheads="1"/>
          </p:cNvSpPr>
          <p:nvPr>
            <p:ph type="sldNum" sz="quarter" idx="11"/>
          </p:nvPr>
        </p:nvSpPr>
        <p:spPr>
          <a:ln/>
        </p:spPr>
        <p:txBody>
          <a:bodyPr/>
          <a:lstStyle>
            <a:lvl1pPr>
              <a:defRPr/>
            </a:lvl1pPr>
          </a:lstStyle>
          <a:p>
            <a:pPr>
              <a:defRPr/>
            </a:pPr>
            <a:fld id="{08FA46A8-233F-44F3-A49D-8062A12DB999}" type="slidenum">
              <a:rPr lang="en-GB"/>
              <a:pPr>
                <a:defRPr/>
              </a:pPr>
              <a:t>‹N›</a:t>
            </a:fld>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276763375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3" name="Rectangle 17"/>
          <p:cNvSpPr>
            <a:spLocks noGrp="1" noChangeArrowheads="1"/>
          </p:cNvSpPr>
          <p:nvPr>
            <p:ph type="sldNum" sz="quarter" idx="11"/>
          </p:nvPr>
        </p:nvSpPr>
        <p:spPr>
          <a:ln/>
        </p:spPr>
        <p:txBody>
          <a:bodyPr/>
          <a:lstStyle>
            <a:lvl1pPr>
              <a:defRPr/>
            </a:lvl1pPr>
          </a:lstStyle>
          <a:p>
            <a:pPr>
              <a:defRPr/>
            </a:pPr>
            <a:fld id="{73E1CBEC-9CC2-4514-9FC5-1D42F5B1E818}" type="slidenum">
              <a:rPr lang="en-GB"/>
              <a:pPr>
                <a:defRPr/>
              </a:pPr>
              <a:t>‹N›</a:t>
            </a:fld>
            <a:endParaRPr lang="en-GB"/>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6" name="Rectangle 17"/>
          <p:cNvSpPr>
            <a:spLocks noGrp="1" noChangeArrowheads="1"/>
          </p:cNvSpPr>
          <p:nvPr>
            <p:ph type="sldNum" sz="quarter" idx="11"/>
          </p:nvPr>
        </p:nvSpPr>
        <p:spPr>
          <a:ln/>
        </p:spPr>
        <p:txBody>
          <a:bodyPr/>
          <a:lstStyle>
            <a:lvl1pPr>
              <a:defRPr/>
            </a:lvl1pPr>
          </a:lstStyle>
          <a:p>
            <a:pPr>
              <a:defRPr/>
            </a:pPr>
            <a:fld id="{AB3A6760-8B13-4375-86B9-27524528E8AD}" type="slidenum">
              <a:rPr lang="en-GB"/>
              <a:pPr>
                <a:defRPr/>
              </a:pPr>
              <a:t>‹N›</a:t>
            </a:fld>
            <a:endParaRPr 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6" name="Rectangle 17"/>
          <p:cNvSpPr>
            <a:spLocks noGrp="1" noChangeArrowheads="1"/>
          </p:cNvSpPr>
          <p:nvPr>
            <p:ph type="sldNum" sz="quarter" idx="11"/>
          </p:nvPr>
        </p:nvSpPr>
        <p:spPr>
          <a:ln/>
        </p:spPr>
        <p:txBody>
          <a:bodyPr/>
          <a:lstStyle>
            <a:lvl1pPr>
              <a:defRPr/>
            </a:lvl1pPr>
          </a:lstStyle>
          <a:p>
            <a:pPr>
              <a:defRPr/>
            </a:pPr>
            <a:fld id="{15475368-3395-4766-8A5A-B7BFD691C460}" type="slidenum">
              <a:rPr lang="en-GB"/>
              <a:pPr>
                <a:defRPr/>
              </a:pPr>
              <a:t>‹N›</a:t>
            </a:fld>
            <a:endParaRPr lang="en-GB"/>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5" name="Rectangle 17"/>
          <p:cNvSpPr>
            <a:spLocks noGrp="1" noChangeArrowheads="1"/>
          </p:cNvSpPr>
          <p:nvPr>
            <p:ph type="sldNum" sz="quarter" idx="11"/>
          </p:nvPr>
        </p:nvSpPr>
        <p:spPr>
          <a:ln/>
        </p:spPr>
        <p:txBody>
          <a:bodyPr/>
          <a:lstStyle>
            <a:lvl1pPr>
              <a:defRPr/>
            </a:lvl1pPr>
          </a:lstStyle>
          <a:p>
            <a:pPr>
              <a:defRPr/>
            </a:pPr>
            <a:fld id="{58B6008C-B794-4FB9-AF75-598EF51F4B67}" type="slidenum">
              <a:rPr lang="en-GB"/>
              <a:pPr>
                <a:defRPr/>
              </a:pPr>
              <a:t>‹N›</a:t>
            </a:fld>
            <a:endParaRPr lang="en-GB"/>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9100" y="109538"/>
            <a:ext cx="2189163" cy="585311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00025" y="109538"/>
            <a:ext cx="6416675" cy="58531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
          <p:cNvSpPr>
            <a:spLocks noGrp="1" noChangeArrowheads="1"/>
          </p:cNvSpPr>
          <p:nvPr>
            <p:ph type="ftr" sz="quarter" idx="10"/>
          </p:nvPr>
        </p:nvSpPr>
        <p:spPr>
          <a:ln/>
        </p:spPr>
        <p:txBody>
          <a:bodyPr/>
          <a:lstStyle>
            <a:lvl1pPr>
              <a:defRPr/>
            </a:lvl1pPr>
          </a:lstStyle>
          <a:p>
            <a:pPr>
              <a:defRPr/>
            </a:pPr>
            <a:r>
              <a:rPr lang="en-GB"/>
              <a:t>Insert footnote or cancel text box</a:t>
            </a:r>
          </a:p>
        </p:txBody>
      </p:sp>
      <p:sp>
        <p:nvSpPr>
          <p:cNvPr id="5" name="Rectangle 17"/>
          <p:cNvSpPr>
            <a:spLocks noGrp="1" noChangeArrowheads="1"/>
          </p:cNvSpPr>
          <p:nvPr>
            <p:ph type="sldNum" sz="quarter" idx="11"/>
          </p:nvPr>
        </p:nvSpPr>
        <p:spPr>
          <a:ln/>
        </p:spPr>
        <p:txBody>
          <a:bodyPr/>
          <a:lstStyle>
            <a:lvl1pPr>
              <a:defRPr/>
            </a:lvl1pPr>
          </a:lstStyle>
          <a:p>
            <a:pPr>
              <a:defRPr/>
            </a:pPr>
            <a:fld id="{65747F3B-8AC9-4B39-B443-0A3472B54402}" type="slidenum">
              <a:rPr lang="en-GB"/>
              <a:pPr>
                <a:defRPr/>
              </a:pPr>
              <a:t>‹N›</a:t>
            </a:fld>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Tree>
    <p:extLst>
      <p:ext uri="{BB962C8B-B14F-4D97-AF65-F5344CB8AC3E}">
        <p14:creationId xmlns:p14="http://schemas.microsoft.com/office/powerpoint/2010/main" val="20388730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Tree>
    <p:extLst>
      <p:ext uri="{BB962C8B-B14F-4D97-AF65-F5344CB8AC3E}">
        <p14:creationId xmlns:p14="http://schemas.microsoft.com/office/powerpoint/2010/main" val="3853611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9403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val="15977443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Tree>
    <p:extLst>
      <p:ext uri="{BB962C8B-B14F-4D97-AF65-F5344CB8AC3E}">
        <p14:creationId xmlns:p14="http://schemas.microsoft.com/office/powerpoint/2010/main" val="38983880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3.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4.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3.jpe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5"/>
          <p:cNvSpPr>
            <a:spLocks noChangeArrowheads="1"/>
          </p:cNvSpPr>
          <p:nvPr/>
        </p:nvSpPr>
        <p:spPr bwMode="auto">
          <a:xfrm>
            <a:off x="522288" y="6262688"/>
            <a:ext cx="8369300" cy="47625"/>
          </a:xfrm>
          <a:prstGeom prst="rect">
            <a:avLst/>
          </a:prstGeom>
          <a:solidFill>
            <a:srgbClr val="FD6917"/>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spcBef>
                <a:spcPct val="50000"/>
              </a:spcBef>
            </a:pPr>
            <a:endParaRPr lang="en-US" sz="1600"/>
          </a:p>
        </p:txBody>
      </p:sp>
      <p:pic>
        <p:nvPicPr>
          <p:cNvPr id="1027" name="Picture 4" descr="C:\Documents and Settings\Ubi\Desktop\INTESA SANPAOLO febbraio dpr\Grafica statica\logo Intesa Sanpaolo.png"/>
          <p:cNvPicPr>
            <a:picLocks noChangeAspect="1" noChangeArrowheads="1"/>
          </p:cNvPicPr>
          <p:nvPr/>
        </p:nvPicPr>
        <p:blipFill>
          <a:blip r:embed="rId13">
            <a:lum bright="-10000" contrast="10000"/>
            <a:extLst>
              <a:ext uri="{28A0092B-C50C-407E-A947-70E740481C1C}">
                <a14:useLocalDpi xmlns:a14="http://schemas.microsoft.com/office/drawing/2010/main" val="0"/>
              </a:ext>
            </a:extLst>
          </a:blip>
          <a:srcRect/>
          <a:stretch>
            <a:fillRect/>
          </a:stretch>
        </p:blipFill>
        <p:spPr bwMode="auto">
          <a:xfrm>
            <a:off x="500063" y="6415088"/>
            <a:ext cx="2438400"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7"/>
          <p:cNvSpPr txBox="1">
            <a:spLocks noChangeArrowheads="1"/>
          </p:cNvSpPr>
          <p:nvPr/>
        </p:nvSpPr>
        <p:spPr>
          <a:xfrm>
            <a:off x="4087813" y="6451600"/>
            <a:ext cx="841375" cy="304800"/>
          </a:xfrm>
          <a:prstGeom prst="rect">
            <a:avLst/>
          </a:prstGeom>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defRPr/>
            </a:pPr>
            <a:fld id="{0EC30496-629C-4CDC-9BB7-9F7729B1B605}" type="slidenum">
              <a:rPr lang="it-IT" sz="1000" smtClean="0"/>
              <a:pPr algn="ctr">
                <a:spcBef>
                  <a:spcPct val="50000"/>
                </a:spcBef>
                <a:defRPr/>
              </a:pPr>
              <a:t>‹N›</a:t>
            </a:fld>
            <a:endParaRPr lang="it-IT" sz="1000" smtClean="0"/>
          </a:p>
        </p:txBody>
      </p:sp>
      <p:sp>
        <p:nvSpPr>
          <p:cNvPr id="1029" name="Rectangle 2"/>
          <p:cNvSpPr>
            <a:spLocks noGrp="1" noChangeArrowheads="1"/>
          </p:cNvSpPr>
          <p:nvPr>
            <p:ph type="title"/>
          </p:nvPr>
        </p:nvSpPr>
        <p:spPr bwMode="auto">
          <a:xfrm>
            <a:off x="533400" y="234950"/>
            <a:ext cx="83581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it-IT" smtClean="0"/>
              <a:t>Titolo</a:t>
            </a:r>
          </a:p>
        </p:txBody>
      </p:sp>
    </p:spTree>
  </p:cSld>
  <p:clrMap bg1="lt1" tx1="dk1" bg2="lt2" tx2="dk2" accent1="accent1" accent2="accent2" accent3="accent3" accent4="accent4" accent5="accent5" accent6="accent6" hlink="hlink" folHlink="folHlink"/>
  <p:sldLayoutIdLst>
    <p:sldLayoutId id="2147484687" r:id="rId1"/>
    <p:sldLayoutId id="2147484688" r:id="rId2"/>
    <p:sldLayoutId id="2147484689" r:id="rId3"/>
    <p:sldLayoutId id="2147484690" r:id="rId4"/>
    <p:sldLayoutId id="2147484691" r:id="rId5"/>
    <p:sldLayoutId id="2147484692" r:id="rId6"/>
    <p:sldLayoutId id="2147484693" r:id="rId7"/>
    <p:sldLayoutId id="2147484694" r:id="rId8"/>
    <p:sldLayoutId id="2147484695" r:id="rId9"/>
    <p:sldLayoutId id="2147484696" r:id="rId10"/>
    <p:sldLayoutId id="2147484697" r:id="rId11"/>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hf hdr="0" ftr="0" dt="0"/>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cs typeface="Arial" charset="0"/>
        </a:defRPr>
      </a:lvl2pPr>
      <a:lvl3pPr algn="l" rtl="0" eaLnBrk="0" fontAlgn="base" hangingPunct="0">
        <a:spcBef>
          <a:spcPct val="0"/>
        </a:spcBef>
        <a:spcAft>
          <a:spcPct val="0"/>
        </a:spcAft>
        <a:defRPr sz="2400">
          <a:solidFill>
            <a:schemeClr val="tx2"/>
          </a:solidFill>
          <a:latin typeface="Arial" charset="0"/>
          <a:cs typeface="Arial" charset="0"/>
        </a:defRPr>
      </a:lvl3pPr>
      <a:lvl4pPr algn="l" rtl="0" eaLnBrk="0" fontAlgn="base" hangingPunct="0">
        <a:spcBef>
          <a:spcPct val="0"/>
        </a:spcBef>
        <a:spcAft>
          <a:spcPct val="0"/>
        </a:spcAft>
        <a:defRPr sz="2400">
          <a:solidFill>
            <a:schemeClr val="tx2"/>
          </a:solidFill>
          <a:latin typeface="Arial" charset="0"/>
          <a:cs typeface="Arial" charset="0"/>
        </a:defRPr>
      </a:lvl4pPr>
      <a:lvl5pPr algn="l" rtl="0" eaLnBrk="0" fontAlgn="base" hangingPunct="0">
        <a:spcBef>
          <a:spcPct val="0"/>
        </a:spcBef>
        <a:spcAft>
          <a:spcPct val="0"/>
        </a:spcAft>
        <a:defRPr sz="2400">
          <a:solidFill>
            <a:schemeClr val="tx2"/>
          </a:solidFill>
          <a:latin typeface="Arial" charset="0"/>
          <a:cs typeface="Arial" charset="0"/>
        </a:defRPr>
      </a:lvl5pPr>
      <a:lvl6pPr marL="457200" algn="l" rtl="0" fontAlgn="base">
        <a:spcBef>
          <a:spcPct val="0"/>
        </a:spcBef>
        <a:spcAft>
          <a:spcPct val="0"/>
        </a:spcAft>
        <a:defRPr sz="2400">
          <a:solidFill>
            <a:schemeClr val="tx2"/>
          </a:solidFill>
          <a:latin typeface="Arial" charset="0"/>
          <a:cs typeface="Arial" charset="0"/>
        </a:defRPr>
      </a:lvl6pPr>
      <a:lvl7pPr marL="914400" algn="l" rtl="0" fontAlgn="base">
        <a:spcBef>
          <a:spcPct val="0"/>
        </a:spcBef>
        <a:spcAft>
          <a:spcPct val="0"/>
        </a:spcAft>
        <a:defRPr sz="2400">
          <a:solidFill>
            <a:schemeClr val="tx2"/>
          </a:solidFill>
          <a:latin typeface="Arial" charset="0"/>
          <a:cs typeface="Arial" charset="0"/>
        </a:defRPr>
      </a:lvl7pPr>
      <a:lvl8pPr marL="1371600" algn="l" rtl="0" fontAlgn="base">
        <a:spcBef>
          <a:spcPct val="0"/>
        </a:spcBef>
        <a:spcAft>
          <a:spcPct val="0"/>
        </a:spcAft>
        <a:defRPr sz="2400">
          <a:solidFill>
            <a:schemeClr val="tx2"/>
          </a:solidFill>
          <a:latin typeface="Arial" charset="0"/>
          <a:cs typeface="Arial" charset="0"/>
        </a:defRPr>
      </a:lvl8pPr>
      <a:lvl9pPr marL="1828800" algn="l" rtl="0" fontAlgn="base">
        <a:spcBef>
          <a:spcPct val="0"/>
        </a:spcBef>
        <a:spcAft>
          <a:spcPct val="0"/>
        </a:spcAft>
        <a:defRPr sz="2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23825" y="234950"/>
            <a:ext cx="8791575" cy="334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it-IT" smtClean="0"/>
              <a:t>Titolo</a:t>
            </a:r>
          </a:p>
        </p:txBody>
      </p:sp>
      <p:sp>
        <p:nvSpPr>
          <p:cNvPr id="2051" name="Rectangle 3"/>
          <p:cNvSpPr>
            <a:spLocks noGrp="1" noChangeArrowheads="1"/>
          </p:cNvSpPr>
          <p:nvPr>
            <p:ph type="body" idx="1"/>
          </p:nvPr>
        </p:nvSpPr>
        <p:spPr bwMode="auto">
          <a:xfrm>
            <a:off x="125413" y="1582738"/>
            <a:ext cx="8793162"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p>
        </p:txBody>
      </p:sp>
      <p:grpSp>
        <p:nvGrpSpPr>
          <p:cNvPr id="2052" name="McK Slide Elements"/>
          <p:cNvGrpSpPr>
            <a:grpSpLocks/>
          </p:cNvGrpSpPr>
          <p:nvPr/>
        </p:nvGrpSpPr>
        <p:grpSpPr bwMode="auto">
          <a:xfrm>
            <a:off x="-44450" y="995363"/>
            <a:ext cx="8963025" cy="5461000"/>
            <a:chOff x="-26" y="615"/>
            <a:chExt cx="5532" cy="3371"/>
          </a:xfrm>
        </p:grpSpPr>
        <p:sp>
          <p:nvSpPr>
            <p:cNvPr id="381957" name="McK Measure" hidden="1"/>
            <p:cNvSpPr txBox="1">
              <a:spLocks noChangeArrowheads="1"/>
            </p:cNvSpPr>
            <p:nvPr userDrawn="1"/>
          </p:nvSpPr>
          <p:spPr bwMode="auto">
            <a:xfrm>
              <a:off x="77" y="615"/>
              <a:ext cx="5429"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12813">
                <a:defRPr>
                  <a:solidFill>
                    <a:schemeClr val="tx1"/>
                  </a:solidFill>
                  <a:latin typeface="Arial" charset="0"/>
                </a:defRPr>
              </a:lvl1pPr>
              <a:lvl2pPr defTabSz="912813">
                <a:defRPr>
                  <a:solidFill>
                    <a:schemeClr val="tx1"/>
                  </a:solidFill>
                  <a:latin typeface="Arial" charset="0"/>
                </a:defRPr>
              </a:lvl2pPr>
              <a:lvl3pPr marL="912813" defTabSz="912813">
                <a:defRPr>
                  <a:solidFill>
                    <a:schemeClr val="tx1"/>
                  </a:solidFill>
                  <a:latin typeface="Arial" charset="0"/>
                </a:defRPr>
              </a:lvl3pPr>
              <a:lvl4pPr defTabSz="912813">
                <a:defRPr>
                  <a:solidFill>
                    <a:schemeClr val="tx1"/>
                  </a:solidFill>
                  <a:latin typeface="Arial" charset="0"/>
                </a:defRPr>
              </a:lvl4pPr>
              <a:lvl5pPr defTabSz="912813">
                <a:defRPr>
                  <a:solidFill>
                    <a:schemeClr val="tx1"/>
                  </a:solidFill>
                  <a:latin typeface="Arial" charset="0"/>
                </a:defRPr>
              </a:lvl5pPr>
              <a:lvl6pPr defTabSz="912813" fontAlgn="base">
                <a:spcBef>
                  <a:spcPct val="0"/>
                </a:spcBef>
                <a:spcAft>
                  <a:spcPct val="0"/>
                </a:spcAft>
                <a:defRPr>
                  <a:solidFill>
                    <a:schemeClr val="tx1"/>
                  </a:solidFill>
                  <a:latin typeface="Arial" charset="0"/>
                </a:defRPr>
              </a:lvl6pPr>
              <a:lvl7pPr defTabSz="912813" fontAlgn="base">
                <a:spcBef>
                  <a:spcPct val="0"/>
                </a:spcBef>
                <a:spcAft>
                  <a:spcPct val="0"/>
                </a:spcAft>
                <a:defRPr>
                  <a:solidFill>
                    <a:schemeClr val="tx1"/>
                  </a:solidFill>
                  <a:latin typeface="Arial" charset="0"/>
                </a:defRPr>
              </a:lvl7pPr>
              <a:lvl8pPr defTabSz="912813" fontAlgn="base">
                <a:spcBef>
                  <a:spcPct val="0"/>
                </a:spcBef>
                <a:spcAft>
                  <a:spcPct val="0"/>
                </a:spcAft>
                <a:defRPr>
                  <a:solidFill>
                    <a:schemeClr val="tx1"/>
                  </a:solidFill>
                  <a:latin typeface="Arial" charset="0"/>
                </a:defRPr>
              </a:lvl8pPr>
              <a:lvl9pPr defTabSz="912813" fontAlgn="base">
                <a:spcBef>
                  <a:spcPct val="0"/>
                </a:spcBef>
                <a:spcAft>
                  <a:spcPct val="0"/>
                </a:spcAft>
                <a:defRPr>
                  <a:solidFill>
                    <a:schemeClr val="tx1"/>
                  </a:solidFill>
                  <a:latin typeface="Arial" charset="0"/>
                </a:defRPr>
              </a:lvl9pPr>
            </a:lstStyle>
            <a:p>
              <a:pPr>
                <a:defRPr/>
              </a:pPr>
              <a:r>
                <a:rPr lang="it-IT" smtClean="0">
                  <a:solidFill>
                    <a:schemeClr val="accent2"/>
                  </a:solidFill>
                  <a:cs typeface="+mn-cs"/>
                </a:rPr>
                <a:t>Unità di misura</a:t>
              </a:r>
            </a:p>
          </p:txBody>
        </p:sp>
        <p:sp>
          <p:nvSpPr>
            <p:cNvPr id="381958" name="McK Footnote" hidden="1"/>
            <p:cNvSpPr txBox="1">
              <a:spLocks noChangeArrowheads="1"/>
            </p:cNvSpPr>
            <p:nvPr userDrawn="1"/>
          </p:nvSpPr>
          <p:spPr bwMode="auto">
            <a:xfrm>
              <a:off x="-26" y="3797"/>
              <a:ext cx="5145" cy="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585788" indent="-585788" defTabSz="912813">
                <a:tabLst>
                  <a:tab pos="544513" algn="r"/>
                </a:tabLst>
                <a:defRPr>
                  <a:solidFill>
                    <a:schemeClr val="tx1"/>
                  </a:solidFill>
                  <a:latin typeface="Arial" charset="0"/>
                </a:defRPr>
              </a:lvl1pPr>
              <a:lvl2pPr marL="1052513" defTabSz="912813">
                <a:tabLst>
                  <a:tab pos="544513" algn="r"/>
                </a:tabLst>
                <a:defRPr>
                  <a:solidFill>
                    <a:schemeClr val="tx1"/>
                  </a:solidFill>
                  <a:latin typeface="Arial" charset="0"/>
                </a:defRPr>
              </a:lvl2pPr>
              <a:lvl3pPr marL="1243013" defTabSz="912813">
                <a:tabLst>
                  <a:tab pos="544513" algn="r"/>
                </a:tabLst>
                <a:defRPr>
                  <a:solidFill>
                    <a:schemeClr val="tx1"/>
                  </a:solidFill>
                  <a:latin typeface="Arial" charset="0"/>
                </a:defRPr>
              </a:lvl3pPr>
              <a:lvl4pPr marL="1433513" defTabSz="912813">
                <a:tabLst>
                  <a:tab pos="544513" algn="r"/>
                </a:tabLst>
                <a:defRPr>
                  <a:solidFill>
                    <a:schemeClr val="tx1"/>
                  </a:solidFill>
                  <a:latin typeface="Arial" charset="0"/>
                </a:defRPr>
              </a:lvl4pPr>
              <a:lvl5pPr defTabSz="912813">
                <a:tabLst>
                  <a:tab pos="544513" algn="r"/>
                </a:tabLst>
                <a:defRPr>
                  <a:solidFill>
                    <a:schemeClr val="tx1"/>
                  </a:solidFill>
                  <a:latin typeface="Arial" charset="0"/>
                </a:defRPr>
              </a:lvl5pPr>
              <a:lvl6pPr defTabSz="912813" fontAlgn="base">
                <a:spcBef>
                  <a:spcPct val="0"/>
                </a:spcBef>
                <a:spcAft>
                  <a:spcPct val="0"/>
                </a:spcAft>
                <a:tabLst>
                  <a:tab pos="544513" algn="r"/>
                </a:tabLst>
                <a:defRPr>
                  <a:solidFill>
                    <a:schemeClr val="tx1"/>
                  </a:solidFill>
                  <a:latin typeface="Arial" charset="0"/>
                </a:defRPr>
              </a:lvl6pPr>
              <a:lvl7pPr defTabSz="912813" fontAlgn="base">
                <a:spcBef>
                  <a:spcPct val="0"/>
                </a:spcBef>
                <a:spcAft>
                  <a:spcPct val="0"/>
                </a:spcAft>
                <a:tabLst>
                  <a:tab pos="544513" algn="r"/>
                </a:tabLst>
                <a:defRPr>
                  <a:solidFill>
                    <a:schemeClr val="tx1"/>
                  </a:solidFill>
                  <a:latin typeface="Arial" charset="0"/>
                </a:defRPr>
              </a:lvl7pPr>
              <a:lvl8pPr defTabSz="912813" fontAlgn="base">
                <a:spcBef>
                  <a:spcPct val="0"/>
                </a:spcBef>
                <a:spcAft>
                  <a:spcPct val="0"/>
                </a:spcAft>
                <a:tabLst>
                  <a:tab pos="544513" algn="r"/>
                </a:tabLst>
                <a:defRPr>
                  <a:solidFill>
                    <a:schemeClr val="tx1"/>
                  </a:solidFill>
                  <a:latin typeface="Arial" charset="0"/>
                </a:defRPr>
              </a:lvl8pPr>
              <a:lvl9pPr defTabSz="912813" fontAlgn="base">
                <a:spcBef>
                  <a:spcPct val="0"/>
                </a:spcBef>
                <a:spcAft>
                  <a:spcPct val="0"/>
                </a:spcAft>
                <a:tabLst>
                  <a:tab pos="544513" algn="r"/>
                </a:tabLst>
                <a:defRPr>
                  <a:solidFill>
                    <a:schemeClr val="tx1"/>
                  </a:solidFill>
                  <a:latin typeface="Arial" charset="0"/>
                </a:defRPr>
              </a:lvl9pPr>
            </a:lstStyle>
            <a:p>
              <a:pPr>
                <a:defRPr/>
              </a:pPr>
              <a:r>
                <a:rPr lang="it-IT" sz="900" i="1" smtClean="0">
                  <a:solidFill>
                    <a:srgbClr val="000000"/>
                  </a:solidFill>
                  <a:cs typeface="+mn-cs"/>
                </a:rPr>
                <a:t>	(1)	Asterisco</a:t>
              </a:r>
            </a:p>
            <a:p>
              <a:pPr>
                <a:spcBef>
                  <a:spcPct val="20000"/>
                </a:spcBef>
                <a:defRPr/>
              </a:pPr>
              <a:r>
                <a:rPr lang="it-IT" sz="900" i="1" smtClean="0">
                  <a:solidFill>
                    <a:srgbClr val="000000"/>
                  </a:solidFill>
                  <a:cs typeface="+mn-cs"/>
                </a:rPr>
                <a:t>	Fonte:	Fonte</a:t>
              </a:r>
            </a:p>
          </p:txBody>
        </p:sp>
      </p:grpSp>
      <p:sp>
        <p:nvSpPr>
          <p:cNvPr id="2053" name="pg num"/>
          <p:cNvSpPr>
            <a:spLocks noChangeArrowheads="1"/>
          </p:cNvSpPr>
          <p:nvPr/>
        </p:nvSpPr>
        <p:spPr bwMode="auto">
          <a:xfrm>
            <a:off x="4437063" y="6497638"/>
            <a:ext cx="26193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gn="ctr" defTabSz="912813"/>
            <a:fld id="{7B22C591-6F47-400E-8B4D-3E1CFF7EABE8}" type="slidenum">
              <a:rPr lang="en-US" sz="1000"/>
              <a:pPr algn="ctr" defTabSz="912813"/>
              <a:t>‹N›</a:t>
            </a:fld>
            <a:endParaRPr lang="en-US" sz="1000"/>
          </a:p>
        </p:txBody>
      </p:sp>
      <p:sp>
        <p:nvSpPr>
          <p:cNvPr id="2054" name="AcnStamp_ID_145426" hidden="1"/>
          <p:cNvSpPr>
            <a:spLocks noChangeArrowheads="1"/>
          </p:cNvSpPr>
          <p:nvPr>
            <p:custDataLst>
              <p:tags r:id="rId13"/>
            </p:custDataLst>
          </p:nvPr>
        </p:nvSpPr>
        <p:spPr bwMode="gray">
          <a:xfrm>
            <a:off x="7602538" y="1387475"/>
            <a:ext cx="1312862" cy="263525"/>
          </a:xfrm>
          <a:prstGeom prst="leftRightArrow">
            <a:avLst>
              <a:gd name="adj1" fmla="val 100000"/>
              <a:gd name="adj2" fmla="val 0"/>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5400" rIns="0" bIns="25400">
            <a:spAutoFit/>
          </a:bodyPr>
          <a:lstStyle/>
          <a:p>
            <a:pPr algn="r" defTabSz="709613" eaLnBrk="0" hangingPunct="0">
              <a:buClr>
                <a:schemeClr val="tx1"/>
              </a:buClr>
              <a:buFont typeface="Wingdings" pitchFamily="2" charset="2"/>
              <a:buNone/>
            </a:pPr>
            <a:r>
              <a:rPr lang="it-IT" sz="1400" b="1"/>
              <a:t>MASTER STAMP</a:t>
            </a:r>
          </a:p>
        </p:txBody>
      </p:sp>
      <p:cxnSp>
        <p:nvCxnSpPr>
          <p:cNvPr id="2055" name="AcnStpConnector_ID_145427" hidden="1"/>
          <p:cNvCxnSpPr>
            <a:cxnSpLocks noChangeShapeType="1"/>
            <a:stCxn id="2054" idx="2"/>
            <a:endCxn id="2054" idx="0"/>
          </p:cNvCxnSpPr>
          <p:nvPr>
            <p:custDataLst>
              <p:tags r:id="rId14"/>
            </p:custDataLst>
          </p:nvPr>
        </p:nvCxnSpPr>
        <p:spPr bwMode="gray">
          <a:xfrm>
            <a:off x="7602538" y="1387475"/>
            <a:ext cx="1312862" cy="0"/>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2056" name="AcnStpConnector_ID_145428" hidden="1"/>
          <p:cNvCxnSpPr>
            <a:cxnSpLocks noChangeShapeType="1"/>
            <a:stCxn id="2054" idx="4"/>
            <a:endCxn id="2054" idx="6"/>
          </p:cNvCxnSpPr>
          <p:nvPr>
            <p:custDataLst>
              <p:tags r:id="rId15"/>
            </p:custDataLst>
          </p:nvPr>
        </p:nvCxnSpPr>
        <p:spPr bwMode="gray">
          <a:xfrm>
            <a:off x="7602538" y="1651000"/>
            <a:ext cx="1312862" cy="0"/>
          </a:xfrm>
          <a:prstGeom prst="straightConnector1">
            <a:avLst/>
          </a:prstGeom>
          <a:noFill/>
          <a:ln w="9525">
            <a:solidFill>
              <a:srgbClr val="000000"/>
            </a:solidFill>
            <a:round/>
            <a:headEnd/>
            <a:tailEnd/>
          </a:ln>
          <a:extLst>
            <a:ext uri="{909E8E84-426E-40DD-AFC4-6F175D3DCCD1}">
              <a14:hiddenFill xmlns:a14="http://schemas.microsoft.com/office/drawing/2010/main">
                <a:noFill/>
              </a14:hiddenFill>
            </a:ext>
          </a:extLst>
        </p:spPr>
      </p:cxnSp>
      <p:sp>
        <p:nvSpPr>
          <p:cNvPr id="2057" name="Rectangle 11"/>
          <p:cNvSpPr>
            <a:spLocks noChangeArrowheads="1"/>
          </p:cNvSpPr>
          <p:nvPr/>
        </p:nvSpPr>
        <p:spPr bwMode="auto">
          <a:xfrm>
            <a:off x="701675" y="6308725"/>
            <a:ext cx="8010525" cy="44450"/>
          </a:xfrm>
          <a:prstGeom prst="rect">
            <a:avLst/>
          </a:prstGeom>
          <a:solidFill>
            <a:srgbClr val="FD6917"/>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2058" name="Picture 4" descr="C:\Documents and Settings\Ubi\Desktop\INTESA SANPAOLO febbraio dpr\Grafica statica\logo Intesa Sanpaolo.png"/>
          <p:cNvPicPr>
            <a:picLocks noChangeAspect="1" noChangeArrowheads="1"/>
          </p:cNvPicPr>
          <p:nvPr/>
        </p:nvPicPr>
        <p:blipFill>
          <a:blip r:embed="rId16">
            <a:lum bright="-10000" contrast="10000"/>
            <a:extLst>
              <a:ext uri="{28A0092B-C50C-407E-A947-70E740481C1C}">
                <a14:useLocalDpi xmlns:a14="http://schemas.microsoft.com/office/drawing/2010/main" val="0"/>
              </a:ext>
            </a:extLst>
          </a:blip>
          <a:srcRect/>
          <a:stretch>
            <a:fillRect/>
          </a:stretch>
        </p:blipFill>
        <p:spPr bwMode="auto">
          <a:xfrm>
            <a:off x="500063" y="6415088"/>
            <a:ext cx="2438400"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713" r:id="rId1"/>
    <p:sldLayoutId id="2147484698" r:id="rId2"/>
    <p:sldLayoutId id="2147484699" r:id="rId3"/>
    <p:sldLayoutId id="2147484700" r:id="rId4"/>
    <p:sldLayoutId id="2147484701" r:id="rId5"/>
    <p:sldLayoutId id="2147484702" r:id="rId6"/>
    <p:sldLayoutId id="2147484703" r:id="rId7"/>
    <p:sldLayoutId id="2147484704" r:id="rId8"/>
    <p:sldLayoutId id="2147484705" r:id="rId9"/>
    <p:sldLayoutId id="2147484706" r:id="rId10"/>
    <p:sldLayoutId id="2147484707" r:id="rId11"/>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2813" rtl="0" eaLnBrk="0" fontAlgn="base" hangingPunct="0">
        <a:spcBef>
          <a:spcPct val="0"/>
        </a:spcBef>
        <a:spcAft>
          <a:spcPct val="0"/>
        </a:spcAft>
        <a:defRPr sz="2200" b="1">
          <a:solidFill>
            <a:schemeClr val="tx1"/>
          </a:solidFill>
          <a:latin typeface="+mj-lt"/>
          <a:ea typeface="+mj-ea"/>
          <a:cs typeface="+mj-cs"/>
        </a:defRPr>
      </a:lvl1pPr>
      <a:lvl2pPr algn="l" defTabSz="912813" rtl="0" eaLnBrk="0" fontAlgn="base" hangingPunct="0">
        <a:spcBef>
          <a:spcPct val="0"/>
        </a:spcBef>
        <a:spcAft>
          <a:spcPct val="0"/>
        </a:spcAft>
        <a:defRPr sz="2200" b="1">
          <a:solidFill>
            <a:schemeClr val="tx1"/>
          </a:solidFill>
          <a:latin typeface="Arial" charset="0"/>
        </a:defRPr>
      </a:lvl2pPr>
      <a:lvl3pPr algn="l" defTabSz="912813" rtl="0" eaLnBrk="0" fontAlgn="base" hangingPunct="0">
        <a:spcBef>
          <a:spcPct val="0"/>
        </a:spcBef>
        <a:spcAft>
          <a:spcPct val="0"/>
        </a:spcAft>
        <a:defRPr sz="2200" b="1">
          <a:solidFill>
            <a:schemeClr val="tx1"/>
          </a:solidFill>
          <a:latin typeface="Arial" charset="0"/>
        </a:defRPr>
      </a:lvl3pPr>
      <a:lvl4pPr algn="l" defTabSz="912813" rtl="0" eaLnBrk="0" fontAlgn="base" hangingPunct="0">
        <a:spcBef>
          <a:spcPct val="0"/>
        </a:spcBef>
        <a:spcAft>
          <a:spcPct val="0"/>
        </a:spcAft>
        <a:defRPr sz="2200" b="1">
          <a:solidFill>
            <a:schemeClr val="tx1"/>
          </a:solidFill>
          <a:latin typeface="Arial" charset="0"/>
        </a:defRPr>
      </a:lvl4pPr>
      <a:lvl5pPr algn="l" defTabSz="912813" rtl="0" eaLnBrk="0" fontAlgn="base" hangingPunct="0">
        <a:spcBef>
          <a:spcPct val="0"/>
        </a:spcBef>
        <a:spcAft>
          <a:spcPct val="0"/>
        </a:spcAft>
        <a:defRPr sz="2200" b="1">
          <a:solidFill>
            <a:schemeClr val="tx1"/>
          </a:solidFill>
          <a:latin typeface="Arial" charset="0"/>
        </a:defRPr>
      </a:lvl5pPr>
      <a:lvl6pPr marL="457200" algn="l" defTabSz="912813" rtl="0" fontAlgn="base">
        <a:spcBef>
          <a:spcPct val="0"/>
        </a:spcBef>
        <a:spcAft>
          <a:spcPct val="0"/>
        </a:spcAft>
        <a:defRPr sz="2200" b="1">
          <a:solidFill>
            <a:schemeClr val="tx1"/>
          </a:solidFill>
          <a:latin typeface="Arial" charset="0"/>
        </a:defRPr>
      </a:lvl6pPr>
      <a:lvl7pPr marL="914400" algn="l" defTabSz="912813" rtl="0" fontAlgn="base">
        <a:spcBef>
          <a:spcPct val="0"/>
        </a:spcBef>
        <a:spcAft>
          <a:spcPct val="0"/>
        </a:spcAft>
        <a:defRPr sz="2200" b="1">
          <a:solidFill>
            <a:schemeClr val="tx1"/>
          </a:solidFill>
          <a:latin typeface="Arial" charset="0"/>
        </a:defRPr>
      </a:lvl7pPr>
      <a:lvl8pPr marL="1371600" algn="l" defTabSz="912813" rtl="0" fontAlgn="base">
        <a:spcBef>
          <a:spcPct val="0"/>
        </a:spcBef>
        <a:spcAft>
          <a:spcPct val="0"/>
        </a:spcAft>
        <a:defRPr sz="2200" b="1">
          <a:solidFill>
            <a:schemeClr val="tx1"/>
          </a:solidFill>
          <a:latin typeface="Arial" charset="0"/>
        </a:defRPr>
      </a:lvl8pPr>
      <a:lvl9pPr marL="1828800" algn="l" defTabSz="912813" rtl="0" fontAlgn="base">
        <a:spcBef>
          <a:spcPct val="0"/>
        </a:spcBef>
        <a:spcAft>
          <a:spcPct val="0"/>
        </a:spcAft>
        <a:defRPr sz="2200" b="1">
          <a:solidFill>
            <a:schemeClr val="tx1"/>
          </a:solidFill>
          <a:latin typeface="Arial" charset="0"/>
        </a:defRPr>
      </a:lvl9pPr>
    </p:titleStyle>
    <p:bodyStyle>
      <a:lvl1pPr marL="342900" indent="-342900" algn="l" defTabSz="931863" rtl="0" eaLnBrk="0" fontAlgn="base" hangingPunct="0">
        <a:spcBef>
          <a:spcPct val="0"/>
        </a:spcBef>
        <a:spcAft>
          <a:spcPct val="0"/>
        </a:spcAft>
        <a:buSzPct val="120000"/>
        <a:defRPr sz="1600">
          <a:solidFill>
            <a:schemeClr val="tx1"/>
          </a:solidFill>
          <a:latin typeface="+mn-lt"/>
          <a:ea typeface="+mn-ea"/>
          <a:cs typeface="+mn-cs"/>
        </a:defRPr>
      </a:lvl1pPr>
      <a:lvl2pPr marL="198438" indent="-187325" algn="l" defTabSz="931863" rtl="0" eaLnBrk="0" fontAlgn="base" hangingPunct="0">
        <a:spcBef>
          <a:spcPct val="0"/>
        </a:spcBef>
        <a:spcAft>
          <a:spcPct val="0"/>
        </a:spcAft>
        <a:buClr>
          <a:srgbClr val="FF4215"/>
        </a:buClr>
        <a:buFont typeface="Wingdings" pitchFamily="2" charset="2"/>
        <a:buChar char="n"/>
        <a:defRPr sz="1600">
          <a:solidFill>
            <a:schemeClr val="tx1"/>
          </a:solidFill>
          <a:latin typeface="+mn-lt"/>
        </a:defRPr>
      </a:lvl2pPr>
      <a:lvl3pPr marL="355600" indent="-153988" algn="l" defTabSz="931863" rtl="0" eaLnBrk="0" fontAlgn="base" hangingPunct="0">
        <a:spcBef>
          <a:spcPct val="0"/>
        </a:spcBef>
        <a:spcAft>
          <a:spcPct val="0"/>
        </a:spcAft>
        <a:buClr>
          <a:srgbClr val="FF4215"/>
        </a:buClr>
        <a:buSzPct val="75000"/>
        <a:buFont typeface="Wingdings" pitchFamily="2" charset="2"/>
        <a:buChar char="n"/>
        <a:defRPr sz="1600">
          <a:solidFill>
            <a:schemeClr val="tx1"/>
          </a:solidFill>
          <a:latin typeface="+mn-lt"/>
        </a:defRPr>
      </a:lvl3pPr>
      <a:lvl4pPr marL="498475" indent="-141288" algn="l" defTabSz="931863" rtl="0" eaLnBrk="0" fontAlgn="base" hangingPunct="0">
        <a:spcBef>
          <a:spcPct val="0"/>
        </a:spcBef>
        <a:spcAft>
          <a:spcPct val="0"/>
        </a:spcAft>
        <a:buClr>
          <a:srgbClr val="FF4215"/>
        </a:buClr>
        <a:buFont typeface="Arial" charset="0"/>
        <a:buChar char="–"/>
        <a:defRPr sz="1600">
          <a:solidFill>
            <a:schemeClr val="tx1"/>
          </a:solidFill>
          <a:latin typeface="+mn-lt"/>
        </a:defRPr>
      </a:lvl4pPr>
      <a:lvl5pPr marL="655638" indent="-155575" algn="l" defTabSz="931863" rtl="0" eaLnBrk="0" fontAlgn="base" hangingPunct="0">
        <a:spcBef>
          <a:spcPct val="0"/>
        </a:spcBef>
        <a:spcAft>
          <a:spcPct val="0"/>
        </a:spcAft>
        <a:buClr>
          <a:srgbClr val="FF4215"/>
        </a:buClr>
        <a:buFont typeface="Arial" charset="0"/>
        <a:buChar char="•"/>
        <a:defRPr sz="1600">
          <a:solidFill>
            <a:schemeClr val="tx1"/>
          </a:solidFill>
          <a:latin typeface="+mn-lt"/>
        </a:defRPr>
      </a:lvl5pPr>
      <a:lvl6pPr marL="1112838" indent="-155575" algn="l" defTabSz="931863" rtl="0" fontAlgn="base">
        <a:spcBef>
          <a:spcPct val="0"/>
        </a:spcBef>
        <a:spcAft>
          <a:spcPct val="0"/>
        </a:spcAft>
        <a:buClr>
          <a:srgbClr val="FF4215"/>
        </a:buClr>
        <a:buFont typeface="Arial" charset="0"/>
        <a:buChar char="•"/>
        <a:defRPr sz="1600">
          <a:solidFill>
            <a:schemeClr val="tx1"/>
          </a:solidFill>
          <a:latin typeface="+mn-lt"/>
        </a:defRPr>
      </a:lvl6pPr>
      <a:lvl7pPr marL="1570038" indent="-155575" algn="l" defTabSz="931863" rtl="0" fontAlgn="base">
        <a:spcBef>
          <a:spcPct val="0"/>
        </a:spcBef>
        <a:spcAft>
          <a:spcPct val="0"/>
        </a:spcAft>
        <a:buClr>
          <a:srgbClr val="FF4215"/>
        </a:buClr>
        <a:buFont typeface="Arial" charset="0"/>
        <a:buChar char="•"/>
        <a:defRPr sz="1600">
          <a:solidFill>
            <a:schemeClr val="tx1"/>
          </a:solidFill>
          <a:latin typeface="+mn-lt"/>
        </a:defRPr>
      </a:lvl7pPr>
      <a:lvl8pPr marL="2027238" indent="-155575" algn="l" defTabSz="931863" rtl="0" fontAlgn="base">
        <a:spcBef>
          <a:spcPct val="0"/>
        </a:spcBef>
        <a:spcAft>
          <a:spcPct val="0"/>
        </a:spcAft>
        <a:buClr>
          <a:srgbClr val="FF4215"/>
        </a:buClr>
        <a:buFont typeface="Arial" charset="0"/>
        <a:buChar char="•"/>
        <a:defRPr sz="1600">
          <a:solidFill>
            <a:schemeClr val="tx1"/>
          </a:solidFill>
          <a:latin typeface="+mn-lt"/>
        </a:defRPr>
      </a:lvl8pPr>
      <a:lvl9pPr marL="2484438" indent="-155575" algn="l" defTabSz="931863" rtl="0" fontAlgn="base">
        <a:spcBef>
          <a:spcPct val="0"/>
        </a:spcBef>
        <a:spcAft>
          <a:spcPct val="0"/>
        </a:spcAft>
        <a:buClr>
          <a:srgbClr val="FF4215"/>
        </a:buClr>
        <a:buFont typeface="Arial" charset="0"/>
        <a:buChar char="•"/>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 descr="C:\Users\Fadrique\AppData\Local\Temp\wzfdd0\ISP_Linea Orizzontale\ISP_lineaOrizz.jpg"/>
          <p:cNvPicPr>
            <a:picLocks noChangeAspect="1" noChangeArrowheads="1"/>
          </p:cNvPicPr>
          <p:nvPr/>
        </p:nvPicPr>
        <p:blipFill>
          <a:blip r:embed="rId13"/>
          <a:srcRect/>
          <a:stretch>
            <a:fillRect/>
          </a:stretch>
        </p:blipFill>
        <p:spPr bwMode="auto">
          <a:xfrm>
            <a:off x="209550" y="6076950"/>
            <a:ext cx="8639175" cy="161925"/>
          </a:xfrm>
          <a:prstGeom prst="rect">
            <a:avLst/>
          </a:prstGeom>
          <a:noFill/>
          <a:ln w="9525">
            <a:noFill/>
            <a:miter lim="800000"/>
            <a:headEnd/>
            <a:tailEnd/>
          </a:ln>
        </p:spPr>
      </p:pic>
      <p:sp>
        <p:nvSpPr>
          <p:cNvPr id="1027" name="Segnaposto titolo 1"/>
          <p:cNvSpPr>
            <a:spLocks noGrp="1"/>
          </p:cNvSpPr>
          <p:nvPr>
            <p:ph type="title"/>
          </p:nvPr>
        </p:nvSpPr>
        <p:spPr bwMode="auto">
          <a:xfrm>
            <a:off x="200025" y="109538"/>
            <a:ext cx="8755063" cy="7143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Fare clic per modificare stile</a:t>
            </a:r>
          </a:p>
        </p:txBody>
      </p:sp>
      <p:sp>
        <p:nvSpPr>
          <p:cNvPr id="1028" name="Segnaposto testo 2"/>
          <p:cNvSpPr>
            <a:spLocks noGrp="1"/>
          </p:cNvSpPr>
          <p:nvPr>
            <p:ph type="body" idx="1"/>
          </p:nvPr>
        </p:nvSpPr>
        <p:spPr bwMode="auto">
          <a:xfrm>
            <a:off x="203200" y="1042988"/>
            <a:ext cx="8755063" cy="49196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Fare clic per modificare gli stili del testo dello schema</a:t>
            </a:r>
          </a:p>
          <a:p>
            <a:pPr lvl="1"/>
            <a:r>
              <a:rPr lang="en-GB" smtClean="0"/>
              <a:t>Secondo livello</a:t>
            </a:r>
          </a:p>
          <a:p>
            <a:pPr lvl="2"/>
            <a:r>
              <a:rPr lang="en-GB" smtClean="0"/>
              <a:t>Terzo livello</a:t>
            </a:r>
          </a:p>
          <a:p>
            <a:pPr lvl="3"/>
            <a:r>
              <a:rPr lang="en-GB" smtClean="0"/>
              <a:t>Quarto livello</a:t>
            </a:r>
          </a:p>
          <a:p>
            <a:pPr lvl="4"/>
            <a:r>
              <a:rPr lang="en-GB" smtClean="0"/>
              <a:t>Quinto livello</a:t>
            </a:r>
          </a:p>
        </p:txBody>
      </p:sp>
      <p:sp>
        <p:nvSpPr>
          <p:cNvPr id="1040" name="Rectangle 16"/>
          <p:cNvSpPr>
            <a:spLocks noGrp="1" noChangeArrowheads="1"/>
          </p:cNvSpPr>
          <p:nvPr>
            <p:ph type="ftr" sz="quarter" idx="3"/>
          </p:nvPr>
        </p:nvSpPr>
        <p:spPr bwMode="auto">
          <a:xfrm>
            <a:off x="250825" y="5703888"/>
            <a:ext cx="5976938" cy="31273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defRPr sz="1000"/>
            </a:lvl1pPr>
          </a:lstStyle>
          <a:p>
            <a:pPr>
              <a:defRPr/>
            </a:pPr>
            <a:r>
              <a:rPr lang="en-GB"/>
              <a:t>Insert footnote or cancel text box</a:t>
            </a:r>
          </a:p>
        </p:txBody>
      </p:sp>
      <p:sp>
        <p:nvSpPr>
          <p:cNvPr id="1041" name="Rectangle 17"/>
          <p:cNvSpPr>
            <a:spLocks noGrp="1" noChangeArrowheads="1"/>
          </p:cNvSpPr>
          <p:nvPr>
            <p:ph type="sldNum" sz="quarter" idx="4"/>
          </p:nvPr>
        </p:nvSpPr>
        <p:spPr bwMode="auto">
          <a:xfrm>
            <a:off x="4191000" y="6310313"/>
            <a:ext cx="762000"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a:defRPr sz="1000"/>
            </a:lvl1pPr>
          </a:lstStyle>
          <a:p>
            <a:pPr>
              <a:defRPr/>
            </a:pPr>
            <a:fld id="{32A19D3D-EA77-413B-9A91-C50DD95DF033}" type="slidenum">
              <a:rPr lang="en-GB"/>
              <a:pPr>
                <a:defRPr/>
              </a:pPr>
              <a:t>‹N›</a:t>
            </a:fld>
            <a:endParaRPr lang="en-GB" dirty="0"/>
          </a:p>
        </p:txBody>
      </p:sp>
      <p:pic>
        <p:nvPicPr>
          <p:cNvPr id="1031" name="Picture 14" descr="Intesa Sanpaolo Romania_logo"/>
          <p:cNvPicPr>
            <a:picLocks noChangeAspect="1" noChangeArrowheads="1"/>
          </p:cNvPicPr>
          <p:nvPr/>
        </p:nvPicPr>
        <p:blipFill>
          <a:blip r:embed="rId14"/>
          <a:srcRect b="39407"/>
          <a:stretch>
            <a:fillRect/>
          </a:stretch>
        </p:blipFill>
        <p:spPr bwMode="auto">
          <a:xfrm>
            <a:off x="6121400" y="6334125"/>
            <a:ext cx="2787650" cy="3254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715" r:id="rId1"/>
    <p:sldLayoutId id="2147484716" r:id="rId2"/>
    <p:sldLayoutId id="2147484717" r:id="rId3"/>
    <p:sldLayoutId id="2147484718" r:id="rId4"/>
    <p:sldLayoutId id="2147484719" r:id="rId5"/>
    <p:sldLayoutId id="2147484720" r:id="rId6"/>
    <p:sldLayoutId id="2147484721" r:id="rId7"/>
    <p:sldLayoutId id="2147484722" r:id="rId8"/>
    <p:sldLayoutId id="2147484723" r:id="rId9"/>
    <p:sldLayoutId id="2147484724" r:id="rId10"/>
    <p:sldLayoutId id="2147484725" r:id="rId11"/>
  </p:sldLayoutIdLst>
  <p:hf hdr="0" dt="0"/>
  <p:txStyles>
    <p:title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ea typeface="ＭＳ Ｐゴシック" pitchFamily="124" charset="-128"/>
        </a:defRPr>
      </a:lvl2pPr>
      <a:lvl3pPr algn="l" rtl="0" eaLnBrk="0" fontAlgn="base" hangingPunct="0">
        <a:spcBef>
          <a:spcPct val="0"/>
        </a:spcBef>
        <a:spcAft>
          <a:spcPct val="0"/>
        </a:spcAft>
        <a:defRPr sz="2000" b="1">
          <a:solidFill>
            <a:schemeClr val="tx2"/>
          </a:solidFill>
          <a:latin typeface="Arial" charset="0"/>
          <a:ea typeface="ＭＳ Ｐゴシック" pitchFamily="124" charset="-128"/>
        </a:defRPr>
      </a:lvl3pPr>
      <a:lvl4pPr algn="l" rtl="0" eaLnBrk="0" fontAlgn="base" hangingPunct="0">
        <a:spcBef>
          <a:spcPct val="0"/>
        </a:spcBef>
        <a:spcAft>
          <a:spcPct val="0"/>
        </a:spcAft>
        <a:defRPr sz="2000" b="1">
          <a:solidFill>
            <a:schemeClr val="tx2"/>
          </a:solidFill>
          <a:latin typeface="Arial" charset="0"/>
          <a:ea typeface="ＭＳ Ｐゴシック" pitchFamily="124" charset="-128"/>
        </a:defRPr>
      </a:lvl4pPr>
      <a:lvl5pPr algn="l" rtl="0" eaLnBrk="0" fontAlgn="base" hangingPunct="0">
        <a:spcBef>
          <a:spcPct val="0"/>
        </a:spcBef>
        <a:spcAft>
          <a:spcPct val="0"/>
        </a:spcAft>
        <a:defRPr sz="2000" b="1">
          <a:solidFill>
            <a:schemeClr val="tx2"/>
          </a:solidFill>
          <a:latin typeface="Arial" charset="0"/>
          <a:ea typeface="ＭＳ Ｐゴシック" pitchFamily="124" charset="-128"/>
        </a:defRPr>
      </a:lvl5pPr>
      <a:lvl6pPr marL="457200" algn="l" rtl="0" fontAlgn="base">
        <a:spcBef>
          <a:spcPct val="0"/>
        </a:spcBef>
        <a:spcAft>
          <a:spcPct val="0"/>
        </a:spcAft>
        <a:defRPr sz="2000" b="1">
          <a:solidFill>
            <a:schemeClr val="tx2"/>
          </a:solidFill>
          <a:latin typeface="Arial" charset="0"/>
          <a:ea typeface="ＭＳ Ｐゴシック" pitchFamily="124" charset="-128"/>
        </a:defRPr>
      </a:lvl6pPr>
      <a:lvl7pPr marL="914400" algn="l" rtl="0" fontAlgn="base">
        <a:spcBef>
          <a:spcPct val="0"/>
        </a:spcBef>
        <a:spcAft>
          <a:spcPct val="0"/>
        </a:spcAft>
        <a:defRPr sz="2000" b="1">
          <a:solidFill>
            <a:schemeClr val="tx2"/>
          </a:solidFill>
          <a:latin typeface="Arial" charset="0"/>
          <a:ea typeface="ＭＳ Ｐゴシック" pitchFamily="124" charset="-128"/>
        </a:defRPr>
      </a:lvl7pPr>
      <a:lvl8pPr marL="1371600" algn="l" rtl="0" fontAlgn="base">
        <a:spcBef>
          <a:spcPct val="0"/>
        </a:spcBef>
        <a:spcAft>
          <a:spcPct val="0"/>
        </a:spcAft>
        <a:defRPr sz="2000" b="1">
          <a:solidFill>
            <a:schemeClr val="tx2"/>
          </a:solidFill>
          <a:latin typeface="Arial" charset="0"/>
          <a:ea typeface="ＭＳ Ｐゴシック" pitchFamily="124" charset="-128"/>
        </a:defRPr>
      </a:lvl8pPr>
      <a:lvl9pPr marL="1828800" algn="l" rtl="0" fontAlgn="base">
        <a:spcBef>
          <a:spcPct val="0"/>
        </a:spcBef>
        <a:spcAft>
          <a:spcPct val="0"/>
        </a:spcAft>
        <a:defRPr sz="2000" b="1">
          <a:solidFill>
            <a:schemeClr val="tx2"/>
          </a:solidFill>
          <a:latin typeface="Arial" charset="0"/>
          <a:ea typeface="ＭＳ Ｐゴシック" pitchFamily="124" charset="-128"/>
        </a:defRPr>
      </a:lvl9pPr>
    </p:titleStyle>
    <p:bodyStyle>
      <a:lvl1pPr marL="342900" indent="-342900" algn="l" rtl="0" eaLnBrk="0" fontAlgn="base" hangingPunct="0">
        <a:spcBef>
          <a:spcPct val="20000"/>
        </a:spcBef>
        <a:spcAft>
          <a:spcPct val="0"/>
        </a:spcAft>
        <a:buChar char="•"/>
        <a:defRPr sz="1600" b="1">
          <a:solidFill>
            <a:schemeClr val="tx1"/>
          </a:solidFill>
          <a:latin typeface="+mn-lt"/>
          <a:ea typeface="+mn-ea"/>
          <a:cs typeface="+mn-cs"/>
        </a:defRPr>
      </a:lvl1pPr>
      <a:lvl2pPr marL="503238" indent="-274638" algn="l" rtl="0" eaLnBrk="0" fontAlgn="base" hangingPunct="0">
        <a:spcBef>
          <a:spcPct val="50000"/>
        </a:spcBef>
        <a:spcAft>
          <a:spcPct val="0"/>
        </a:spcAft>
        <a:buClr>
          <a:srgbClr val="FD6917"/>
        </a:buClr>
        <a:buFont typeface="Wingdings" pitchFamily="124" charset="2"/>
        <a:buChar char="n"/>
        <a:defRPr sz="1400">
          <a:solidFill>
            <a:schemeClr val="tx1"/>
          </a:solidFill>
          <a:latin typeface="+mn-lt"/>
          <a:ea typeface="+mn-ea"/>
        </a:defRPr>
      </a:lvl2pPr>
      <a:lvl3pPr marL="758825" indent="-254000" algn="l" rtl="0" eaLnBrk="0" fontAlgn="base" hangingPunct="0">
        <a:spcBef>
          <a:spcPct val="20000"/>
        </a:spcBef>
        <a:spcAft>
          <a:spcPct val="0"/>
        </a:spcAft>
        <a:buClr>
          <a:srgbClr val="FD6917"/>
        </a:buClr>
        <a:buChar char="–"/>
        <a:defRPr sz="1400">
          <a:solidFill>
            <a:schemeClr val="tx1"/>
          </a:solidFill>
          <a:latin typeface="+mn-lt"/>
          <a:ea typeface="+mn-ea"/>
        </a:defRPr>
      </a:lvl3pPr>
      <a:lvl4pPr marL="1003300" indent="-242888" algn="l" rtl="0" eaLnBrk="0" fontAlgn="base" hangingPunct="0">
        <a:spcBef>
          <a:spcPct val="20000"/>
        </a:spcBef>
        <a:spcAft>
          <a:spcPct val="0"/>
        </a:spcAft>
        <a:buClr>
          <a:srgbClr val="FD6917"/>
        </a:buClr>
        <a:buSzPct val="65000"/>
        <a:buFont typeface="Wingdings" pitchFamily="124" charset="2"/>
        <a:buChar char="o"/>
        <a:defRPr sz="1400">
          <a:solidFill>
            <a:schemeClr val="tx1"/>
          </a:solidFill>
          <a:latin typeface="+mn-lt"/>
          <a:ea typeface="+mn-ea"/>
        </a:defRPr>
      </a:lvl4pPr>
      <a:lvl5pPr marL="1217613" indent="-212725" algn="l" rtl="0" eaLnBrk="0" fontAlgn="base" hangingPunct="0">
        <a:spcBef>
          <a:spcPct val="20000"/>
        </a:spcBef>
        <a:spcAft>
          <a:spcPct val="0"/>
        </a:spcAft>
        <a:buClr>
          <a:srgbClr val="FD6917"/>
        </a:buClr>
        <a:buSzPct val="50000"/>
        <a:buFont typeface="Wingdings" pitchFamily="124" charset="2"/>
        <a:buChar char="o"/>
        <a:defRPr sz="1400">
          <a:solidFill>
            <a:schemeClr val="tx1"/>
          </a:solidFill>
          <a:latin typeface="+mn-lt"/>
          <a:ea typeface="+mn-ea"/>
        </a:defRPr>
      </a:lvl5pPr>
      <a:lvl6pPr marL="1674813" indent="-212725" algn="l" rtl="0" fontAlgn="base">
        <a:spcBef>
          <a:spcPct val="20000"/>
        </a:spcBef>
        <a:spcAft>
          <a:spcPct val="0"/>
        </a:spcAft>
        <a:buClr>
          <a:srgbClr val="FD6917"/>
        </a:buClr>
        <a:buSzPct val="50000"/>
        <a:buFont typeface="Wingdings" pitchFamily="2" charset="2"/>
        <a:buChar char="o"/>
        <a:defRPr sz="1400">
          <a:solidFill>
            <a:schemeClr val="tx1"/>
          </a:solidFill>
          <a:latin typeface="+mn-lt"/>
          <a:ea typeface="+mn-ea"/>
        </a:defRPr>
      </a:lvl6pPr>
      <a:lvl7pPr marL="2132013" indent="-212725" algn="l" rtl="0" fontAlgn="base">
        <a:spcBef>
          <a:spcPct val="20000"/>
        </a:spcBef>
        <a:spcAft>
          <a:spcPct val="0"/>
        </a:spcAft>
        <a:buClr>
          <a:srgbClr val="FD6917"/>
        </a:buClr>
        <a:buSzPct val="50000"/>
        <a:buFont typeface="Wingdings" pitchFamily="2" charset="2"/>
        <a:buChar char="o"/>
        <a:defRPr sz="1400">
          <a:solidFill>
            <a:schemeClr val="tx1"/>
          </a:solidFill>
          <a:latin typeface="+mn-lt"/>
          <a:ea typeface="+mn-ea"/>
        </a:defRPr>
      </a:lvl7pPr>
      <a:lvl8pPr marL="2589213" indent="-212725" algn="l" rtl="0" fontAlgn="base">
        <a:spcBef>
          <a:spcPct val="20000"/>
        </a:spcBef>
        <a:spcAft>
          <a:spcPct val="0"/>
        </a:spcAft>
        <a:buClr>
          <a:srgbClr val="FD6917"/>
        </a:buClr>
        <a:buSzPct val="50000"/>
        <a:buFont typeface="Wingdings" pitchFamily="2" charset="2"/>
        <a:buChar char="o"/>
        <a:defRPr sz="1400">
          <a:solidFill>
            <a:schemeClr val="tx1"/>
          </a:solidFill>
          <a:latin typeface="+mn-lt"/>
          <a:ea typeface="+mn-ea"/>
        </a:defRPr>
      </a:lvl8pPr>
      <a:lvl9pPr marL="3046413" indent="-212725" algn="l" rtl="0" fontAlgn="base">
        <a:spcBef>
          <a:spcPct val="20000"/>
        </a:spcBef>
        <a:spcAft>
          <a:spcPct val="0"/>
        </a:spcAft>
        <a:buClr>
          <a:srgbClr val="FD6917"/>
        </a:buClr>
        <a:buSzPct val="50000"/>
        <a:buFont typeface="Wingdings" pitchFamily="2" charset="2"/>
        <a:buChar char="o"/>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 descr="C:\Users\Fadrique\AppData\Local\Temp\wzfdd0\ISP_Linea Orizzontale\ISP_lineaOrizz.jpg"/>
          <p:cNvPicPr>
            <a:picLocks noChangeAspect="1" noChangeArrowheads="1"/>
          </p:cNvPicPr>
          <p:nvPr/>
        </p:nvPicPr>
        <p:blipFill>
          <a:blip r:embed="rId13"/>
          <a:srcRect/>
          <a:stretch>
            <a:fillRect/>
          </a:stretch>
        </p:blipFill>
        <p:spPr bwMode="auto">
          <a:xfrm>
            <a:off x="209550" y="6076950"/>
            <a:ext cx="8639175" cy="161925"/>
          </a:xfrm>
          <a:prstGeom prst="rect">
            <a:avLst/>
          </a:prstGeom>
          <a:noFill/>
          <a:ln w="9525">
            <a:noFill/>
            <a:miter lim="800000"/>
            <a:headEnd/>
            <a:tailEnd/>
          </a:ln>
        </p:spPr>
      </p:pic>
      <p:sp>
        <p:nvSpPr>
          <p:cNvPr id="1027" name="Segnaposto titolo 1"/>
          <p:cNvSpPr>
            <a:spLocks noGrp="1"/>
          </p:cNvSpPr>
          <p:nvPr>
            <p:ph type="title"/>
          </p:nvPr>
        </p:nvSpPr>
        <p:spPr bwMode="auto">
          <a:xfrm>
            <a:off x="200025" y="109538"/>
            <a:ext cx="8755063" cy="7143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Fare clic per modificare stile</a:t>
            </a:r>
          </a:p>
        </p:txBody>
      </p:sp>
      <p:sp>
        <p:nvSpPr>
          <p:cNvPr id="1028" name="Segnaposto testo 2"/>
          <p:cNvSpPr>
            <a:spLocks noGrp="1"/>
          </p:cNvSpPr>
          <p:nvPr>
            <p:ph type="body" idx="1"/>
          </p:nvPr>
        </p:nvSpPr>
        <p:spPr bwMode="auto">
          <a:xfrm>
            <a:off x="203200" y="1042988"/>
            <a:ext cx="8755063" cy="49196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Fare clic per modificare gli stili del testo dello schema</a:t>
            </a:r>
          </a:p>
          <a:p>
            <a:pPr lvl="1"/>
            <a:r>
              <a:rPr lang="en-GB" smtClean="0"/>
              <a:t>Secondo livello</a:t>
            </a:r>
          </a:p>
          <a:p>
            <a:pPr lvl="2"/>
            <a:r>
              <a:rPr lang="en-GB" smtClean="0"/>
              <a:t>Terzo livello</a:t>
            </a:r>
          </a:p>
          <a:p>
            <a:pPr lvl="3"/>
            <a:r>
              <a:rPr lang="en-GB" smtClean="0"/>
              <a:t>Quarto livello</a:t>
            </a:r>
          </a:p>
          <a:p>
            <a:pPr lvl="4"/>
            <a:r>
              <a:rPr lang="en-GB" smtClean="0"/>
              <a:t>Quinto livello</a:t>
            </a:r>
          </a:p>
        </p:txBody>
      </p:sp>
      <p:sp>
        <p:nvSpPr>
          <p:cNvPr id="1040" name="Rectangle 16"/>
          <p:cNvSpPr>
            <a:spLocks noGrp="1" noChangeArrowheads="1"/>
          </p:cNvSpPr>
          <p:nvPr>
            <p:ph type="ftr" sz="quarter" idx="3"/>
          </p:nvPr>
        </p:nvSpPr>
        <p:spPr bwMode="auto">
          <a:xfrm>
            <a:off x="250825" y="5703888"/>
            <a:ext cx="5976938" cy="31273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eaLnBrk="0" hangingPunct="0">
              <a:defRPr sz="1000">
                <a:latin typeface="Arial" charset="0"/>
                <a:ea typeface="ＭＳ Ｐゴシック" pitchFamily="124" charset="-128"/>
                <a:cs typeface="+mn-cs"/>
              </a:defRPr>
            </a:lvl1pPr>
          </a:lstStyle>
          <a:p>
            <a:pPr>
              <a:defRPr/>
            </a:pPr>
            <a:r>
              <a:rPr lang="en-GB"/>
              <a:t>Insert footnote or cancel text box</a:t>
            </a:r>
          </a:p>
        </p:txBody>
      </p:sp>
      <p:sp>
        <p:nvSpPr>
          <p:cNvPr id="1041" name="Rectangle 17"/>
          <p:cNvSpPr>
            <a:spLocks noGrp="1" noChangeArrowheads="1"/>
          </p:cNvSpPr>
          <p:nvPr>
            <p:ph type="sldNum" sz="quarter" idx="4"/>
          </p:nvPr>
        </p:nvSpPr>
        <p:spPr bwMode="auto">
          <a:xfrm>
            <a:off x="4191000" y="6310313"/>
            <a:ext cx="762000"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eaLnBrk="0" hangingPunct="0">
              <a:defRPr sz="1000">
                <a:latin typeface="Arial" charset="0"/>
                <a:ea typeface="ＭＳ Ｐゴシック" pitchFamily="124" charset="-128"/>
                <a:cs typeface="+mn-cs"/>
              </a:defRPr>
            </a:lvl1pPr>
          </a:lstStyle>
          <a:p>
            <a:pPr>
              <a:defRPr/>
            </a:pPr>
            <a:fld id="{BF3B0D83-6BC7-434C-AE77-0019EBBD0D69}" type="slidenum">
              <a:rPr lang="en-GB"/>
              <a:pPr>
                <a:defRPr/>
              </a:pPr>
              <a:t>‹N›</a:t>
            </a:fld>
            <a:endParaRPr lang="en-GB"/>
          </a:p>
        </p:txBody>
      </p:sp>
      <p:pic>
        <p:nvPicPr>
          <p:cNvPr id="1031" name="Picture 14" descr="Intesa Sanpaolo Romania_logo"/>
          <p:cNvPicPr>
            <a:picLocks noChangeAspect="1" noChangeArrowheads="1"/>
          </p:cNvPicPr>
          <p:nvPr/>
        </p:nvPicPr>
        <p:blipFill>
          <a:blip r:embed="rId14"/>
          <a:srcRect b="39407"/>
          <a:stretch>
            <a:fillRect/>
          </a:stretch>
        </p:blipFill>
        <p:spPr bwMode="auto">
          <a:xfrm>
            <a:off x="6121400" y="6334125"/>
            <a:ext cx="2787650" cy="3254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727" r:id="rId1"/>
    <p:sldLayoutId id="2147484728" r:id="rId2"/>
    <p:sldLayoutId id="2147484729" r:id="rId3"/>
    <p:sldLayoutId id="2147484730" r:id="rId4"/>
    <p:sldLayoutId id="2147484731" r:id="rId5"/>
    <p:sldLayoutId id="2147484732" r:id="rId6"/>
    <p:sldLayoutId id="2147484733" r:id="rId7"/>
    <p:sldLayoutId id="2147484734" r:id="rId8"/>
    <p:sldLayoutId id="2147484735" r:id="rId9"/>
    <p:sldLayoutId id="2147484736" r:id="rId10"/>
    <p:sldLayoutId id="2147484737" r:id="rId11"/>
  </p:sldLayoutIdLst>
  <p:hf hdr="0" dt="0"/>
  <p:txStyles>
    <p:titleStyle>
      <a:lvl1pPr algn="l" rtl="0" eaLnBrk="0" fontAlgn="base" hangingPunct="0">
        <a:spcBef>
          <a:spcPct val="0"/>
        </a:spcBef>
        <a:spcAft>
          <a:spcPct val="0"/>
        </a:spcAft>
        <a:defRPr sz="2000" b="1">
          <a:solidFill>
            <a:schemeClr val="tx2"/>
          </a:solidFill>
          <a:latin typeface="+mj-lt"/>
          <a:ea typeface="+mj-ea"/>
          <a:cs typeface="ＭＳ Ｐゴシック"/>
        </a:defRPr>
      </a:lvl1pPr>
      <a:lvl2pPr algn="l" rtl="0" eaLnBrk="0" fontAlgn="base" hangingPunct="0">
        <a:spcBef>
          <a:spcPct val="0"/>
        </a:spcBef>
        <a:spcAft>
          <a:spcPct val="0"/>
        </a:spcAft>
        <a:defRPr sz="2000" b="1">
          <a:solidFill>
            <a:schemeClr val="tx2"/>
          </a:solidFill>
          <a:latin typeface="Arial" charset="0"/>
          <a:ea typeface="ＭＳ Ｐゴシック" pitchFamily="124" charset="-128"/>
          <a:cs typeface="ＭＳ Ｐゴシック"/>
        </a:defRPr>
      </a:lvl2pPr>
      <a:lvl3pPr algn="l" rtl="0" eaLnBrk="0" fontAlgn="base" hangingPunct="0">
        <a:spcBef>
          <a:spcPct val="0"/>
        </a:spcBef>
        <a:spcAft>
          <a:spcPct val="0"/>
        </a:spcAft>
        <a:defRPr sz="2000" b="1">
          <a:solidFill>
            <a:schemeClr val="tx2"/>
          </a:solidFill>
          <a:latin typeface="Arial" charset="0"/>
          <a:ea typeface="ＭＳ Ｐゴシック" pitchFamily="124" charset="-128"/>
          <a:cs typeface="ＭＳ Ｐゴシック"/>
        </a:defRPr>
      </a:lvl3pPr>
      <a:lvl4pPr algn="l" rtl="0" eaLnBrk="0" fontAlgn="base" hangingPunct="0">
        <a:spcBef>
          <a:spcPct val="0"/>
        </a:spcBef>
        <a:spcAft>
          <a:spcPct val="0"/>
        </a:spcAft>
        <a:defRPr sz="2000" b="1">
          <a:solidFill>
            <a:schemeClr val="tx2"/>
          </a:solidFill>
          <a:latin typeface="Arial" charset="0"/>
          <a:ea typeface="ＭＳ Ｐゴシック" pitchFamily="124" charset="-128"/>
          <a:cs typeface="ＭＳ Ｐゴシック"/>
        </a:defRPr>
      </a:lvl4pPr>
      <a:lvl5pPr algn="l" rtl="0" eaLnBrk="0" fontAlgn="base" hangingPunct="0">
        <a:spcBef>
          <a:spcPct val="0"/>
        </a:spcBef>
        <a:spcAft>
          <a:spcPct val="0"/>
        </a:spcAft>
        <a:defRPr sz="2000" b="1">
          <a:solidFill>
            <a:schemeClr val="tx2"/>
          </a:solidFill>
          <a:latin typeface="Arial" charset="0"/>
          <a:ea typeface="ＭＳ Ｐゴシック" pitchFamily="124" charset="-128"/>
          <a:cs typeface="ＭＳ Ｐゴシック"/>
        </a:defRPr>
      </a:lvl5pPr>
      <a:lvl6pPr marL="457200" algn="l" rtl="0" fontAlgn="base">
        <a:spcBef>
          <a:spcPct val="0"/>
        </a:spcBef>
        <a:spcAft>
          <a:spcPct val="0"/>
        </a:spcAft>
        <a:defRPr sz="2000" b="1">
          <a:solidFill>
            <a:schemeClr val="tx2"/>
          </a:solidFill>
          <a:latin typeface="Arial" charset="0"/>
          <a:ea typeface="ＭＳ Ｐゴシック" pitchFamily="124" charset="-128"/>
        </a:defRPr>
      </a:lvl6pPr>
      <a:lvl7pPr marL="914400" algn="l" rtl="0" fontAlgn="base">
        <a:spcBef>
          <a:spcPct val="0"/>
        </a:spcBef>
        <a:spcAft>
          <a:spcPct val="0"/>
        </a:spcAft>
        <a:defRPr sz="2000" b="1">
          <a:solidFill>
            <a:schemeClr val="tx2"/>
          </a:solidFill>
          <a:latin typeface="Arial" charset="0"/>
          <a:ea typeface="ＭＳ Ｐゴシック" pitchFamily="124" charset="-128"/>
        </a:defRPr>
      </a:lvl7pPr>
      <a:lvl8pPr marL="1371600" algn="l" rtl="0" fontAlgn="base">
        <a:spcBef>
          <a:spcPct val="0"/>
        </a:spcBef>
        <a:spcAft>
          <a:spcPct val="0"/>
        </a:spcAft>
        <a:defRPr sz="2000" b="1">
          <a:solidFill>
            <a:schemeClr val="tx2"/>
          </a:solidFill>
          <a:latin typeface="Arial" charset="0"/>
          <a:ea typeface="ＭＳ Ｐゴシック" pitchFamily="124" charset="-128"/>
        </a:defRPr>
      </a:lvl8pPr>
      <a:lvl9pPr marL="1828800" algn="l" rtl="0" fontAlgn="base">
        <a:spcBef>
          <a:spcPct val="0"/>
        </a:spcBef>
        <a:spcAft>
          <a:spcPct val="0"/>
        </a:spcAft>
        <a:defRPr sz="2000" b="1">
          <a:solidFill>
            <a:schemeClr val="tx2"/>
          </a:solidFill>
          <a:latin typeface="Arial" charset="0"/>
          <a:ea typeface="ＭＳ Ｐゴシック" pitchFamily="124" charset="-128"/>
        </a:defRPr>
      </a:lvl9pPr>
    </p:titleStyle>
    <p:bodyStyle>
      <a:lvl1pPr marL="342900" indent="-342900" algn="l" rtl="0" eaLnBrk="0" fontAlgn="base" hangingPunct="0">
        <a:spcBef>
          <a:spcPct val="20000"/>
        </a:spcBef>
        <a:spcAft>
          <a:spcPct val="0"/>
        </a:spcAft>
        <a:buChar char="•"/>
        <a:defRPr sz="1600" b="1">
          <a:solidFill>
            <a:schemeClr val="tx1"/>
          </a:solidFill>
          <a:latin typeface="+mn-lt"/>
          <a:ea typeface="+mn-ea"/>
          <a:cs typeface="ＭＳ Ｐゴシック"/>
        </a:defRPr>
      </a:lvl1pPr>
      <a:lvl2pPr marL="503238" indent="-274638" algn="l" rtl="0" eaLnBrk="0" fontAlgn="base" hangingPunct="0">
        <a:spcBef>
          <a:spcPct val="50000"/>
        </a:spcBef>
        <a:spcAft>
          <a:spcPct val="0"/>
        </a:spcAft>
        <a:buClr>
          <a:srgbClr val="FD6917"/>
        </a:buClr>
        <a:buFont typeface="Wingdings" pitchFamily="2" charset="2"/>
        <a:buChar char="n"/>
        <a:defRPr sz="1400">
          <a:solidFill>
            <a:schemeClr val="tx1"/>
          </a:solidFill>
          <a:latin typeface="+mn-lt"/>
          <a:ea typeface="+mn-ea"/>
          <a:cs typeface="ＭＳ Ｐゴシック"/>
        </a:defRPr>
      </a:lvl2pPr>
      <a:lvl3pPr marL="758825" indent="-254000" algn="l" rtl="0" eaLnBrk="0" fontAlgn="base" hangingPunct="0">
        <a:spcBef>
          <a:spcPct val="20000"/>
        </a:spcBef>
        <a:spcAft>
          <a:spcPct val="0"/>
        </a:spcAft>
        <a:buClr>
          <a:srgbClr val="FD6917"/>
        </a:buClr>
        <a:buChar char="–"/>
        <a:defRPr sz="1400">
          <a:solidFill>
            <a:schemeClr val="tx1"/>
          </a:solidFill>
          <a:latin typeface="+mn-lt"/>
          <a:ea typeface="+mn-ea"/>
          <a:cs typeface="ＭＳ Ｐゴシック"/>
        </a:defRPr>
      </a:lvl3pPr>
      <a:lvl4pPr marL="1003300" indent="-242888" algn="l" rtl="0" eaLnBrk="0" fontAlgn="base" hangingPunct="0">
        <a:spcBef>
          <a:spcPct val="20000"/>
        </a:spcBef>
        <a:spcAft>
          <a:spcPct val="0"/>
        </a:spcAft>
        <a:buClr>
          <a:srgbClr val="FD6917"/>
        </a:buClr>
        <a:buSzPct val="65000"/>
        <a:buFont typeface="Wingdings" pitchFamily="2" charset="2"/>
        <a:buChar char="o"/>
        <a:defRPr sz="1400">
          <a:solidFill>
            <a:schemeClr val="tx1"/>
          </a:solidFill>
          <a:latin typeface="+mn-lt"/>
          <a:ea typeface="+mn-ea"/>
          <a:cs typeface="ＭＳ Ｐゴシック"/>
        </a:defRPr>
      </a:lvl4pPr>
      <a:lvl5pPr marL="1217613" indent="-212725" algn="l" rtl="0" eaLnBrk="0" fontAlgn="base" hangingPunct="0">
        <a:spcBef>
          <a:spcPct val="20000"/>
        </a:spcBef>
        <a:spcAft>
          <a:spcPct val="0"/>
        </a:spcAft>
        <a:buClr>
          <a:srgbClr val="FD6917"/>
        </a:buClr>
        <a:buSzPct val="50000"/>
        <a:buFont typeface="Wingdings" pitchFamily="2" charset="2"/>
        <a:buChar char="o"/>
        <a:defRPr sz="1400">
          <a:solidFill>
            <a:schemeClr val="tx1"/>
          </a:solidFill>
          <a:latin typeface="+mn-lt"/>
          <a:ea typeface="+mn-ea"/>
          <a:cs typeface="ＭＳ Ｐゴシック"/>
        </a:defRPr>
      </a:lvl5pPr>
      <a:lvl6pPr marL="1674813" indent="-212725" algn="l" rtl="0" fontAlgn="base">
        <a:spcBef>
          <a:spcPct val="20000"/>
        </a:spcBef>
        <a:spcAft>
          <a:spcPct val="0"/>
        </a:spcAft>
        <a:buClr>
          <a:srgbClr val="FD6917"/>
        </a:buClr>
        <a:buSzPct val="50000"/>
        <a:buFont typeface="Wingdings" pitchFamily="2" charset="2"/>
        <a:buChar char="o"/>
        <a:defRPr sz="1400">
          <a:solidFill>
            <a:schemeClr val="tx1"/>
          </a:solidFill>
          <a:latin typeface="+mn-lt"/>
          <a:ea typeface="+mn-ea"/>
        </a:defRPr>
      </a:lvl6pPr>
      <a:lvl7pPr marL="2132013" indent="-212725" algn="l" rtl="0" fontAlgn="base">
        <a:spcBef>
          <a:spcPct val="20000"/>
        </a:spcBef>
        <a:spcAft>
          <a:spcPct val="0"/>
        </a:spcAft>
        <a:buClr>
          <a:srgbClr val="FD6917"/>
        </a:buClr>
        <a:buSzPct val="50000"/>
        <a:buFont typeface="Wingdings" pitchFamily="2" charset="2"/>
        <a:buChar char="o"/>
        <a:defRPr sz="1400">
          <a:solidFill>
            <a:schemeClr val="tx1"/>
          </a:solidFill>
          <a:latin typeface="+mn-lt"/>
          <a:ea typeface="+mn-ea"/>
        </a:defRPr>
      </a:lvl7pPr>
      <a:lvl8pPr marL="2589213" indent="-212725" algn="l" rtl="0" fontAlgn="base">
        <a:spcBef>
          <a:spcPct val="20000"/>
        </a:spcBef>
        <a:spcAft>
          <a:spcPct val="0"/>
        </a:spcAft>
        <a:buClr>
          <a:srgbClr val="FD6917"/>
        </a:buClr>
        <a:buSzPct val="50000"/>
        <a:buFont typeface="Wingdings" pitchFamily="2" charset="2"/>
        <a:buChar char="o"/>
        <a:defRPr sz="1400">
          <a:solidFill>
            <a:schemeClr val="tx1"/>
          </a:solidFill>
          <a:latin typeface="+mn-lt"/>
          <a:ea typeface="+mn-ea"/>
        </a:defRPr>
      </a:lvl8pPr>
      <a:lvl9pPr marL="3046413" indent="-212725" algn="l" rtl="0" fontAlgn="base">
        <a:spcBef>
          <a:spcPct val="20000"/>
        </a:spcBef>
        <a:spcAft>
          <a:spcPct val="0"/>
        </a:spcAft>
        <a:buClr>
          <a:srgbClr val="FD6917"/>
        </a:buClr>
        <a:buSzPct val="50000"/>
        <a:buFont typeface="Wingdings" pitchFamily="2" charset="2"/>
        <a:buChar char="o"/>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www.intesasanpaolobank.ro/" TargetMode="External"/><Relationship Id="rId2" Type="http://schemas.openxmlformats.org/officeDocument/2006/relationships/image" Target="../media/image16.jpeg"/><Relationship Id="rId1" Type="http://schemas.openxmlformats.org/officeDocument/2006/relationships/slideLayout" Target="../slideLayouts/slideLayout7.xml"/><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9.xml"/><Relationship Id="rId7" Type="http://schemas.openxmlformats.org/officeDocument/2006/relationships/image" Target="../media/image19.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notesSlide" Target="../notesSlides/notesSlide3.xml"/><Relationship Id="rId5" Type="http://schemas.openxmlformats.org/officeDocument/2006/relationships/slideLayout" Target="../slideLayouts/slideLayout24.xml"/><Relationship Id="rId4" Type="http://schemas.openxmlformats.org/officeDocument/2006/relationships/tags" Target="../tags/tag10.xml"/><Relationship Id="rId9"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8" Type="http://schemas.openxmlformats.org/officeDocument/2006/relationships/hyperlink" Target="mailto:daniele.bordina@intesasanpaolo.com" TargetMode="External"/><Relationship Id="rId3" Type="http://schemas.openxmlformats.org/officeDocument/2006/relationships/slideLayout" Target="../slideLayouts/slideLayout7.xml"/><Relationship Id="rId7" Type="http://schemas.openxmlformats.org/officeDocument/2006/relationships/image" Target="../media/image15.gif"/><Relationship Id="rId2" Type="http://schemas.openxmlformats.org/officeDocument/2006/relationships/tags" Target="../tags/tag6.xml"/><Relationship Id="rId1" Type="http://schemas.openxmlformats.org/officeDocument/2006/relationships/tags" Target="../tags/tag5.xml"/><Relationship Id="rId6" Type="http://schemas.microsoft.com/office/2007/relationships/hdphoto" Target="../media/hdphoto1.wdp"/><Relationship Id="rId11" Type="http://schemas.openxmlformats.org/officeDocument/2006/relationships/hyperlink" Target="mailto:cecilia.ventura@intesasanpaolo.com" TargetMode="External"/><Relationship Id="rId5" Type="http://schemas.openxmlformats.org/officeDocument/2006/relationships/image" Target="../media/image14.png"/><Relationship Id="rId10" Type="http://schemas.openxmlformats.org/officeDocument/2006/relationships/hyperlink" Target="mailto:roberto.gallo@intesasanpaolo.com" TargetMode="External"/><Relationship Id="rId4" Type="http://schemas.openxmlformats.org/officeDocument/2006/relationships/hyperlink" Target="mailto:andrea.fiori@intesasanpaolo.com" TargetMode="External"/><Relationship Id="rId9" Type="http://schemas.openxmlformats.org/officeDocument/2006/relationships/hyperlink" Target="mailto:alessandra.barbetti@intesasanpaolo.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INTESA_SANPAOLO_COL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838" y="458788"/>
            <a:ext cx="5489575"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Rectangle 3"/>
          <p:cNvSpPr>
            <a:spLocks noChangeArrowheads="1"/>
          </p:cNvSpPr>
          <p:nvPr/>
        </p:nvSpPr>
        <p:spPr bwMode="auto">
          <a:xfrm>
            <a:off x="609600" y="2362200"/>
            <a:ext cx="8145463" cy="1392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buFont typeface="Wingdings" pitchFamily="2" charset="2"/>
              <a:buNone/>
            </a:pPr>
            <a:endParaRPr lang="it-IT" b="1" dirty="0" smtClean="0">
              <a:solidFill>
                <a:schemeClr val="tx2"/>
              </a:solidFill>
              <a:latin typeface="+mn-lt"/>
              <a:ea typeface="ＭＳ Ｐゴシック" pitchFamily="-28" charset="-128"/>
              <a:cs typeface="Calibri" pitchFamily="34" charset="0"/>
            </a:endParaRPr>
          </a:p>
          <a:p>
            <a:pPr>
              <a:buFont typeface="Wingdings" pitchFamily="2" charset="2"/>
              <a:buNone/>
            </a:pPr>
            <a:endParaRPr lang="it-IT" sz="1050" b="1" dirty="0" smtClean="0">
              <a:solidFill>
                <a:schemeClr val="tx2"/>
              </a:solidFill>
              <a:latin typeface="+mn-lt"/>
              <a:ea typeface="ＭＳ Ｐゴシック" pitchFamily="-28" charset="-128"/>
              <a:cs typeface="Calibri" pitchFamily="34" charset="0"/>
            </a:endParaRPr>
          </a:p>
          <a:p>
            <a:pPr>
              <a:buFont typeface="Wingdings" pitchFamily="2" charset="2"/>
              <a:buNone/>
            </a:pPr>
            <a:r>
              <a:rPr lang="it-IT" sz="2800" b="1" dirty="0" smtClean="0">
                <a:solidFill>
                  <a:schemeClr val="tx2"/>
                </a:solidFill>
                <a:latin typeface="+mn-lt"/>
                <a:ea typeface="ＭＳ Ｐゴシック" pitchFamily="-28" charset="-128"/>
                <a:cs typeface="Calibri" pitchFamily="34" charset="0"/>
              </a:rPr>
              <a:t>Mercato Finanziario  e Rapporto Banca Impresa in Romania </a:t>
            </a:r>
            <a:endParaRPr lang="it-IT" sz="2800" dirty="0">
              <a:solidFill>
                <a:schemeClr val="tx2"/>
              </a:solidFill>
              <a:latin typeface="+mn-lt"/>
              <a:ea typeface="ＭＳ Ｐゴシック" pitchFamily="-28" charset="-128"/>
              <a:cs typeface="Calibri" pitchFamily="34" charset="0"/>
            </a:endParaRPr>
          </a:p>
        </p:txBody>
      </p:sp>
      <p:sp>
        <p:nvSpPr>
          <p:cNvPr id="7172" name="CasellaDiTesto 1"/>
          <p:cNvSpPr txBox="1">
            <a:spLocks noChangeArrowheads="1"/>
          </p:cNvSpPr>
          <p:nvPr/>
        </p:nvSpPr>
        <p:spPr bwMode="auto">
          <a:xfrm>
            <a:off x="636588" y="5419725"/>
            <a:ext cx="839990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it-IT" b="1" dirty="0" smtClean="0"/>
              <a:t>Enzo Pellegrino </a:t>
            </a:r>
            <a:r>
              <a:rPr lang="it-IT" b="1" dirty="0" smtClean="0">
                <a:latin typeface="+mn-lt"/>
                <a:cs typeface="Calibri" pitchFamily="34" charset="0"/>
              </a:rPr>
              <a:t>	</a:t>
            </a:r>
            <a:r>
              <a:rPr lang="it-IT" dirty="0" smtClean="0">
                <a:latin typeface="+mn-lt"/>
                <a:cs typeface="Calibri" pitchFamily="34" charset="0"/>
              </a:rPr>
              <a:t>				           </a:t>
            </a:r>
            <a:r>
              <a:rPr lang="it-IT" sz="1400" dirty="0" smtClean="0">
                <a:latin typeface="+mn-lt"/>
                <a:cs typeface="Calibri" pitchFamily="34" charset="0"/>
              </a:rPr>
              <a:t>Perugia, 29 ottobre 2012</a:t>
            </a:r>
          </a:p>
          <a:p>
            <a:pPr eaLnBrk="1" hangingPunct="1"/>
            <a:r>
              <a:rPr lang="it-IT" dirty="0" smtClean="0">
                <a:latin typeface="+mn-lt"/>
                <a:cs typeface="Calibri" pitchFamily="34" charset="0"/>
              </a:rPr>
              <a:t>Vice Direttore Generale  Intesa Sanpaolo Bank - Romania </a:t>
            </a:r>
            <a:endParaRPr lang="it-IT" dirty="0">
              <a:latin typeface="+mn-lt"/>
              <a:cs typeface="Calibri"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ChangeArrowheads="1"/>
          </p:cNvSpPr>
          <p:nvPr/>
        </p:nvSpPr>
        <p:spPr bwMode="auto">
          <a:xfrm>
            <a:off x="609600" y="2133600"/>
            <a:ext cx="8145463"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None/>
            </a:pPr>
            <a:endParaRPr lang="it-IT" b="1" dirty="0" smtClean="0">
              <a:solidFill>
                <a:schemeClr val="tx2"/>
              </a:solidFill>
              <a:latin typeface="+mn-lt"/>
              <a:ea typeface="ＭＳ Ｐゴシック" pitchFamily="-28" charset="-128"/>
              <a:cs typeface="Calibri" pitchFamily="34" charset="0"/>
            </a:endParaRPr>
          </a:p>
          <a:p>
            <a:pPr>
              <a:buBlip>
                <a:blip r:embed="rId2"/>
              </a:buBlip>
            </a:pPr>
            <a:r>
              <a:rPr lang="it-IT" sz="2400" b="1" dirty="0" smtClean="0">
                <a:solidFill>
                  <a:schemeClr val="tx1">
                    <a:lumMod val="95000"/>
                    <a:lumOff val="5000"/>
                  </a:schemeClr>
                </a:solidFill>
                <a:latin typeface="+mn-lt"/>
                <a:ea typeface="ＭＳ Ｐゴシック" pitchFamily="-28" charset="-128"/>
                <a:cs typeface="Calibri" pitchFamily="34" charset="0"/>
              </a:rPr>
              <a:t>  Il network internazionale di Intesa Sanpaolo a supporto dell’internazionalizzazione delle PMI</a:t>
            </a:r>
          </a:p>
          <a:p>
            <a:pPr>
              <a:buBlip>
                <a:blip r:embed="rId2"/>
              </a:buBlip>
            </a:pPr>
            <a:endParaRPr lang="it-IT" sz="2400" b="1" dirty="0" smtClean="0">
              <a:solidFill>
                <a:schemeClr val="tx1">
                  <a:lumMod val="95000"/>
                  <a:lumOff val="5000"/>
                </a:schemeClr>
              </a:solidFill>
              <a:latin typeface="+mn-lt"/>
              <a:ea typeface="ＭＳ Ｐゴシック" pitchFamily="-28" charset="-128"/>
              <a:cs typeface="Calibri" pitchFamily="34" charset="0"/>
            </a:endParaRPr>
          </a:p>
          <a:p>
            <a:pPr>
              <a:buBlip>
                <a:blip r:embed="rId2"/>
              </a:buBlip>
            </a:pPr>
            <a:r>
              <a:rPr lang="it-IT" sz="2400" b="1" dirty="0" smtClean="0">
                <a:solidFill>
                  <a:schemeClr val="tx1">
                    <a:lumMod val="95000"/>
                    <a:lumOff val="5000"/>
                  </a:schemeClr>
                </a:solidFill>
                <a:latin typeface="+mn-lt"/>
                <a:ea typeface="ＭＳ Ｐゴシック" pitchFamily="-28" charset="-128"/>
                <a:cs typeface="Calibri" pitchFamily="34" charset="0"/>
              </a:rPr>
              <a:t>  Intesa Sanpaolo Bank Romania</a:t>
            </a:r>
          </a:p>
          <a:p>
            <a:pPr>
              <a:buBlip>
                <a:blip r:embed="rId2"/>
              </a:buBlip>
            </a:pPr>
            <a:endParaRPr lang="it-IT" sz="2400" b="1" dirty="0" smtClean="0">
              <a:solidFill>
                <a:schemeClr val="tx1">
                  <a:lumMod val="95000"/>
                  <a:lumOff val="5000"/>
                </a:schemeClr>
              </a:solidFill>
              <a:latin typeface="+mn-lt"/>
              <a:ea typeface="ＭＳ Ｐゴシック" pitchFamily="-28" charset="-128"/>
              <a:cs typeface="Calibri" pitchFamily="34" charset="0"/>
            </a:endParaRPr>
          </a:p>
          <a:p>
            <a:pPr>
              <a:buBlip>
                <a:blip r:embed="rId2"/>
              </a:buBlip>
            </a:pPr>
            <a:r>
              <a:rPr lang="it-IT" sz="2400" b="1" dirty="0" smtClean="0">
                <a:solidFill>
                  <a:schemeClr val="tx1">
                    <a:lumMod val="95000"/>
                    <a:lumOff val="5000"/>
                  </a:schemeClr>
                </a:solidFill>
                <a:latin typeface="+mn-lt"/>
                <a:ea typeface="ＭＳ Ｐゴシック" pitchFamily="-28" charset="-128"/>
                <a:cs typeface="Calibri" pitchFamily="34" charset="0"/>
              </a:rPr>
              <a:t> Il Mercato Finanziario e il Rapporto Banca Impresa</a:t>
            </a:r>
          </a:p>
        </p:txBody>
      </p:sp>
      <p:sp>
        <p:nvSpPr>
          <p:cNvPr id="5" name="Rectangle 4"/>
          <p:cNvSpPr/>
          <p:nvPr/>
        </p:nvSpPr>
        <p:spPr>
          <a:xfrm>
            <a:off x="533400" y="533400"/>
            <a:ext cx="8305800" cy="1077218"/>
          </a:xfrm>
          <a:prstGeom prst="rect">
            <a:avLst/>
          </a:prstGeom>
        </p:spPr>
        <p:txBody>
          <a:bodyPr wrap="square">
            <a:spAutoFit/>
          </a:bodyPr>
          <a:lstStyle/>
          <a:p>
            <a:pPr>
              <a:buFont typeface="Wingdings" pitchFamily="2" charset="2"/>
              <a:buNone/>
            </a:pPr>
            <a:endParaRPr lang="it-IT" sz="800" b="1" dirty="0" smtClean="0">
              <a:solidFill>
                <a:schemeClr val="tx2"/>
              </a:solidFill>
              <a:ea typeface="ＭＳ Ｐゴシック" pitchFamily="-28" charset="-128"/>
              <a:cs typeface="Calibri" pitchFamily="34" charset="0"/>
            </a:endParaRPr>
          </a:p>
          <a:p>
            <a:pPr>
              <a:buFont typeface="Wingdings" pitchFamily="2" charset="2"/>
              <a:buNone/>
            </a:pPr>
            <a:r>
              <a:rPr lang="it-IT" sz="2800" b="1" dirty="0" smtClean="0">
                <a:solidFill>
                  <a:schemeClr val="tx2"/>
                </a:solidFill>
                <a:ea typeface="ＭＳ Ｐゴシック" pitchFamily="-28" charset="-128"/>
                <a:cs typeface="Calibri" pitchFamily="34" charset="0"/>
              </a:rPr>
              <a:t>Mercato Finanziario  e Rapporto Banca Impresa in Romania </a:t>
            </a:r>
            <a:endParaRPr lang="it-IT" sz="2800" dirty="0">
              <a:solidFill>
                <a:schemeClr val="tx2"/>
              </a:solidFill>
              <a:ea typeface="ＭＳ Ｐゴシック" pitchFamily="-28" charset="-128"/>
              <a:cs typeface="Calibri" pitchFamily="34" charset="0"/>
            </a:endParaRPr>
          </a:p>
        </p:txBody>
      </p:sp>
      <p:sp>
        <p:nvSpPr>
          <p:cNvPr id="6" name="Rounded Rectangle 5"/>
          <p:cNvSpPr/>
          <p:nvPr/>
        </p:nvSpPr>
        <p:spPr>
          <a:xfrm>
            <a:off x="457200" y="3276600"/>
            <a:ext cx="8077200" cy="838200"/>
          </a:xfrm>
          <a:prstGeom prst="roundRect">
            <a:avLst/>
          </a:prstGeom>
          <a:solidFill>
            <a:srgbClr val="FF0000">
              <a:alpha val="3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290" name="Gruppo 110"/>
          <p:cNvGrpSpPr>
            <a:grpSpLocks/>
          </p:cNvGrpSpPr>
          <p:nvPr/>
        </p:nvGrpSpPr>
        <p:grpSpPr bwMode="auto">
          <a:xfrm>
            <a:off x="1011238" y="828675"/>
            <a:ext cx="3436937" cy="5049838"/>
            <a:chOff x="1011238" y="828675"/>
            <a:chExt cx="3436937" cy="5049838"/>
          </a:xfrm>
        </p:grpSpPr>
        <p:sp>
          <p:nvSpPr>
            <p:cNvPr id="12303" name="Freeform 4"/>
            <p:cNvSpPr>
              <a:spLocks noChangeArrowheads="1"/>
            </p:cNvSpPr>
            <p:nvPr/>
          </p:nvSpPr>
          <p:spPr bwMode="auto">
            <a:xfrm>
              <a:off x="2090738" y="4352925"/>
              <a:ext cx="98425" cy="77788"/>
            </a:xfrm>
            <a:custGeom>
              <a:avLst/>
              <a:gdLst>
                <a:gd name="T0" fmla="*/ 2147483647 w 275"/>
                <a:gd name="T1" fmla="*/ 2147483647 h 216"/>
                <a:gd name="T2" fmla="*/ 2147483647 w 275"/>
                <a:gd name="T3" fmla="*/ 2147483647 h 216"/>
                <a:gd name="T4" fmla="*/ 2147483647 w 275"/>
                <a:gd name="T5" fmla="*/ 2147483647 h 216"/>
                <a:gd name="T6" fmla="*/ 2147483647 w 275"/>
                <a:gd name="T7" fmla="*/ 2147483647 h 216"/>
                <a:gd name="T8" fmla="*/ 2147483647 w 275"/>
                <a:gd name="T9" fmla="*/ 2147483647 h 216"/>
                <a:gd name="T10" fmla="*/ 2147483647 w 275"/>
                <a:gd name="T11" fmla="*/ 2147483647 h 216"/>
                <a:gd name="T12" fmla="*/ 2147483647 w 275"/>
                <a:gd name="T13" fmla="*/ 2147483647 h 216"/>
                <a:gd name="T14" fmla="*/ 2147483647 w 275"/>
                <a:gd name="T15" fmla="*/ 2147483647 h 216"/>
                <a:gd name="T16" fmla="*/ 2147483647 w 275"/>
                <a:gd name="T17" fmla="*/ 2147483647 h 216"/>
                <a:gd name="T18" fmla="*/ 2147483647 w 275"/>
                <a:gd name="T19" fmla="*/ 2147483647 h 216"/>
                <a:gd name="T20" fmla="*/ 2147483647 w 275"/>
                <a:gd name="T21" fmla="*/ 2147483647 h 216"/>
                <a:gd name="T22" fmla="*/ 2147483647 w 275"/>
                <a:gd name="T23" fmla="*/ 2147483647 h 216"/>
                <a:gd name="T24" fmla="*/ 2147483647 w 275"/>
                <a:gd name="T25" fmla="*/ 2147483647 h 2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5"/>
                <a:gd name="T40" fmla="*/ 0 h 216"/>
                <a:gd name="T41" fmla="*/ 275 w 275"/>
                <a:gd name="T42" fmla="*/ 216 h 2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5" h="216">
                  <a:moveTo>
                    <a:pt x="171" y="206"/>
                  </a:moveTo>
                  <a:lnTo>
                    <a:pt x="171" y="206"/>
                  </a:lnTo>
                  <a:cubicBezTo>
                    <a:pt x="145" y="215"/>
                    <a:pt x="171" y="189"/>
                    <a:pt x="154" y="189"/>
                  </a:cubicBezTo>
                  <a:cubicBezTo>
                    <a:pt x="128" y="189"/>
                    <a:pt x="111" y="198"/>
                    <a:pt x="103" y="163"/>
                  </a:cubicBezTo>
                  <a:cubicBezTo>
                    <a:pt x="103" y="138"/>
                    <a:pt x="103" y="120"/>
                    <a:pt x="85" y="120"/>
                  </a:cubicBezTo>
                  <a:cubicBezTo>
                    <a:pt x="68" y="120"/>
                    <a:pt x="68" y="155"/>
                    <a:pt x="51" y="138"/>
                  </a:cubicBezTo>
                  <a:cubicBezTo>
                    <a:pt x="25" y="120"/>
                    <a:pt x="0" y="120"/>
                    <a:pt x="25" y="103"/>
                  </a:cubicBezTo>
                  <a:cubicBezTo>
                    <a:pt x="42" y="78"/>
                    <a:pt x="120" y="43"/>
                    <a:pt x="162" y="26"/>
                  </a:cubicBezTo>
                  <a:cubicBezTo>
                    <a:pt x="214" y="9"/>
                    <a:pt x="231" y="0"/>
                    <a:pt x="222" y="17"/>
                  </a:cubicBezTo>
                  <a:cubicBezTo>
                    <a:pt x="214" y="35"/>
                    <a:pt x="205" y="86"/>
                    <a:pt x="231" y="78"/>
                  </a:cubicBezTo>
                  <a:cubicBezTo>
                    <a:pt x="257" y="69"/>
                    <a:pt x="274" y="43"/>
                    <a:pt x="274" y="69"/>
                  </a:cubicBezTo>
                  <a:cubicBezTo>
                    <a:pt x="274" y="103"/>
                    <a:pt x="240" y="155"/>
                    <a:pt x="240" y="155"/>
                  </a:cubicBezTo>
                  <a:cubicBezTo>
                    <a:pt x="240" y="155"/>
                    <a:pt x="205" y="206"/>
                    <a:pt x="171" y="20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04" name="Freeform 5"/>
            <p:cNvSpPr>
              <a:spLocks noChangeArrowheads="1"/>
            </p:cNvSpPr>
            <p:nvPr/>
          </p:nvSpPr>
          <p:spPr bwMode="auto">
            <a:xfrm>
              <a:off x="2584450" y="4241800"/>
              <a:ext cx="142875" cy="260350"/>
            </a:xfrm>
            <a:custGeom>
              <a:avLst/>
              <a:gdLst>
                <a:gd name="T0" fmla="*/ 2147483647 w 395"/>
                <a:gd name="T1" fmla="*/ 2147483647 h 721"/>
                <a:gd name="T2" fmla="*/ 2147483647 w 395"/>
                <a:gd name="T3" fmla="*/ 2147483647 h 721"/>
                <a:gd name="T4" fmla="*/ 2147483647 w 395"/>
                <a:gd name="T5" fmla="*/ 2147483647 h 721"/>
                <a:gd name="T6" fmla="*/ 2147483647 w 395"/>
                <a:gd name="T7" fmla="*/ 2147483647 h 721"/>
                <a:gd name="T8" fmla="*/ 2147483647 w 395"/>
                <a:gd name="T9" fmla="*/ 2147483647 h 721"/>
                <a:gd name="T10" fmla="*/ 2147483647 w 395"/>
                <a:gd name="T11" fmla="*/ 2147483647 h 721"/>
                <a:gd name="T12" fmla="*/ 2147483647 w 395"/>
                <a:gd name="T13" fmla="*/ 2147483647 h 721"/>
                <a:gd name="T14" fmla="*/ 2147483647 w 395"/>
                <a:gd name="T15" fmla="*/ 2147483647 h 721"/>
                <a:gd name="T16" fmla="*/ 2147483647 w 395"/>
                <a:gd name="T17" fmla="*/ 2147483647 h 721"/>
                <a:gd name="T18" fmla="*/ 2147483647 w 395"/>
                <a:gd name="T19" fmla="*/ 2147483647 h 721"/>
                <a:gd name="T20" fmla="*/ 2147483647 w 395"/>
                <a:gd name="T21" fmla="*/ 2147483647 h 721"/>
                <a:gd name="T22" fmla="*/ 2147483647 w 395"/>
                <a:gd name="T23" fmla="*/ 2147483647 h 721"/>
                <a:gd name="T24" fmla="*/ 2147483647 w 395"/>
                <a:gd name="T25" fmla="*/ 2147483647 h 721"/>
                <a:gd name="T26" fmla="*/ 2147483647 w 395"/>
                <a:gd name="T27" fmla="*/ 2147483647 h 721"/>
                <a:gd name="T28" fmla="*/ 2147483647 w 395"/>
                <a:gd name="T29" fmla="*/ 2147483647 h 721"/>
                <a:gd name="T30" fmla="*/ 2147483647 w 395"/>
                <a:gd name="T31" fmla="*/ 2147483647 h 721"/>
                <a:gd name="T32" fmla="*/ 2147483647 w 395"/>
                <a:gd name="T33" fmla="*/ 2147483647 h 721"/>
                <a:gd name="T34" fmla="*/ 2147483647 w 395"/>
                <a:gd name="T35" fmla="*/ 2147483647 h 721"/>
                <a:gd name="T36" fmla="*/ 2147483647 w 395"/>
                <a:gd name="T37" fmla="*/ 2147483647 h 721"/>
                <a:gd name="T38" fmla="*/ 2147483647 w 395"/>
                <a:gd name="T39" fmla="*/ 2147483647 h 721"/>
                <a:gd name="T40" fmla="*/ 2147483647 w 395"/>
                <a:gd name="T41" fmla="*/ 2147483647 h 721"/>
                <a:gd name="T42" fmla="*/ 2147483647 w 395"/>
                <a:gd name="T43" fmla="*/ 2147483647 h 721"/>
                <a:gd name="T44" fmla="*/ 2147483647 w 395"/>
                <a:gd name="T45" fmla="*/ 2147483647 h 721"/>
                <a:gd name="T46" fmla="*/ 2147483647 w 395"/>
                <a:gd name="T47" fmla="*/ 2147483647 h 721"/>
                <a:gd name="T48" fmla="*/ 2147483647 w 395"/>
                <a:gd name="T49" fmla="*/ 2147483647 h 721"/>
                <a:gd name="T50" fmla="*/ 2147483647 w 395"/>
                <a:gd name="T51" fmla="*/ 2147483647 h 721"/>
                <a:gd name="T52" fmla="*/ 2147483647 w 395"/>
                <a:gd name="T53" fmla="*/ 2147483647 h 721"/>
                <a:gd name="T54" fmla="*/ 2147483647 w 395"/>
                <a:gd name="T55" fmla="*/ 2147483647 h 721"/>
                <a:gd name="T56" fmla="*/ 2147483647 w 395"/>
                <a:gd name="T57" fmla="*/ 2147483647 h 721"/>
                <a:gd name="T58" fmla="*/ 2147483647 w 395"/>
                <a:gd name="T59" fmla="*/ 2147483647 h 721"/>
                <a:gd name="T60" fmla="*/ 2147483647 w 395"/>
                <a:gd name="T61" fmla="*/ 2147483647 h 721"/>
                <a:gd name="T62" fmla="*/ 2147483647 w 395"/>
                <a:gd name="T63" fmla="*/ 2147483647 h 721"/>
                <a:gd name="T64" fmla="*/ 2147483647 w 395"/>
                <a:gd name="T65" fmla="*/ 2147483647 h 721"/>
                <a:gd name="T66" fmla="*/ 2147483647 w 395"/>
                <a:gd name="T67" fmla="*/ 2147483647 h 721"/>
                <a:gd name="T68" fmla="*/ 2147483647 w 395"/>
                <a:gd name="T69" fmla="*/ 2147483647 h 721"/>
                <a:gd name="T70" fmla="*/ 2147483647 w 395"/>
                <a:gd name="T71" fmla="*/ 2147483647 h 721"/>
                <a:gd name="T72" fmla="*/ 2147483647 w 395"/>
                <a:gd name="T73" fmla="*/ 2147483647 h 721"/>
                <a:gd name="T74" fmla="*/ 2147483647 w 395"/>
                <a:gd name="T75" fmla="*/ 2147483647 h 721"/>
                <a:gd name="T76" fmla="*/ 2147483647 w 395"/>
                <a:gd name="T77" fmla="*/ 2147483647 h 721"/>
                <a:gd name="T78" fmla="*/ 2147483647 w 395"/>
                <a:gd name="T79" fmla="*/ 2147483647 h 721"/>
                <a:gd name="T80" fmla="*/ 2147483647 w 395"/>
                <a:gd name="T81" fmla="*/ 2147483647 h 721"/>
                <a:gd name="T82" fmla="*/ 2147483647 w 395"/>
                <a:gd name="T83" fmla="*/ 2147483647 h 721"/>
                <a:gd name="T84" fmla="*/ 2147483647 w 395"/>
                <a:gd name="T85" fmla="*/ 2147483647 h 721"/>
                <a:gd name="T86" fmla="*/ 2147483647 w 395"/>
                <a:gd name="T87" fmla="*/ 2147483647 h 721"/>
                <a:gd name="T88" fmla="*/ 2147483647 w 395"/>
                <a:gd name="T89" fmla="*/ 2147483647 h 721"/>
                <a:gd name="T90" fmla="*/ 2147483647 w 395"/>
                <a:gd name="T91" fmla="*/ 2147483647 h 721"/>
                <a:gd name="T92" fmla="*/ 2147483647 w 395"/>
                <a:gd name="T93" fmla="*/ 2147483647 h 72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5"/>
                <a:gd name="T142" fmla="*/ 0 h 721"/>
                <a:gd name="T143" fmla="*/ 395 w 395"/>
                <a:gd name="T144" fmla="*/ 721 h 72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5" h="721">
                  <a:moveTo>
                    <a:pt x="86" y="137"/>
                  </a:moveTo>
                  <a:lnTo>
                    <a:pt x="86" y="137"/>
                  </a:lnTo>
                  <a:cubicBezTo>
                    <a:pt x="77" y="129"/>
                    <a:pt x="26" y="120"/>
                    <a:pt x="26" y="103"/>
                  </a:cubicBezTo>
                  <a:cubicBezTo>
                    <a:pt x="26" y="94"/>
                    <a:pt x="26" y="85"/>
                    <a:pt x="34" y="77"/>
                  </a:cubicBezTo>
                  <a:cubicBezTo>
                    <a:pt x="43" y="60"/>
                    <a:pt x="51" y="43"/>
                    <a:pt x="43" y="51"/>
                  </a:cubicBezTo>
                  <a:cubicBezTo>
                    <a:pt x="34" y="51"/>
                    <a:pt x="17" y="94"/>
                    <a:pt x="17" y="103"/>
                  </a:cubicBezTo>
                  <a:cubicBezTo>
                    <a:pt x="17" y="111"/>
                    <a:pt x="26" y="120"/>
                    <a:pt x="17" y="129"/>
                  </a:cubicBezTo>
                  <a:cubicBezTo>
                    <a:pt x="9" y="129"/>
                    <a:pt x="0" y="137"/>
                    <a:pt x="9" y="154"/>
                  </a:cubicBezTo>
                  <a:cubicBezTo>
                    <a:pt x="9" y="163"/>
                    <a:pt x="17" y="171"/>
                    <a:pt x="17" y="180"/>
                  </a:cubicBezTo>
                  <a:cubicBezTo>
                    <a:pt x="17" y="188"/>
                    <a:pt x="0" y="197"/>
                    <a:pt x="17" y="206"/>
                  </a:cubicBezTo>
                  <a:cubicBezTo>
                    <a:pt x="34" y="206"/>
                    <a:pt x="60" y="214"/>
                    <a:pt x="60" y="231"/>
                  </a:cubicBezTo>
                  <a:cubicBezTo>
                    <a:pt x="60" y="248"/>
                    <a:pt x="60" y="266"/>
                    <a:pt x="60" y="274"/>
                  </a:cubicBezTo>
                  <a:cubicBezTo>
                    <a:pt x="69" y="291"/>
                    <a:pt x="77" y="291"/>
                    <a:pt x="77" y="317"/>
                  </a:cubicBezTo>
                  <a:cubicBezTo>
                    <a:pt x="77" y="343"/>
                    <a:pt x="77" y="360"/>
                    <a:pt x="69" y="360"/>
                  </a:cubicBezTo>
                  <a:cubicBezTo>
                    <a:pt x="60" y="360"/>
                    <a:pt x="51" y="360"/>
                    <a:pt x="51" y="377"/>
                  </a:cubicBezTo>
                  <a:cubicBezTo>
                    <a:pt x="51" y="394"/>
                    <a:pt x="69" y="428"/>
                    <a:pt x="77" y="420"/>
                  </a:cubicBezTo>
                  <a:cubicBezTo>
                    <a:pt x="77" y="411"/>
                    <a:pt x="86" y="394"/>
                    <a:pt x="86" y="411"/>
                  </a:cubicBezTo>
                  <a:cubicBezTo>
                    <a:pt x="86" y="420"/>
                    <a:pt x="103" y="454"/>
                    <a:pt x="94" y="454"/>
                  </a:cubicBezTo>
                  <a:cubicBezTo>
                    <a:pt x="86" y="463"/>
                    <a:pt x="69" y="454"/>
                    <a:pt x="69" y="471"/>
                  </a:cubicBezTo>
                  <a:cubicBezTo>
                    <a:pt x="69" y="480"/>
                    <a:pt x="69" y="514"/>
                    <a:pt x="60" y="531"/>
                  </a:cubicBezTo>
                  <a:cubicBezTo>
                    <a:pt x="43" y="548"/>
                    <a:pt x="69" y="574"/>
                    <a:pt x="60" y="583"/>
                  </a:cubicBezTo>
                  <a:cubicBezTo>
                    <a:pt x="51" y="600"/>
                    <a:pt x="43" y="609"/>
                    <a:pt x="51" y="609"/>
                  </a:cubicBezTo>
                  <a:cubicBezTo>
                    <a:pt x="60" y="617"/>
                    <a:pt x="69" y="634"/>
                    <a:pt x="69" y="643"/>
                  </a:cubicBezTo>
                  <a:cubicBezTo>
                    <a:pt x="69" y="651"/>
                    <a:pt x="86" y="660"/>
                    <a:pt x="86" y="660"/>
                  </a:cubicBezTo>
                  <a:cubicBezTo>
                    <a:pt x="94" y="660"/>
                    <a:pt x="94" y="686"/>
                    <a:pt x="103" y="703"/>
                  </a:cubicBezTo>
                  <a:cubicBezTo>
                    <a:pt x="111" y="711"/>
                    <a:pt x="128" y="703"/>
                    <a:pt x="146" y="703"/>
                  </a:cubicBezTo>
                  <a:cubicBezTo>
                    <a:pt x="163" y="703"/>
                    <a:pt x="163" y="720"/>
                    <a:pt x="180" y="703"/>
                  </a:cubicBezTo>
                  <a:cubicBezTo>
                    <a:pt x="206" y="677"/>
                    <a:pt x="206" y="668"/>
                    <a:pt x="206" y="651"/>
                  </a:cubicBezTo>
                  <a:cubicBezTo>
                    <a:pt x="206" y="634"/>
                    <a:pt x="206" y="617"/>
                    <a:pt x="223" y="617"/>
                  </a:cubicBezTo>
                  <a:cubicBezTo>
                    <a:pt x="240" y="617"/>
                    <a:pt x="240" y="609"/>
                    <a:pt x="266" y="626"/>
                  </a:cubicBezTo>
                  <a:cubicBezTo>
                    <a:pt x="291" y="634"/>
                    <a:pt x="309" y="660"/>
                    <a:pt x="326" y="634"/>
                  </a:cubicBezTo>
                  <a:cubicBezTo>
                    <a:pt x="334" y="617"/>
                    <a:pt x="343" y="540"/>
                    <a:pt x="343" y="506"/>
                  </a:cubicBezTo>
                  <a:cubicBezTo>
                    <a:pt x="343" y="471"/>
                    <a:pt x="368" y="377"/>
                    <a:pt x="368" y="369"/>
                  </a:cubicBezTo>
                  <a:cubicBezTo>
                    <a:pt x="368" y="351"/>
                    <a:pt x="326" y="325"/>
                    <a:pt x="343" y="300"/>
                  </a:cubicBezTo>
                  <a:cubicBezTo>
                    <a:pt x="360" y="283"/>
                    <a:pt x="394" y="248"/>
                    <a:pt x="386" y="231"/>
                  </a:cubicBezTo>
                  <a:cubicBezTo>
                    <a:pt x="386" y="206"/>
                    <a:pt x="360" y="154"/>
                    <a:pt x="351" y="129"/>
                  </a:cubicBezTo>
                  <a:cubicBezTo>
                    <a:pt x="343" y="111"/>
                    <a:pt x="317" y="111"/>
                    <a:pt x="326" y="94"/>
                  </a:cubicBezTo>
                  <a:cubicBezTo>
                    <a:pt x="343" y="85"/>
                    <a:pt x="360" y="94"/>
                    <a:pt x="343" y="77"/>
                  </a:cubicBezTo>
                  <a:cubicBezTo>
                    <a:pt x="334" y="68"/>
                    <a:pt x="326" y="60"/>
                    <a:pt x="326" y="51"/>
                  </a:cubicBezTo>
                  <a:cubicBezTo>
                    <a:pt x="326" y="51"/>
                    <a:pt x="326" y="43"/>
                    <a:pt x="309" y="43"/>
                  </a:cubicBezTo>
                  <a:cubicBezTo>
                    <a:pt x="300" y="43"/>
                    <a:pt x="300" y="43"/>
                    <a:pt x="283" y="34"/>
                  </a:cubicBezTo>
                  <a:cubicBezTo>
                    <a:pt x="266" y="26"/>
                    <a:pt x="257" y="0"/>
                    <a:pt x="249" y="8"/>
                  </a:cubicBezTo>
                  <a:cubicBezTo>
                    <a:pt x="240" y="17"/>
                    <a:pt x="249" y="26"/>
                    <a:pt x="240" y="34"/>
                  </a:cubicBezTo>
                  <a:cubicBezTo>
                    <a:pt x="223" y="34"/>
                    <a:pt x="214" y="34"/>
                    <a:pt x="206" y="43"/>
                  </a:cubicBezTo>
                  <a:cubicBezTo>
                    <a:pt x="197" y="51"/>
                    <a:pt x="163" y="94"/>
                    <a:pt x="154" y="103"/>
                  </a:cubicBezTo>
                  <a:cubicBezTo>
                    <a:pt x="137" y="111"/>
                    <a:pt x="128" y="111"/>
                    <a:pt x="120" y="111"/>
                  </a:cubicBezTo>
                  <a:cubicBezTo>
                    <a:pt x="111" y="120"/>
                    <a:pt x="111" y="137"/>
                    <a:pt x="86" y="13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05" name="Freeform 6"/>
            <p:cNvSpPr>
              <a:spLocks noChangeArrowheads="1"/>
            </p:cNvSpPr>
            <p:nvPr/>
          </p:nvSpPr>
          <p:spPr bwMode="auto">
            <a:xfrm>
              <a:off x="2619375" y="4052888"/>
              <a:ext cx="90488" cy="179387"/>
            </a:xfrm>
            <a:custGeom>
              <a:avLst/>
              <a:gdLst>
                <a:gd name="T0" fmla="*/ 2147483647 w 250"/>
                <a:gd name="T1" fmla="*/ 2147483647 h 498"/>
                <a:gd name="T2" fmla="*/ 2147483647 w 250"/>
                <a:gd name="T3" fmla="*/ 2147483647 h 498"/>
                <a:gd name="T4" fmla="*/ 2147483647 w 250"/>
                <a:gd name="T5" fmla="*/ 2147483647 h 498"/>
                <a:gd name="T6" fmla="*/ 2147483647 w 250"/>
                <a:gd name="T7" fmla="*/ 0 h 498"/>
                <a:gd name="T8" fmla="*/ 2147483647 w 250"/>
                <a:gd name="T9" fmla="*/ 2147483647 h 498"/>
                <a:gd name="T10" fmla="*/ 2147483647 w 250"/>
                <a:gd name="T11" fmla="*/ 2147483647 h 498"/>
                <a:gd name="T12" fmla="*/ 2147483647 w 250"/>
                <a:gd name="T13" fmla="*/ 2147483647 h 498"/>
                <a:gd name="T14" fmla="*/ 2147483647 w 250"/>
                <a:gd name="T15" fmla="*/ 2147483647 h 498"/>
                <a:gd name="T16" fmla="*/ 2147483647 w 250"/>
                <a:gd name="T17" fmla="*/ 2147483647 h 498"/>
                <a:gd name="T18" fmla="*/ 2147483647 w 250"/>
                <a:gd name="T19" fmla="*/ 2147483647 h 498"/>
                <a:gd name="T20" fmla="*/ 2147483647 w 250"/>
                <a:gd name="T21" fmla="*/ 2147483647 h 498"/>
                <a:gd name="T22" fmla="*/ 2147483647 w 250"/>
                <a:gd name="T23" fmla="*/ 2147483647 h 498"/>
                <a:gd name="T24" fmla="*/ 2147483647 w 250"/>
                <a:gd name="T25" fmla="*/ 2147483647 h 498"/>
                <a:gd name="T26" fmla="*/ 2147483647 w 250"/>
                <a:gd name="T27" fmla="*/ 2147483647 h 498"/>
                <a:gd name="T28" fmla="*/ 2147483647 w 250"/>
                <a:gd name="T29" fmla="*/ 2147483647 h 498"/>
                <a:gd name="T30" fmla="*/ 2147483647 w 250"/>
                <a:gd name="T31" fmla="*/ 2147483647 h 498"/>
                <a:gd name="T32" fmla="*/ 2147483647 w 250"/>
                <a:gd name="T33" fmla="*/ 2147483647 h 498"/>
                <a:gd name="T34" fmla="*/ 2147483647 w 250"/>
                <a:gd name="T35" fmla="*/ 2147483647 h 498"/>
                <a:gd name="T36" fmla="*/ 2147483647 w 250"/>
                <a:gd name="T37" fmla="*/ 2147483647 h 498"/>
                <a:gd name="T38" fmla="*/ 2147483647 w 250"/>
                <a:gd name="T39" fmla="*/ 2147483647 h 498"/>
                <a:gd name="T40" fmla="*/ 2147483647 w 250"/>
                <a:gd name="T41" fmla="*/ 2147483647 h 498"/>
                <a:gd name="T42" fmla="*/ 2147483647 w 250"/>
                <a:gd name="T43" fmla="*/ 2147483647 h 498"/>
                <a:gd name="T44" fmla="*/ 2147483647 w 250"/>
                <a:gd name="T45" fmla="*/ 2147483647 h 498"/>
                <a:gd name="T46" fmla="*/ 2147483647 w 250"/>
                <a:gd name="T47" fmla="*/ 2147483647 h 498"/>
                <a:gd name="T48" fmla="*/ 2147483647 w 250"/>
                <a:gd name="T49" fmla="*/ 2147483647 h 498"/>
                <a:gd name="T50" fmla="*/ 2147483647 w 250"/>
                <a:gd name="T51" fmla="*/ 2147483647 h 498"/>
                <a:gd name="T52" fmla="*/ 2147483647 w 250"/>
                <a:gd name="T53" fmla="*/ 2147483647 h 498"/>
                <a:gd name="T54" fmla="*/ 2147483647 w 250"/>
                <a:gd name="T55" fmla="*/ 2147483647 h 4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50"/>
                <a:gd name="T85" fmla="*/ 0 h 498"/>
                <a:gd name="T86" fmla="*/ 250 w 250"/>
                <a:gd name="T87" fmla="*/ 498 h 49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50" h="498">
                  <a:moveTo>
                    <a:pt x="215" y="103"/>
                  </a:moveTo>
                  <a:lnTo>
                    <a:pt x="215" y="103"/>
                  </a:lnTo>
                  <a:cubicBezTo>
                    <a:pt x="215" y="86"/>
                    <a:pt x="232" y="60"/>
                    <a:pt x="223" y="43"/>
                  </a:cubicBezTo>
                  <a:cubicBezTo>
                    <a:pt x="223" y="26"/>
                    <a:pt x="197" y="0"/>
                    <a:pt x="197" y="0"/>
                  </a:cubicBezTo>
                  <a:cubicBezTo>
                    <a:pt x="197" y="9"/>
                    <a:pt x="197" y="34"/>
                    <a:pt x="189" y="34"/>
                  </a:cubicBezTo>
                  <a:cubicBezTo>
                    <a:pt x="180" y="43"/>
                    <a:pt x="189" y="60"/>
                    <a:pt x="189" y="69"/>
                  </a:cubicBezTo>
                  <a:cubicBezTo>
                    <a:pt x="189" y="77"/>
                    <a:pt x="189" y="111"/>
                    <a:pt x="180" y="103"/>
                  </a:cubicBezTo>
                  <a:cubicBezTo>
                    <a:pt x="172" y="94"/>
                    <a:pt x="163" y="77"/>
                    <a:pt x="155" y="86"/>
                  </a:cubicBezTo>
                  <a:cubicBezTo>
                    <a:pt x="137" y="86"/>
                    <a:pt x="120" y="111"/>
                    <a:pt x="112" y="111"/>
                  </a:cubicBezTo>
                  <a:cubicBezTo>
                    <a:pt x="103" y="111"/>
                    <a:pt x="78" y="128"/>
                    <a:pt x="69" y="128"/>
                  </a:cubicBezTo>
                  <a:cubicBezTo>
                    <a:pt x="60" y="137"/>
                    <a:pt x="43" y="137"/>
                    <a:pt x="43" y="154"/>
                  </a:cubicBezTo>
                  <a:cubicBezTo>
                    <a:pt x="43" y="163"/>
                    <a:pt x="43" y="171"/>
                    <a:pt x="34" y="180"/>
                  </a:cubicBezTo>
                  <a:cubicBezTo>
                    <a:pt x="17" y="188"/>
                    <a:pt x="0" y="188"/>
                    <a:pt x="17" y="206"/>
                  </a:cubicBezTo>
                  <a:cubicBezTo>
                    <a:pt x="26" y="214"/>
                    <a:pt x="34" y="214"/>
                    <a:pt x="26" y="223"/>
                  </a:cubicBezTo>
                  <a:cubicBezTo>
                    <a:pt x="17" y="231"/>
                    <a:pt x="17" y="249"/>
                    <a:pt x="26" y="257"/>
                  </a:cubicBezTo>
                  <a:cubicBezTo>
                    <a:pt x="34" y="274"/>
                    <a:pt x="52" y="283"/>
                    <a:pt x="43" y="291"/>
                  </a:cubicBezTo>
                  <a:cubicBezTo>
                    <a:pt x="34" y="300"/>
                    <a:pt x="17" y="326"/>
                    <a:pt x="34" y="326"/>
                  </a:cubicBezTo>
                  <a:cubicBezTo>
                    <a:pt x="43" y="326"/>
                    <a:pt x="69" y="317"/>
                    <a:pt x="69" y="326"/>
                  </a:cubicBezTo>
                  <a:cubicBezTo>
                    <a:pt x="60" y="334"/>
                    <a:pt x="26" y="377"/>
                    <a:pt x="34" y="377"/>
                  </a:cubicBezTo>
                  <a:cubicBezTo>
                    <a:pt x="52" y="377"/>
                    <a:pt x="95" y="394"/>
                    <a:pt x="86" y="403"/>
                  </a:cubicBezTo>
                  <a:cubicBezTo>
                    <a:pt x="78" y="403"/>
                    <a:pt x="69" y="420"/>
                    <a:pt x="69" y="429"/>
                  </a:cubicBezTo>
                  <a:cubicBezTo>
                    <a:pt x="69" y="437"/>
                    <a:pt x="103" y="463"/>
                    <a:pt x="120" y="463"/>
                  </a:cubicBezTo>
                  <a:cubicBezTo>
                    <a:pt x="129" y="463"/>
                    <a:pt x="137" y="497"/>
                    <a:pt x="146" y="489"/>
                  </a:cubicBezTo>
                  <a:cubicBezTo>
                    <a:pt x="155" y="480"/>
                    <a:pt x="172" y="437"/>
                    <a:pt x="189" y="420"/>
                  </a:cubicBezTo>
                  <a:cubicBezTo>
                    <a:pt x="197" y="394"/>
                    <a:pt x="197" y="326"/>
                    <a:pt x="206" y="309"/>
                  </a:cubicBezTo>
                  <a:cubicBezTo>
                    <a:pt x="223" y="291"/>
                    <a:pt x="240" y="291"/>
                    <a:pt x="240" y="257"/>
                  </a:cubicBezTo>
                  <a:cubicBezTo>
                    <a:pt x="240" y="231"/>
                    <a:pt x="249" y="154"/>
                    <a:pt x="232" y="146"/>
                  </a:cubicBezTo>
                  <a:cubicBezTo>
                    <a:pt x="223" y="128"/>
                    <a:pt x="215" y="120"/>
                    <a:pt x="215" y="10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06" name="Freeform 7"/>
            <p:cNvSpPr>
              <a:spLocks noChangeArrowheads="1"/>
            </p:cNvSpPr>
            <p:nvPr/>
          </p:nvSpPr>
          <p:spPr bwMode="auto">
            <a:xfrm>
              <a:off x="2947988" y="4543425"/>
              <a:ext cx="277812" cy="179388"/>
            </a:xfrm>
            <a:custGeom>
              <a:avLst/>
              <a:gdLst>
                <a:gd name="T0" fmla="*/ 2147483647 w 773"/>
                <a:gd name="T1" fmla="*/ 2147483647 h 498"/>
                <a:gd name="T2" fmla="*/ 2147483647 w 773"/>
                <a:gd name="T3" fmla="*/ 2147483647 h 498"/>
                <a:gd name="T4" fmla="*/ 2147483647 w 773"/>
                <a:gd name="T5" fmla="*/ 2147483647 h 498"/>
                <a:gd name="T6" fmla="*/ 2147483647 w 773"/>
                <a:gd name="T7" fmla="*/ 2147483647 h 498"/>
                <a:gd name="T8" fmla="*/ 2147483647 w 773"/>
                <a:gd name="T9" fmla="*/ 2147483647 h 498"/>
                <a:gd name="T10" fmla="*/ 2147483647 w 773"/>
                <a:gd name="T11" fmla="*/ 2147483647 h 498"/>
                <a:gd name="T12" fmla="*/ 2147483647 w 773"/>
                <a:gd name="T13" fmla="*/ 2147483647 h 498"/>
                <a:gd name="T14" fmla="*/ 2147483647 w 773"/>
                <a:gd name="T15" fmla="*/ 2147483647 h 498"/>
                <a:gd name="T16" fmla="*/ 2147483647 w 773"/>
                <a:gd name="T17" fmla="*/ 2147483647 h 498"/>
                <a:gd name="T18" fmla="*/ 2147483647 w 773"/>
                <a:gd name="T19" fmla="*/ 2147483647 h 498"/>
                <a:gd name="T20" fmla="*/ 2147483647 w 773"/>
                <a:gd name="T21" fmla="*/ 2147483647 h 498"/>
                <a:gd name="T22" fmla="*/ 2147483647 w 773"/>
                <a:gd name="T23" fmla="*/ 2147483647 h 498"/>
                <a:gd name="T24" fmla="*/ 2147483647 w 773"/>
                <a:gd name="T25" fmla="*/ 2147483647 h 498"/>
                <a:gd name="T26" fmla="*/ 2147483647 w 773"/>
                <a:gd name="T27" fmla="*/ 2147483647 h 498"/>
                <a:gd name="T28" fmla="*/ 2147483647 w 773"/>
                <a:gd name="T29" fmla="*/ 2147483647 h 498"/>
                <a:gd name="T30" fmla="*/ 2147483647 w 773"/>
                <a:gd name="T31" fmla="*/ 2147483647 h 498"/>
                <a:gd name="T32" fmla="*/ 2147483647 w 773"/>
                <a:gd name="T33" fmla="*/ 2147483647 h 498"/>
                <a:gd name="T34" fmla="*/ 2147483647 w 773"/>
                <a:gd name="T35" fmla="*/ 2147483647 h 498"/>
                <a:gd name="T36" fmla="*/ 2147483647 w 773"/>
                <a:gd name="T37" fmla="*/ 2147483647 h 498"/>
                <a:gd name="T38" fmla="*/ 2147483647 w 773"/>
                <a:gd name="T39" fmla="*/ 2147483647 h 498"/>
                <a:gd name="T40" fmla="*/ 2147483647 w 773"/>
                <a:gd name="T41" fmla="*/ 2147483647 h 498"/>
                <a:gd name="T42" fmla="*/ 2147483647 w 773"/>
                <a:gd name="T43" fmla="*/ 2147483647 h 498"/>
                <a:gd name="T44" fmla="*/ 2147483647 w 773"/>
                <a:gd name="T45" fmla="*/ 2147483647 h 498"/>
                <a:gd name="T46" fmla="*/ 2147483647 w 773"/>
                <a:gd name="T47" fmla="*/ 2147483647 h 498"/>
                <a:gd name="T48" fmla="*/ 2147483647 w 773"/>
                <a:gd name="T49" fmla="*/ 2147483647 h 498"/>
                <a:gd name="T50" fmla="*/ 2147483647 w 773"/>
                <a:gd name="T51" fmla="*/ 2147483647 h 498"/>
                <a:gd name="T52" fmla="*/ 2147483647 w 773"/>
                <a:gd name="T53" fmla="*/ 2147483647 h 498"/>
                <a:gd name="T54" fmla="*/ 2147483647 w 773"/>
                <a:gd name="T55" fmla="*/ 2147483647 h 498"/>
                <a:gd name="T56" fmla="*/ 2147483647 w 773"/>
                <a:gd name="T57" fmla="*/ 2147483647 h 498"/>
                <a:gd name="T58" fmla="*/ 2147483647 w 773"/>
                <a:gd name="T59" fmla="*/ 2147483647 h 498"/>
                <a:gd name="T60" fmla="*/ 2147483647 w 773"/>
                <a:gd name="T61" fmla="*/ 2147483647 h 498"/>
                <a:gd name="T62" fmla="*/ 2147483647 w 773"/>
                <a:gd name="T63" fmla="*/ 2147483647 h 498"/>
                <a:gd name="T64" fmla="*/ 2147483647 w 773"/>
                <a:gd name="T65" fmla="*/ 2147483647 h 498"/>
                <a:gd name="T66" fmla="*/ 2147483647 w 773"/>
                <a:gd name="T67" fmla="*/ 2147483647 h 498"/>
                <a:gd name="T68" fmla="*/ 2147483647 w 773"/>
                <a:gd name="T69" fmla="*/ 2147483647 h 498"/>
                <a:gd name="T70" fmla="*/ 2147483647 w 773"/>
                <a:gd name="T71" fmla="*/ 2147483647 h 498"/>
                <a:gd name="T72" fmla="*/ 2147483647 w 773"/>
                <a:gd name="T73" fmla="*/ 2147483647 h 498"/>
                <a:gd name="T74" fmla="*/ 2147483647 w 773"/>
                <a:gd name="T75" fmla="*/ 2147483647 h 498"/>
                <a:gd name="T76" fmla="*/ 2147483647 w 773"/>
                <a:gd name="T77" fmla="*/ 2147483647 h 498"/>
                <a:gd name="T78" fmla="*/ 2147483647 w 773"/>
                <a:gd name="T79" fmla="*/ 0 h 498"/>
                <a:gd name="T80" fmla="*/ 2147483647 w 773"/>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73"/>
                <a:gd name="T124" fmla="*/ 0 h 498"/>
                <a:gd name="T125" fmla="*/ 773 w 773"/>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73" h="498">
                  <a:moveTo>
                    <a:pt x="763" y="9"/>
                  </a:moveTo>
                  <a:lnTo>
                    <a:pt x="763" y="9"/>
                  </a:lnTo>
                  <a:cubicBezTo>
                    <a:pt x="772" y="9"/>
                    <a:pt x="755" y="17"/>
                    <a:pt x="755" y="17"/>
                  </a:cubicBezTo>
                  <a:cubicBezTo>
                    <a:pt x="746" y="26"/>
                    <a:pt x="729" y="77"/>
                    <a:pt x="712" y="94"/>
                  </a:cubicBezTo>
                  <a:cubicBezTo>
                    <a:pt x="703" y="111"/>
                    <a:pt x="686" y="163"/>
                    <a:pt x="678" y="171"/>
                  </a:cubicBezTo>
                  <a:cubicBezTo>
                    <a:pt x="678" y="189"/>
                    <a:pt x="686" y="197"/>
                    <a:pt x="678" y="214"/>
                  </a:cubicBezTo>
                  <a:cubicBezTo>
                    <a:pt x="660" y="231"/>
                    <a:pt x="660" y="249"/>
                    <a:pt x="660" y="266"/>
                  </a:cubicBezTo>
                  <a:cubicBezTo>
                    <a:pt x="660" y="283"/>
                    <a:pt x="652" y="291"/>
                    <a:pt x="660" y="300"/>
                  </a:cubicBezTo>
                  <a:cubicBezTo>
                    <a:pt x="678" y="308"/>
                    <a:pt x="686" y="308"/>
                    <a:pt x="686" y="334"/>
                  </a:cubicBezTo>
                  <a:cubicBezTo>
                    <a:pt x="686" y="360"/>
                    <a:pt x="712" y="368"/>
                    <a:pt x="712" y="386"/>
                  </a:cubicBezTo>
                  <a:cubicBezTo>
                    <a:pt x="703" y="394"/>
                    <a:pt x="678" y="411"/>
                    <a:pt x="678" y="429"/>
                  </a:cubicBezTo>
                  <a:cubicBezTo>
                    <a:pt x="678" y="446"/>
                    <a:pt x="669" y="454"/>
                    <a:pt x="669" y="471"/>
                  </a:cubicBezTo>
                  <a:cubicBezTo>
                    <a:pt x="669" y="480"/>
                    <a:pt x="678" y="497"/>
                    <a:pt x="669" y="497"/>
                  </a:cubicBezTo>
                  <a:cubicBezTo>
                    <a:pt x="660" y="497"/>
                    <a:pt x="618" y="480"/>
                    <a:pt x="609" y="489"/>
                  </a:cubicBezTo>
                  <a:cubicBezTo>
                    <a:pt x="601" y="497"/>
                    <a:pt x="592" y="497"/>
                    <a:pt x="575" y="497"/>
                  </a:cubicBezTo>
                  <a:cubicBezTo>
                    <a:pt x="557" y="489"/>
                    <a:pt x="523" y="489"/>
                    <a:pt x="515" y="471"/>
                  </a:cubicBezTo>
                  <a:cubicBezTo>
                    <a:pt x="498" y="454"/>
                    <a:pt x="506" y="429"/>
                    <a:pt x="489" y="420"/>
                  </a:cubicBezTo>
                  <a:cubicBezTo>
                    <a:pt x="472" y="403"/>
                    <a:pt x="429" y="368"/>
                    <a:pt x="403" y="377"/>
                  </a:cubicBezTo>
                  <a:cubicBezTo>
                    <a:pt x="378" y="386"/>
                    <a:pt x="369" y="386"/>
                    <a:pt x="352" y="377"/>
                  </a:cubicBezTo>
                  <a:cubicBezTo>
                    <a:pt x="343" y="368"/>
                    <a:pt x="317" y="360"/>
                    <a:pt x="309" y="351"/>
                  </a:cubicBezTo>
                  <a:cubicBezTo>
                    <a:pt x="300" y="343"/>
                    <a:pt x="300" y="343"/>
                    <a:pt x="275" y="334"/>
                  </a:cubicBezTo>
                  <a:cubicBezTo>
                    <a:pt x="249" y="326"/>
                    <a:pt x="232" y="308"/>
                    <a:pt x="206" y="291"/>
                  </a:cubicBezTo>
                  <a:cubicBezTo>
                    <a:pt x="189" y="274"/>
                    <a:pt x="163" y="266"/>
                    <a:pt x="155" y="266"/>
                  </a:cubicBezTo>
                  <a:cubicBezTo>
                    <a:pt x="146" y="266"/>
                    <a:pt x="121" y="249"/>
                    <a:pt x="112" y="249"/>
                  </a:cubicBezTo>
                  <a:cubicBezTo>
                    <a:pt x="103" y="249"/>
                    <a:pt x="69" y="266"/>
                    <a:pt x="43" y="240"/>
                  </a:cubicBezTo>
                  <a:cubicBezTo>
                    <a:pt x="26" y="223"/>
                    <a:pt x="0" y="197"/>
                    <a:pt x="9" y="180"/>
                  </a:cubicBezTo>
                  <a:cubicBezTo>
                    <a:pt x="9" y="163"/>
                    <a:pt x="18" y="128"/>
                    <a:pt x="26" y="120"/>
                  </a:cubicBezTo>
                  <a:cubicBezTo>
                    <a:pt x="43" y="111"/>
                    <a:pt x="77" y="77"/>
                    <a:pt x="86" y="86"/>
                  </a:cubicBezTo>
                  <a:cubicBezTo>
                    <a:pt x="86" y="86"/>
                    <a:pt x="103" y="111"/>
                    <a:pt x="121" y="111"/>
                  </a:cubicBezTo>
                  <a:cubicBezTo>
                    <a:pt x="138" y="111"/>
                    <a:pt x="163" y="94"/>
                    <a:pt x="163" y="86"/>
                  </a:cubicBezTo>
                  <a:cubicBezTo>
                    <a:pt x="163" y="68"/>
                    <a:pt x="172" y="77"/>
                    <a:pt x="189" y="68"/>
                  </a:cubicBezTo>
                  <a:cubicBezTo>
                    <a:pt x="198" y="60"/>
                    <a:pt x="189" y="43"/>
                    <a:pt x="215" y="60"/>
                  </a:cubicBezTo>
                  <a:cubicBezTo>
                    <a:pt x="232" y="77"/>
                    <a:pt x="266" y="77"/>
                    <a:pt x="275" y="94"/>
                  </a:cubicBezTo>
                  <a:cubicBezTo>
                    <a:pt x="292" y="111"/>
                    <a:pt x="309" y="128"/>
                    <a:pt x="326" y="120"/>
                  </a:cubicBezTo>
                  <a:cubicBezTo>
                    <a:pt x="352" y="120"/>
                    <a:pt x="361" y="103"/>
                    <a:pt x="386" y="103"/>
                  </a:cubicBezTo>
                  <a:cubicBezTo>
                    <a:pt x="403" y="103"/>
                    <a:pt x="472" y="103"/>
                    <a:pt x="498" y="94"/>
                  </a:cubicBezTo>
                  <a:cubicBezTo>
                    <a:pt x="532" y="77"/>
                    <a:pt x="540" y="51"/>
                    <a:pt x="575" y="43"/>
                  </a:cubicBezTo>
                  <a:cubicBezTo>
                    <a:pt x="609" y="43"/>
                    <a:pt x="609" y="51"/>
                    <a:pt x="635" y="51"/>
                  </a:cubicBezTo>
                  <a:cubicBezTo>
                    <a:pt x="652" y="51"/>
                    <a:pt x="652" y="34"/>
                    <a:pt x="686" y="26"/>
                  </a:cubicBezTo>
                  <a:cubicBezTo>
                    <a:pt x="720" y="26"/>
                    <a:pt x="729" y="0"/>
                    <a:pt x="738" y="0"/>
                  </a:cubicBezTo>
                  <a:cubicBezTo>
                    <a:pt x="755" y="0"/>
                    <a:pt x="755" y="0"/>
                    <a:pt x="763" y="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07" name="Freeform 8"/>
            <p:cNvSpPr>
              <a:spLocks noChangeArrowheads="1"/>
            </p:cNvSpPr>
            <p:nvPr/>
          </p:nvSpPr>
          <p:spPr bwMode="auto">
            <a:xfrm>
              <a:off x="3074988" y="3803650"/>
              <a:ext cx="31750" cy="31750"/>
            </a:xfrm>
            <a:custGeom>
              <a:avLst/>
              <a:gdLst>
                <a:gd name="T0" fmla="*/ 2147483647 w 87"/>
                <a:gd name="T1" fmla="*/ 2147483647 h 87"/>
                <a:gd name="T2" fmla="*/ 2147483647 w 87"/>
                <a:gd name="T3" fmla="*/ 2147483647 h 87"/>
                <a:gd name="T4" fmla="*/ 2147483647 w 87"/>
                <a:gd name="T5" fmla="*/ 2147483647 h 87"/>
                <a:gd name="T6" fmla="*/ 2147483647 w 87"/>
                <a:gd name="T7" fmla="*/ 2147483647 h 87"/>
                <a:gd name="T8" fmla="*/ 2147483647 w 87"/>
                <a:gd name="T9" fmla="*/ 2147483647 h 87"/>
                <a:gd name="T10" fmla="*/ 2147483647 w 87"/>
                <a:gd name="T11" fmla="*/ 2147483647 h 87"/>
                <a:gd name="T12" fmla="*/ 2147483647 w 87"/>
                <a:gd name="T13" fmla="*/ 2147483647 h 87"/>
                <a:gd name="T14" fmla="*/ 2147483647 w 87"/>
                <a:gd name="T15" fmla="*/ 2147483647 h 87"/>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87"/>
                <a:gd name="T26" fmla="*/ 87 w 87"/>
                <a:gd name="T27" fmla="*/ 87 h 8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87">
                  <a:moveTo>
                    <a:pt x="60" y="86"/>
                  </a:moveTo>
                  <a:lnTo>
                    <a:pt x="60" y="86"/>
                  </a:lnTo>
                  <a:cubicBezTo>
                    <a:pt x="60" y="86"/>
                    <a:pt x="43" y="69"/>
                    <a:pt x="34" y="69"/>
                  </a:cubicBezTo>
                  <a:cubicBezTo>
                    <a:pt x="17" y="61"/>
                    <a:pt x="0" y="61"/>
                    <a:pt x="9" y="52"/>
                  </a:cubicBezTo>
                  <a:cubicBezTo>
                    <a:pt x="9" y="35"/>
                    <a:pt x="17" y="35"/>
                    <a:pt x="17" y="26"/>
                  </a:cubicBezTo>
                  <a:cubicBezTo>
                    <a:pt x="9" y="18"/>
                    <a:pt x="0" y="0"/>
                    <a:pt x="17" y="9"/>
                  </a:cubicBezTo>
                  <a:cubicBezTo>
                    <a:pt x="34" y="26"/>
                    <a:pt x="51" y="35"/>
                    <a:pt x="60" y="44"/>
                  </a:cubicBezTo>
                  <a:cubicBezTo>
                    <a:pt x="68" y="52"/>
                    <a:pt x="86" y="86"/>
                    <a:pt x="60" y="8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08" name="Freeform 9"/>
            <p:cNvSpPr>
              <a:spLocks noChangeArrowheads="1"/>
            </p:cNvSpPr>
            <p:nvPr/>
          </p:nvSpPr>
          <p:spPr bwMode="auto">
            <a:xfrm>
              <a:off x="3062288" y="3816350"/>
              <a:ext cx="19050" cy="74613"/>
            </a:xfrm>
            <a:custGeom>
              <a:avLst/>
              <a:gdLst>
                <a:gd name="T0" fmla="*/ 2147483647 w 53"/>
                <a:gd name="T1" fmla="*/ 0 h 207"/>
                <a:gd name="T2" fmla="*/ 2147483647 w 53"/>
                <a:gd name="T3" fmla="*/ 0 h 207"/>
                <a:gd name="T4" fmla="*/ 2147483647 w 53"/>
                <a:gd name="T5" fmla="*/ 2147483647 h 207"/>
                <a:gd name="T6" fmla="*/ 2147483647 w 53"/>
                <a:gd name="T7" fmla="*/ 2147483647 h 207"/>
                <a:gd name="T8" fmla="*/ 2147483647 w 53"/>
                <a:gd name="T9" fmla="*/ 2147483647 h 207"/>
                <a:gd name="T10" fmla="*/ 2147483647 w 53"/>
                <a:gd name="T11" fmla="*/ 2147483647 h 207"/>
                <a:gd name="T12" fmla="*/ 2147483647 w 53"/>
                <a:gd name="T13" fmla="*/ 2147483647 h 207"/>
                <a:gd name="T14" fmla="*/ 2147483647 w 53"/>
                <a:gd name="T15" fmla="*/ 2147483647 h 207"/>
                <a:gd name="T16" fmla="*/ 2147483647 w 53"/>
                <a:gd name="T17" fmla="*/ 0 h 2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
                <a:gd name="T28" fmla="*/ 0 h 207"/>
                <a:gd name="T29" fmla="*/ 53 w 53"/>
                <a:gd name="T30" fmla="*/ 207 h 2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 h="207">
                  <a:moveTo>
                    <a:pt x="9" y="0"/>
                  </a:moveTo>
                  <a:lnTo>
                    <a:pt x="9" y="0"/>
                  </a:lnTo>
                  <a:cubicBezTo>
                    <a:pt x="0" y="0"/>
                    <a:pt x="26" y="51"/>
                    <a:pt x="18" y="60"/>
                  </a:cubicBezTo>
                  <a:cubicBezTo>
                    <a:pt x="18" y="77"/>
                    <a:pt x="0" y="77"/>
                    <a:pt x="9" y="94"/>
                  </a:cubicBezTo>
                  <a:cubicBezTo>
                    <a:pt x="18" y="103"/>
                    <a:pt x="26" y="111"/>
                    <a:pt x="26" y="128"/>
                  </a:cubicBezTo>
                  <a:cubicBezTo>
                    <a:pt x="26" y="154"/>
                    <a:pt x="44" y="206"/>
                    <a:pt x="44" y="180"/>
                  </a:cubicBezTo>
                  <a:cubicBezTo>
                    <a:pt x="52" y="163"/>
                    <a:pt x="52" y="146"/>
                    <a:pt x="44" y="128"/>
                  </a:cubicBezTo>
                  <a:cubicBezTo>
                    <a:pt x="44" y="111"/>
                    <a:pt x="35" y="103"/>
                    <a:pt x="35" y="77"/>
                  </a:cubicBezTo>
                  <a:cubicBezTo>
                    <a:pt x="44" y="51"/>
                    <a:pt x="18" y="9"/>
                    <a:pt x="9" y="0"/>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09" name="Freeform 10"/>
            <p:cNvSpPr>
              <a:spLocks noChangeArrowheads="1"/>
            </p:cNvSpPr>
            <p:nvPr/>
          </p:nvSpPr>
          <p:spPr bwMode="auto">
            <a:xfrm>
              <a:off x="3108325" y="3917950"/>
              <a:ext cx="61913" cy="39688"/>
            </a:xfrm>
            <a:custGeom>
              <a:avLst/>
              <a:gdLst>
                <a:gd name="T0" fmla="*/ 2147483647 w 173"/>
                <a:gd name="T1" fmla="*/ 2147483647 h 112"/>
                <a:gd name="T2" fmla="*/ 2147483647 w 173"/>
                <a:gd name="T3" fmla="*/ 2147483647 h 112"/>
                <a:gd name="T4" fmla="*/ 2147483647 w 173"/>
                <a:gd name="T5" fmla="*/ 0 h 112"/>
                <a:gd name="T6" fmla="*/ 2147483647 w 173"/>
                <a:gd name="T7" fmla="*/ 2147483647 h 112"/>
                <a:gd name="T8" fmla="*/ 0 60000 65536"/>
                <a:gd name="T9" fmla="*/ 0 60000 65536"/>
                <a:gd name="T10" fmla="*/ 0 60000 65536"/>
                <a:gd name="T11" fmla="*/ 0 60000 65536"/>
                <a:gd name="T12" fmla="*/ 0 w 173"/>
                <a:gd name="T13" fmla="*/ 0 h 112"/>
                <a:gd name="T14" fmla="*/ 173 w 173"/>
                <a:gd name="T15" fmla="*/ 112 h 112"/>
              </a:gdLst>
              <a:ahLst/>
              <a:cxnLst>
                <a:cxn ang="T8">
                  <a:pos x="T0" y="T1"/>
                </a:cxn>
                <a:cxn ang="T9">
                  <a:pos x="T2" y="T3"/>
                </a:cxn>
                <a:cxn ang="T10">
                  <a:pos x="T4" y="T5"/>
                </a:cxn>
                <a:cxn ang="T11">
                  <a:pos x="T6" y="T7"/>
                </a:cxn>
              </a:cxnLst>
              <a:rect l="T12" t="T13" r="T14" b="T15"/>
              <a:pathLst>
                <a:path w="173" h="112">
                  <a:moveTo>
                    <a:pt x="129" y="111"/>
                  </a:moveTo>
                  <a:lnTo>
                    <a:pt x="129" y="111"/>
                  </a:lnTo>
                  <a:cubicBezTo>
                    <a:pt x="120" y="111"/>
                    <a:pt x="0" y="0"/>
                    <a:pt x="17" y="0"/>
                  </a:cubicBezTo>
                  <a:cubicBezTo>
                    <a:pt x="34" y="8"/>
                    <a:pt x="172" y="111"/>
                    <a:pt x="129" y="111"/>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0" name="Freeform 11"/>
            <p:cNvSpPr>
              <a:spLocks noChangeArrowheads="1"/>
            </p:cNvSpPr>
            <p:nvPr/>
          </p:nvSpPr>
          <p:spPr bwMode="auto">
            <a:xfrm>
              <a:off x="3103563" y="3875088"/>
              <a:ext cx="42862" cy="28575"/>
            </a:xfrm>
            <a:custGeom>
              <a:avLst/>
              <a:gdLst>
                <a:gd name="T0" fmla="*/ 2147483647 w 121"/>
                <a:gd name="T1" fmla="*/ 2147483647 h 78"/>
                <a:gd name="T2" fmla="*/ 2147483647 w 121"/>
                <a:gd name="T3" fmla="*/ 2147483647 h 78"/>
                <a:gd name="T4" fmla="*/ 2147483647 w 121"/>
                <a:gd name="T5" fmla="*/ 2147483647 h 78"/>
                <a:gd name="T6" fmla="*/ 2147483647 w 121"/>
                <a:gd name="T7" fmla="*/ 0 h 78"/>
                <a:gd name="T8" fmla="*/ 2147483647 w 121"/>
                <a:gd name="T9" fmla="*/ 2147483647 h 78"/>
                <a:gd name="T10" fmla="*/ 2147483647 w 121"/>
                <a:gd name="T11" fmla="*/ 2147483647 h 78"/>
                <a:gd name="T12" fmla="*/ 0 60000 65536"/>
                <a:gd name="T13" fmla="*/ 0 60000 65536"/>
                <a:gd name="T14" fmla="*/ 0 60000 65536"/>
                <a:gd name="T15" fmla="*/ 0 60000 65536"/>
                <a:gd name="T16" fmla="*/ 0 60000 65536"/>
                <a:gd name="T17" fmla="*/ 0 60000 65536"/>
                <a:gd name="T18" fmla="*/ 0 w 121"/>
                <a:gd name="T19" fmla="*/ 0 h 78"/>
                <a:gd name="T20" fmla="*/ 121 w 121"/>
                <a:gd name="T21" fmla="*/ 78 h 78"/>
              </a:gdLst>
              <a:ahLst/>
              <a:cxnLst>
                <a:cxn ang="T12">
                  <a:pos x="T0" y="T1"/>
                </a:cxn>
                <a:cxn ang="T13">
                  <a:pos x="T2" y="T3"/>
                </a:cxn>
                <a:cxn ang="T14">
                  <a:pos x="T4" y="T5"/>
                </a:cxn>
                <a:cxn ang="T15">
                  <a:pos x="T6" y="T7"/>
                </a:cxn>
                <a:cxn ang="T16">
                  <a:pos x="T8" y="T9"/>
                </a:cxn>
                <a:cxn ang="T17">
                  <a:pos x="T10" y="T11"/>
                </a:cxn>
              </a:cxnLst>
              <a:rect l="T18" t="T19" r="T20" b="T21"/>
              <a:pathLst>
                <a:path w="121" h="78">
                  <a:moveTo>
                    <a:pt x="86" y="68"/>
                  </a:moveTo>
                  <a:lnTo>
                    <a:pt x="86" y="68"/>
                  </a:lnTo>
                  <a:cubicBezTo>
                    <a:pt x="69" y="68"/>
                    <a:pt x="69" y="51"/>
                    <a:pt x="51" y="34"/>
                  </a:cubicBezTo>
                  <a:cubicBezTo>
                    <a:pt x="34" y="17"/>
                    <a:pt x="0" y="0"/>
                    <a:pt x="17" y="0"/>
                  </a:cubicBezTo>
                  <a:cubicBezTo>
                    <a:pt x="34" y="0"/>
                    <a:pt x="94" y="51"/>
                    <a:pt x="94" y="60"/>
                  </a:cubicBezTo>
                  <a:cubicBezTo>
                    <a:pt x="103" y="68"/>
                    <a:pt x="120" y="77"/>
                    <a:pt x="86" y="6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1" name="Freeform 12"/>
            <p:cNvSpPr>
              <a:spLocks noChangeArrowheads="1"/>
            </p:cNvSpPr>
            <p:nvPr/>
          </p:nvSpPr>
          <p:spPr bwMode="auto">
            <a:xfrm>
              <a:off x="3241675" y="3990975"/>
              <a:ext cx="34925" cy="9525"/>
            </a:xfrm>
            <a:custGeom>
              <a:avLst/>
              <a:gdLst>
                <a:gd name="T0" fmla="*/ 2147483647 w 95"/>
                <a:gd name="T1" fmla="*/ 2147483647 h 26"/>
                <a:gd name="T2" fmla="*/ 2147483647 w 95"/>
                <a:gd name="T3" fmla="*/ 2147483647 h 26"/>
                <a:gd name="T4" fmla="*/ 2147483647 w 95"/>
                <a:gd name="T5" fmla="*/ 0 h 26"/>
                <a:gd name="T6" fmla="*/ 2147483647 w 95"/>
                <a:gd name="T7" fmla="*/ 2147483647 h 26"/>
                <a:gd name="T8" fmla="*/ 2147483647 w 95"/>
                <a:gd name="T9" fmla="*/ 2147483647 h 26"/>
                <a:gd name="T10" fmla="*/ 2147483647 w 95"/>
                <a:gd name="T11" fmla="*/ 2147483647 h 26"/>
                <a:gd name="T12" fmla="*/ 0 60000 65536"/>
                <a:gd name="T13" fmla="*/ 0 60000 65536"/>
                <a:gd name="T14" fmla="*/ 0 60000 65536"/>
                <a:gd name="T15" fmla="*/ 0 60000 65536"/>
                <a:gd name="T16" fmla="*/ 0 60000 65536"/>
                <a:gd name="T17" fmla="*/ 0 60000 65536"/>
                <a:gd name="T18" fmla="*/ 0 w 95"/>
                <a:gd name="T19" fmla="*/ 0 h 26"/>
                <a:gd name="T20" fmla="*/ 95 w 95"/>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95" h="26">
                  <a:moveTo>
                    <a:pt x="8" y="17"/>
                  </a:moveTo>
                  <a:lnTo>
                    <a:pt x="8" y="17"/>
                  </a:lnTo>
                  <a:cubicBezTo>
                    <a:pt x="0" y="0"/>
                    <a:pt x="26" y="0"/>
                    <a:pt x="43" y="0"/>
                  </a:cubicBezTo>
                  <a:cubicBezTo>
                    <a:pt x="60" y="0"/>
                    <a:pt x="94" y="8"/>
                    <a:pt x="94" y="17"/>
                  </a:cubicBezTo>
                  <a:cubicBezTo>
                    <a:pt x="94" y="17"/>
                    <a:pt x="77" y="17"/>
                    <a:pt x="60" y="17"/>
                  </a:cubicBezTo>
                  <a:cubicBezTo>
                    <a:pt x="43" y="17"/>
                    <a:pt x="17" y="25"/>
                    <a:pt x="8" y="1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2" name="Freeform 13"/>
            <p:cNvSpPr>
              <a:spLocks noChangeArrowheads="1"/>
            </p:cNvSpPr>
            <p:nvPr/>
          </p:nvSpPr>
          <p:spPr bwMode="auto">
            <a:xfrm>
              <a:off x="3541713" y="4337050"/>
              <a:ext cx="46037" cy="52388"/>
            </a:xfrm>
            <a:custGeom>
              <a:avLst/>
              <a:gdLst>
                <a:gd name="T0" fmla="*/ 2147483647 w 130"/>
                <a:gd name="T1" fmla="*/ 2147483647 h 146"/>
                <a:gd name="T2" fmla="*/ 2147483647 w 130"/>
                <a:gd name="T3" fmla="*/ 2147483647 h 146"/>
                <a:gd name="T4" fmla="*/ 2147483647 w 130"/>
                <a:gd name="T5" fmla="*/ 2147483647 h 146"/>
                <a:gd name="T6" fmla="*/ 2147483647 w 130"/>
                <a:gd name="T7" fmla="*/ 2147483647 h 146"/>
                <a:gd name="T8" fmla="*/ 2147483647 w 130"/>
                <a:gd name="T9" fmla="*/ 2147483647 h 146"/>
                <a:gd name="T10" fmla="*/ 2147483647 w 130"/>
                <a:gd name="T11" fmla="*/ 2147483647 h 146"/>
                <a:gd name="T12" fmla="*/ 2147483647 w 130"/>
                <a:gd name="T13" fmla="*/ 2147483647 h 146"/>
                <a:gd name="T14" fmla="*/ 2147483647 w 130"/>
                <a:gd name="T15" fmla="*/ 2147483647 h 146"/>
                <a:gd name="T16" fmla="*/ 2147483647 w 130"/>
                <a:gd name="T17" fmla="*/ 2147483647 h 1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0"/>
                <a:gd name="T28" fmla="*/ 0 h 146"/>
                <a:gd name="T29" fmla="*/ 130 w 130"/>
                <a:gd name="T30" fmla="*/ 146 h 1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0" h="146">
                  <a:moveTo>
                    <a:pt x="120" y="128"/>
                  </a:moveTo>
                  <a:lnTo>
                    <a:pt x="120" y="128"/>
                  </a:lnTo>
                  <a:cubicBezTo>
                    <a:pt x="103" y="145"/>
                    <a:pt x="86" y="128"/>
                    <a:pt x="69" y="111"/>
                  </a:cubicBezTo>
                  <a:cubicBezTo>
                    <a:pt x="60" y="94"/>
                    <a:pt x="60" y="94"/>
                    <a:pt x="52" y="77"/>
                  </a:cubicBezTo>
                  <a:cubicBezTo>
                    <a:pt x="34" y="68"/>
                    <a:pt x="0" y="42"/>
                    <a:pt x="9" y="34"/>
                  </a:cubicBezTo>
                  <a:cubicBezTo>
                    <a:pt x="17" y="25"/>
                    <a:pt x="77" y="0"/>
                    <a:pt x="69" y="17"/>
                  </a:cubicBezTo>
                  <a:cubicBezTo>
                    <a:pt x="60" y="34"/>
                    <a:pt x="52" y="34"/>
                    <a:pt x="60" y="51"/>
                  </a:cubicBezTo>
                  <a:cubicBezTo>
                    <a:pt x="69" y="59"/>
                    <a:pt x="77" y="94"/>
                    <a:pt x="86" y="103"/>
                  </a:cubicBezTo>
                  <a:cubicBezTo>
                    <a:pt x="94" y="103"/>
                    <a:pt x="129" y="120"/>
                    <a:pt x="120" y="12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3" name="Freeform 14"/>
            <p:cNvSpPr>
              <a:spLocks noChangeArrowheads="1"/>
            </p:cNvSpPr>
            <p:nvPr/>
          </p:nvSpPr>
          <p:spPr bwMode="auto">
            <a:xfrm>
              <a:off x="3590925" y="4398963"/>
              <a:ext cx="9525" cy="6350"/>
            </a:xfrm>
            <a:custGeom>
              <a:avLst/>
              <a:gdLst>
                <a:gd name="T0" fmla="*/ 2147483647 w 27"/>
                <a:gd name="T1" fmla="*/ 2147483647 h 18"/>
                <a:gd name="T2" fmla="*/ 2147483647 w 27"/>
                <a:gd name="T3" fmla="*/ 2147483647 h 18"/>
                <a:gd name="T4" fmla="*/ 2147483647 w 27"/>
                <a:gd name="T5" fmla="*/ 0 h 18"/>
                <a:gd name="T6" fmla="*/ 2147483647 w 27"/>
                <a:gd name="T7" fmla="*/ 2147483647 h 18"/>
                <a:gd name="T8" fmla="*/ 0 60000 65536"/>
                <a:gd name="T9" fmla="*/ 0 60000 65536"/>
                <a:gd name="T10" fmla="*/ 0 60000 65536"/>
                <a:gd name="T11" fmla="*/ 0 60000 65536"/>
                <a:gd name="T12" fmla="*/ 0 w 27"/>
                <a:gd name="T13" fmla="*/ 0 h 18"/>
                <a:gd name="T14" fmla="*/ 27 w 27"/>
                <a:gd name="T15" fmla="*/ 18 h 18"/>
              </a:gdLst>
              <a:ahLst/>
              <a:cxnLst>
                <a:cxn ang="T8">
                  <a:pos x="T0" y="T1"/>
                </a:cxn>
                <a:cxn ang="T9">
                  <a:pos x="T2" y="T3"/>
                </a:cxn>
                <a:cxn ang="T10">
                  <a:pos x="T4" y="T5"/>
                </a:cxn>
                <a:cxn ang="T11">
                  <a:pos x="T6" y="T7"/>
                </a:cxn>
              </a:cxnLst>
              <a:rect l="T12" t="T13" r="T14" b="T15"/>
              <a:pathLst>
                <a:path w="27" h="18">
                  <a:moveTo>
                    <a:pt x="9" y="17"/>
                  </a:moveTo>
                  <a:lnTo>
                    <a:pt x="9" y="17"/>
                  </a:lnTo>
                  <a:cubicBezTo>
                    <a:pt x="0" y="17"/>
                    <a:pt x="0" y="0"/>
                    <a:pt x="9" y="0"/>
                  </a:cubicBezTo>
                  <a:cubicBezTo>
                    <a:pt x="18" y="0"/>
                    <a:pt x="26" y="17"/>
                    <a:pt x="9" y="1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4" name="Freeform 15"/>
            <p:cNvSpPr>
              <a:spLocks noChangeArrowheads="1"/>
            </p:cNvSpPr>
            <p:nvPr/>
          </p:nvSpPr>
          <p:spPr bwMode="auto">
            <a:xfrm>
              <a:off x="3627438" y="4478338"/>
              <a:ext cx="39687" cy="39687"/>
            </a:xfrm>
            <a:custGeom>
              <a:avLst/>
              <a:gdLst>
                <a:gd name="T0" fmla="*/ 2147483647 w 112"/>
                <a:gd name="T1" fmla="*/ 2147483647 h 112"/>
                <a:gd name="T2" fmla="*/ 2147483647 w 112"/>
                <a:gd name="T3" fmla="*/ 2147483647 h 112"/>
                <a:gd name="T4" fmla="*/ 2147483647 w 112"/>
                <a:gd name="T5" fmla="*/ 0 h 112"/>
                <a:gd name="T6" fmla="*/ 2147483647 w 112"/>
                <a:gd name="T7" fmla="*/ 2147483647 h 112"/>
                <a:gd name="T8" fmla="*/ 2147483647 w 112"/>
                <a:gd name="T9" fmla="*/ 2147483647 h 112"/>
                <a:gd name="T10" fmla="*/ 2147483647 w 112"/>
                <a:gd name="T11" fmla="*/ 2147483647 h 112"/>
                <a:gd name="T12" fmla="*/ 2147483647 w 112"/>
                <a:gd name="T13" fmla="*/ 2147483647 h 112"/>
                <a:gd name="T14" fmla="*/ 2147483647 w 112"/>
                <a:gd name="T15" fmla="*/ 2147483647 h 112"/>
                <a:gd name="T16" fmla="*/ 2147483647 w 112"/>
                <a:gd name="T17" fmla="*/ 2147483647 h 112"/>
                <a:gd name="T18" fmla="*/ 2147483647 w 112"/>
                <a:gd name="T19" fmla="*/ 2147483647 h 112"/>
                <a:gd name="T20" fmla="*/ 2147483647 w 112"/>
                <a:gd name="T21" fmla="*/ 2147483647 h 1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2"/>
                <a:gd name="T34" fmla="*/ 0 h 112"/>
                <a:gd name="T35" fmla="*/ 112 w 112"/>
                <a:gd name="T36" fmla="*/ 112 h 1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2" h="112">
                  <a:moveTo>
                    <a:pt x="60" y="43"/>
                  </a:moveTo>
                  <a:lnTo>
                    <a:pt x="60" y="43"/>
                  </a:lnTo>
                  <a:cubicBezTo>
                    <a:pt x="52" y="17"/>
                    <a:pt x="60" y="0"/>
                    <a:pt x="52" y="0"/>
                  </a:cubicBezTo>
                  <a:cubicBezTo>
                    <a:pt x="43" y="8"/>
                    <a:pt x="34" y="17"/>
                    <a:pt x="26" y="26"/>
                  </a:cubicBezTo>
                  <a:cubicBezTo>
                    <a:pt x="17" y="34"/>
                    <a:pt x="9" y="43"/>
                    <a:pt x="9" y="51"/>
                  </a:cubicBezTo>
                  <a:cubicBezTo>
                    <a:pt x="9" y="60"/>
                    <a:pt x="0" y="86"/>
                    <a:pt x="9" y="77"/>
                  </a:cubicBezTo>
                  <a:cubicBezTo>
                    <a:pt x="17" y="68"/>
                    <a:pt x="9" y="43"/>
                    <a:pt x="26" y="68"/>
                  </a:cubicBezTo>
                  <a:cubicBezTo>
                    <a:pt x="43" y="86"/>
                    <a:pt x="34" y="111"/>
                    <a:pt x="43" y="103"/>
                  </a:cubicBezTo>
                  <a:cubicBezTo>
                    <a:pt x="60" y="94"/>
                    <a:pt x="60" y="86"/>
                    <a:pt x="86" y="94"/>
                  </a:cubicBezTo>
                  <a:cubicBezTo>
                    <a:pt x="103" y="94"/>
                    <a:pt x="111" y="103"/>
                    <a:pt x="111" y="86"/>
                  </a:cubicBezTo>
                  <a:cubicBezTo>
                    <a:pt x="103" y="77"/>
                    <a:pt x="60" y="51"/>
                    <a:pt x="60" y="4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5" name="Freeform 16"/>
            <p:cNvSpPr>
              <a:spLocks noChangeArrowheads="1"/>
            </p:cNvSpPr>
            <p:nvPr/>
          </p:nvSpPr>
          <p:spPr bwMode="auto">
            <a:xfrm>
              <a:off x="3654425" y="4532313"/>
              <a:ext cx="31750" cy="31750"/>
            </a:xfrm>
            <a:custGeom>
              <a:avLst/>
              <a:gdLst>
                <a:gd name="T0" fmla="*/ 2147483647 w 87"/>
                <a:gd name="T1" fmla="*/ 2147483647 h 86"/>
                <a:gd name="T2" fmla="*/ 2147483647 w 87"/>
                <a:gd name="T3" fmla="*/ 2147483647 h 86"/>
                <a:gd name="T4" fmla="*/ 0 w 87"/>
                <a:gd name="T5" fmla="*/ 2147483647 h 86"/>
                <a:gd name="T6" fmla="*/ 2147483647 w 87"/>
                <a:gd name="T7" fmla="*/ 2147483647 h 86"/>
                <a:gd name="T8" fmla="*/ 2147483647 w 87"/>
                <a:gd name="T9" fmla="*/ 2147483647 h 86"/>
                <a:gd name="T10" fmla="*/ 2147483647 w 87"/>
                <a:gd name="T11" fmla="*/ 2147483647 h 86"/>
                <a:gd name="T12" fmla="*/ 2147483647 w 87"/>
                <a:gd name="T13" fmla="*/ 2147483647 h 86"/>
                <a:gd name="T14" fmla="*/ 0 60000 65536"/>
                <a:gd name="T15" fmla="*/ 0 60000 65536"/>
                <a:gd name="T16" fmla="*/ 0 60000 65536"/>
                <a:gd name="T17" fmla="*/ 0 60000 65536"/>
                <a:gd name="T18" fmla="*/ 0 60000 65536"/>
                <a:gd name="T19" fmla="*/ 0 60000 65536"/>
                <a:gd name="T20" fmla="*/ 0 60000 65536"/>
                <a:gd name="T21" fmla="*/ 0 w 87"/>
                <a:gd name="T22" fmla="*/ 0 h 86"/>
                <a:gd name="T23" fmla="*/ 87 w 87"/>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86">
                  <a:moveTo>
                    <a:pt x="52" y="85"/>
                  </a:moveTo>
                  <a:lnTo>
                    <a:pt x="52" y="85"/>
                  </a:lnTo>
                  <a:cubicBezTo>
                    <a:pt x="17" y="85"/>
                    <a:pt x="0" y="51"/>
                    <a:pt x="0" y="25"/>
                  </a:cubicBezTo>
                  <a:cubicBezTo>
                    <a:pt x="0" y="8"/>
                    <a:pt x="9" y="0"/>
                    <a:pt x="26" y="8"/>
                  </a:cubicBezTo>
                  <a:cubicBezTo>
                    <a:pt x="43" y="17"/>
                    <a:pt x="52" y="17"/>
                    <a:pt x="69" y="34"/>
                  </a:cubicBezTo>
                  <a:cubicBezTo>
                    <a:pt x="86" y="43"/>
                    <a:pt x="78" y="51"/>
                    <a:pt x="60" y="60"/>
                  </a:cubicBezTo>
                  <a:cubicBezTo>
                    <a:pt x="52" y="77"/>
                    <a:pt x="69" y="85"/>
                    <a:pt x="52" y="85"/>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6" name="Freeform 17"/>
            <p:cNvSpPr>
              <a:spLocks noChangeArrowheads="1"/>
            </p:cNvSpPr>
            <p:nvPr/>
          </p:nvSpPr>
          <p:spPr bwMode="auto">
            <a:xfrm>
              <a:off x="3892550" y="4510088"/>
              <a:ext cx="12700" cy="12700"/>
            </a:xfrm>
            <a:custGeom>
              <a:avLst/>
              <a:gdLst>
                <a:gd name="T0" fmla="*/ 2147483647 w 36"/>
                <a:gd name="T1" fmla="*/ 2147483647 h 35"/>
                <a:gd name="T2" fmla="*/ 2147483647 w 36"/>
                <a:gd name="T3" fmla="*/ 2147483647 h 35"/>
                <a:gd name="T4" fmla="*/ 2147483647 w 36"/>
                <a:gd name="T5" fmla="*/ 0 h 35"/>
                <a:gd name="T6" fmla="*/ 2147483647 w 36"/>
                <a:gd name="T7" fmla="*/ 2147483647 h 35"/>
                <a:gd name="T8" fmla="*/ 0 60000 65536"/>
                <a:gd name="T9" fmla="*/ 0 60000 65536"/>
                <a:gd name="T10" fmla="*/ 0 60000 65536"/>
                <a:gd name="T11" fmla="*/ 0 60000 65536"/>
                <a:gd name="T12" fmla="*/ 0 w 36"/>
                <a:gd name="T13" fmla="*/ 0 h 35"/>
                <a:gd name="T14" fmla="*/ 36 w 36"/>
                <a:gd name="T15" fmla="*/ 35 h 35"/>
              </a:gdLst>
              <a:ahLst/>
              <a:cxnLst>
                <a:cxn ang="T8">
                  <a:pos x="T0" y="T1"/>
                </a:cxn>
                <a:cxn ang="T9">
                  <a:pos x="T2" y="T3"/>
                </a:cxn>
                <a:cxn ang="T10">
                  <a:pos x="T4" y="T5"/>
                </a:cxn>
                <a:cxn ang="T11">
                  <a:pos x="T6" y="T7"/>
                </a:cxn>
              </a:cxnLst>
              <a:rect l="T12" t="T13" r="T14" b="T15"/>
              <a:pathLst>
                <a:path w="36" h="35">
                  <a:moveTo>
                    <a:pt x="26" y="25"/>
                  </a:moveTo>
                  <a:lnTo>
                    <a:pt x="26" y="25"/>
                  </a:lnTo>
                  <a:cubicBezTo>
                    <a:pt x="9" y="34"/>
                    <a:pt x="0" y="0"/>
                    <a:pt x="17" y="0"/>
                  </a:cubicBezTo>
                  <a:cubicBezTo>
                    <a:pt x="35" y="0"/>
                    <a:pt x="35" y="17"/>
                    <a:pt x="26" y="25"/>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7" name="Freeform 18"/>
            <p:cNvSpPr>
              <a:spLocks noChangeArrowheads="1"/>
            </p:cNvSpPr>
            <p:nvPr/>
          </p:nvSpPr>
          <p:spPr bwMode="auto">
            <a:xfrm>
              <a:off x="3892550" y="4549775"/>
              <a:ext cx="28575" cy="12700"/>
            </a:xfrm>
            <a:custGeom>
              <a:avLst/>
              <a:gdLst>
                <a:gd name="T0" fmla="*/ 2147483647 w 78"/>
                <a:gd name="T1" fmla="*/ 2147483647 h 35"/>
                <a:gd name="T2" fmla="*/ 2147483647 w 78"/>
                <a:gd name="T3" fmla="*/ 2147483647 h 35"/>
                <a:gd name="T4" fmla="*/ 2147483647 w 78"/>
                <a:gd name="T5" fmla="*/ 2147483647 h 35"/>
                <a:gd name="T6" fmla="*/ 2147483647 w 78"/>
                <a:gd name="T7" fmla="*/ 2147483647 h 35"/>
                <a:gd name="T8" fmla="*/ 0 60000 65536"/>
                <a:gd name="T9" fmla="*/ 0 60000 65536"/>
                <a:gd name="T10" fmla="*/ 0 60000 65536"/>
                <a:gd name="T11" fmla="*/ 0 60000 65536"/>
                <a:gd name="T12" fmla="*/ 0 w 78"/>
                <a:gd name="T13" fmla="*/ 0 h 35"/>
                <a:gd name="T14" fmla="*/ 78 w 78"/>
                <a:gd name="T15" fmla="*/ 35 h 35"/>
              </a:gdLst>
              <a:ahLst/>
              <a:cxnLst>
                <a:cxn ang="T8">
                  <a:pos x="T0" y="T1"/>
                </a:cxn>
                <a:cxn ang="T9">
                  <a:pos x="T2" y="T3"/>
                </a:cxn>
                <a:cxn ang="T10">
                  <a:pos x="T4" y="T5"/>
                </a:cxn>
                <a:cxn ang="T11">
                  <a:pos x="T6" y="T7"/>
                </a:cxn>
              </a:cxnLst>
              <a:rect l="T12" t="T13" r="T14" b="T15"/>
              <a:pathLst>
                <a:path w="78" h="35">
                  <a:moveTo>
                    <a:pt x="60" y="9"/>
                  </a:moveTo>
                  <a:lnTo>
                    <a:pt x="60" y="9"/>
                  </a:lnTo>
                  <a:cubicBezTo>
                    <a:pt x="35" y="9"/>
                    <a:pt x="0" y="34"/>
                    <a:pt x="26" y="34"/>
                  </a:cubicBezTo>
                  <a:cubicBezTo>
                    <a:pt x="52" y="34"/>
                    <a:pt x="77" y="0"/>
                    <a:pt x="60" y="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8" name="Freeform 19"/>
            <p:cNvSpPr>
              <a:spLocks noChangeArrowheads="1"/>
            </p:cNvSpPr>
            <p:nvPr/>
          </p:nvSpPr>
          <p:spPr bwMode="auto">
            <a:xfrm>
              <a:off x="3830638" y="4257675"/>
              <a:ext cx="31750" cy="22225"/>
            </a:xfrm>
            <a:custGeom>
              <a:avLst/>
              <a:gdLst>
                <a:gd name="T0" fmla="*/ 2147483647 w 87"/>
                <a:gd name="T1" fmla="*/ 2147483647 h 61"/>
                <a:gd name="T2" fmla="*/ 2147483647 w 87"/>
                <a:gd name="T3" fmla="*/ 2147483647 h 61"/>
                <a:gd name="T4" fmla="*/ 2147483647 w 87"/>
                <a:gd name="T5" fmla="*/ 0 h 61"/>
                <a:gd name="T6" fmla="*/ 2147483647 w 87"/>
                <a:gd name="T7" fmla="*/ 2147483647 h 61"/>
                <a:gd name="T8" fmla="*/ 0 60000 65536"/>
                <a:gd name="T9" fmla="*/ 0 60000 65536"/>
                <a:gd name="T10" fmla="*/ 0 60000 65536"/>
                <a:gd name="T11" fmla="*/ 0 60000 65536"/>
                <a:gd name="T12" fmla="*/ 0 w 87"/>
                <a:gd name="T13" fmla="*/ 0 h 61"/>
                <a:gd name="T14" fmla="*/ 87 w 87"/>
                <a:gd name="T15" fmla="*/ 61 h 61"/>
              </a:gdLst>
              <a:ahLst/>
              <a:cxnLst>
                <a:cxn ang="T8">
                  <a:pos x="T0" y="T1"/>
                </a:cxn>
                <a:cxn ang="T9">
                  <a:pos x="T2" y="T3"/>
                </a:cxn>
                <a:cxn ang="T10">
                  <a:pos x="T4" y="T5"/>
                </a:cxn>
                <a:cxn ang="T11">
                  <a:pos x="T6" y="T7"/>
                </a:cxn>
              </a:cxnLst>
              <a:rect l="T12" t="T13" r="T14" b="T15"/>
              <a:pathLst>
                <a:path w="87" h="61">
                  <a:moveTo>
                    <a:pt x="51" y="51"/>
                  </a:moveTo>
                  <a:lnTo>
                    <a:pt x="51" y="51"/>
                  </a:lnTo>
                  <a:cubicBezTo>
                    <a:pt x="25" y="60"/>
                    <a:pt x="0" y="0"/>
                    <a:pt x="25" y="0"/>
                  </a:cubicBezTo>
                  <a:cubicBezTo>
                    <a:pt x="51" y="8"/>
                    <a:pt x="86" y="51"/>
                    <a:pt x="51" y="51"/>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19" name="Freeform 20"/>
            <p:cNvSpPr>
              <a:spLocks noChangeArrowheads="1"/>
            </p:cNvSpPr>
            <p:nvPr/>
          </p:nvSpPr>
          <p:spPr bwMode="auto">
            <a:xfrm>
              <a:off x="3408363" y="1622425"/>
              <a:ext cx="22225" cy="22225"/>
            </a:xfrm>
            <a:custGeom>
              <a:avLst/>
              <a:gdLst>
                <a:gd name="T0" fmla="*/ 2147483647 w 62"/>
                <a:gd name="T1" fmla="*/ 2147483647 h 61"/>
                <a:gd name="T2" fmla="*/ 2147483647 w 62"/>
                <a:gd name="T3" fmla="*/ 2147483647 h 61"/>
                <a:gd name="T4" fmla="*/ 0 w 62"/>
                <a:gd name="T5" fmla="*/ 2147483647 h 61"/>
                <a:gd name="T6" fmla="*/ 2147483647 w 62"/>
                <a:gd name="T7" fmla="*/ 2147483647 h 61"/>
                <a:gd name="T8" fmla="*/ 2147483647 w 62"/>
                <a:gd name="T9" fmla="*/ 2147483647 h 61"/>
                <a:gd name="T10" fmla="*/ 0 60000 65536"/>
                <a:gd name="T11" fmla="*/ 0 60000 65536"/>
                <a:gd name="T12" fmla="*/ 0 60000 65536"/>
                <a:gd name="T13" fmla="*/ 0 60000 65536"/>
                <a:gd name="T14" fmla="*/ 0 60000 65536"/>
                <a:gd name="T15" fmla="*/ 0 w 62"/>
                <a:gd name="T16" fmla="*/ 0 h 61"/>
                <a:gd name="T17" fmla="*/ 62 w 62"/>
                <a:gd name="T18" fmla="*/ 61 h 61"/>
              </a:gdLst>
              <a:ahLst/>
              <a:cxnLst>
                <a:cxn ang="T10">
                  <a:pos x="T0" y="T1"/>
                </a:cxn>
                <a:cxn ang="T11">
                  <a:pos x="T2" y="T3"/>
                </a:cxn>
                <a:cxn ang="T12">
                  <a:pos x="T4" y="T5"/>
                </a:cxn>
                <a:cxn ang="T13">
                  <a:pos x="T6" y="T7"/>
                </a:cxn>
                <a:cxn ang="T14">
                  <a:pos x="T8" y="T9"/>
                </a:cxn>
              </a:cxnLst>
              <a:rect l="T15" t="T16" r="T17" b="T18"/>
              <a:pathLst>
                <a:path w="62" h="61">
                  <a:moveTo>
                    <a:pt x="44" y="17"/>
                  </a:moveTo>
                  <a:lnTo>
                    <a:pt x="44" y="17"/>
                  </a:lnTo>
                  <a:cubicBezTo>
                    <a:pt x="35" y="0"/>
                    <a:pt x="9" y="9"/>
                    <a:pt x="0" y="17"/>
                  </a:cubicBezTo>
                  <a:cubicBezTo>
                    <a:pt x="0" y="26"/>
                    <a:pt x="18" y="60"/>
                    <a:pt x="26" y="43"/>
                  </a:cubicBezTo>
                  <a:cubicBezTo>
                    <a:pt x="35" y="35"/>
                    <a:pt x="61" y="35"/>
                    <a:pt x="44" y="1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0" name="Freeform 21"/>
            <p:cNvSpPr>
              <a:spLocks noChangeArrowheads="1"/>
            </p:cNvSpPr>
            <p:nvPr/>
          </p:nvSpPr>
          <p:spPr bwMode="auto">
            <a:xfrm>
              <a:off x="3395663" y="2155825"/>
              <a:ext cx="31750" cy="34925"/>
            </a:xfrm>
            <a:custGeom>
              <a:avLst/>
              <a:gdLst>
                <a:gd name="T0" fmla="*/ 2147483647 w 87"/>
                <a:gd name="T1" fmla="*/ 2147483647 h 95"/>
                <a:gd name="T2" fmla="*/ 2147483647 w 87"/>
                <a:gd name="T3" fmla="*/ 2147483647 h 95"/>
                <a:gd name="T4" fmla="*/ 2147483647 w 87"/>
                <a:gd name="T5" fmla="*/ 0 h 95"/>
                <a:gd name="T6" fmla="*/ 2147483647 w 87"/>
                <a:gd name="T7" fmla="*/ 2147483647 h 95"/>
                <a:gd name="T8" fmla="*/ 2147483647 w 87"/>
                <a:gd name="T9" fmla="*/ 2147483647 h 95"/>
                <a:gd name="T10" fmla="*/ 2147483647 w 87"/>
                <a:gd name="T11" fmla="*/ 2147483647 h 95"/>
                <a:gd name="T12" fmla="*/ 2147483647 w 87"/>
                <a:gd name="T13" fmla="*/ 2147483647 h 95"/>
                <a:gd name="T14" fmla="*/ 0 60000 65536"/>
                <a:gd name="T15" fmla="*/ 0 60000 65536"/>
                <a:gd name="T16" fmla="*/ 0 60000 65536"/>
                <a:gd name="T17" fmla="*/ 0 60000 65536"/>
                <a:gd name="T18" fmla="*/ 0 60000 65536"/>
                <a:gd name="T19" fmla="*/ 0 60000 65536"/>
                <a:gd name="T20" fmla="*/ 0 60000 65536"/>
                <a:gd name="T21" fmla="*/ 0 w 87"/>
                <a:gd name="T22" fmla="*/ 0 h 95"/>
                <a:gd name="T23" fmla="*/ 87 w 87"/>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95">
                  <a:moveTo>
                    <a:pt x="86" y="43"/>
                  </a:moveTo>
                  <a:lnTo>
                    <a:pt x="86" y="43"/>
                  </a:lnTo>
                  <a:cubicBezTo>
                    <a:pt x="69" y="34"/>
                    <a:pt x="69" y="0"/>
                    <a:pt x="69" y="0"/>
                  </a:cubicBezTo>
                  <a:cubicBezTo>
                    <a:pt x="60" y="9"/>
                    <a:pt x="43" y="17"/>
                    <a:pt x="34" y="26"/>
                  </a:cubicBezTo>
                  <a:cubicBezTo>
                    <a:pt x="26" y="26"/>
                    <a:pt x="0" y="94"/>
                    <a:pt x="17" y="86"/>
                  </a:cubicBezTo>
                  <a:cubicBezTo>
                    <a:pt x="26" y="77"/>
                    <a:pt x="52" y="77"/>
                    <a:pt x="60" y="69"/>
                  </a:cubicBezTo>
                  <a:cubicBezTo>
                    <a:pt x="78" y="60"/>
                    <a:pt x="86" y="51"/>
                    <a:pt x="86" y="4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1" name="Freeform 22"/>
            <p:cNvSpPr>
              <a:spLocks noChangeArrowheads="1"/>
            </p:cNvSpPr>
            <p:nvPr/>
          </p:nvSpPr>
          <p:spPr bwMode="auto">
            <a:xfrm>
              <a:off x="3405188" y="2279650"/>
              <a:ext cx="49212" cy="42863"/>
            </a:xfrm>
            <a:custGeom>
              <a:avLst/>
              <a:gdLst>
                <a:gd name="T0" fmla="*/ 2147483647 w 138"/>
                <a:gd name="T1" fmla="*/ 2147483647 h 121"/>
                <a:gd name="T2" fmla="*/ 2147483647 w 138"/>
                <a:gd name="T3" fmla="*/ 2147483647 h 121"/>
                <a:gd name="T4" fmla="*/ 2147483647 w 138"/>
                <a:gd name="T5" fmla="*/ 2147483647 h 121"/>
                <a:gd name="T6" fmla="*/ 2147483647 w 138"/>
                <a:gd name="T7" fmla="*/ 2147483647 h 121"/>
                <a:gd name="T8" fmla="*/ 2147483647 w 138"/>
                <a:gd name="T9" fmla="*/ 2147483647 h 121"/>
                <a:gd name="T10" fmla="*/ 2147483647 w 138"/>
                <a:gd name="T11" fmla="*/ 2147483647 h 121"/>
                <a:gd name="T12" fmla="*/ 2147483647 w 138"/>
                <a:gd name="T13" fmla="*/ 2147483647 h 121"/>
                <a:gd name="T14" fmla="*/ 2147483647 w 138"/>
                <a:gd name="T15" fmla="*/ 2147483647 h 121"/>
                <a:gd name="T16" fmla="*/ 2147483647 w 138"/>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8"/>
                <a:gd name="T28" fmla="*/ 0 h 121"/>
                <a:gd name="T29" fmla="*/ 138 w 138"/>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8" h="121">
                  <a:moveTo>
                    <a:pt x="69" y="9"/>
                  </a:moveTo>
                  <a:lnTo>
                    <a:pt x="69" y="9"/>
                  </a:lnTo>
                  <a:cubicBezTo>
                    <a:pt x="60" y="17"/>
                    <a:pt x="52" y="34"/>
                    <a:pt x="43" y="43"/>
                  </a:cubicBezTo>
                  <a:cubicBezTo>
                    <a:pt x="34" y="51"/>
                    <a:pt x="0" y="69"/>
                    <a:pt x="17" y="69"/>
                  </a:cubicBezTo>
                  <a:cubicBezTo>
                    <a:pt x="34" y="69"/>
                    <a:pt x="52" y="69"/>
                    <a:pt x="52" y="86"/>
                  </a:cubicBezTo>
                  <a:cubicBezTo>
                    <a:pt x="60" y="94"/>
                    <a:pt x="69" y="120"/>
                    <a:pt x="86" y="120"/>
                  </a:cubicBezTo>
                  <a:cubicBezTo>
                    <a:pt x="111" y="111"/>
                    <a:pt x="103" y="94"/>
                    <a:pt x="120" y="77"/>
                  </a:cubicBezTo>
                  <a:cubicBezTo>
                    <a:pt x="137" y="69"/>
                    <a:pt x="120" y="34"/>
                    <a:pt x="103" y="26"/>
                  </a:cubicBezTo>
                  <a:cubicBezTo>
                    <a:pt x="77" y="26"/>
                    <a:pt x="86" y="0"/>
                    <a:pt x="69" y="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2" name="Freeform 23"/>
            <p:cNvSpPr>
              <a:spLocks noChangeArrowheads="1"/>
            </p:cNvSpPr>
            <p:nvPr/>
          </p:nvSpPr>
          <p:spPr bwMode="auto">
            <a:xfrm>
              <a:off x="3454400" y="2282825"/>
              <a:ext cx="22225" cy="6350"/>
            </a:xfrm>
            <a:custGeom>
              <a:avLst/>
              <a:gdLst>
                <a:gd name="T0" fmla="*/ 2147483647 w 61"/>
                <a:gd name="T1" fmla="*/ 2147483647 h 18"/>
                <a:gd name="T2" fmla="*/ 2147483647 w 61"/>
                <a:gd name="T3" fmla="*/ 2147483647 h 18"/>
                <a:gd name="T4" fmla="*/ 2147483647 w 61"/>
                <a:gd name="T5" fmla="*/ 0 h 18"/>
                <a:gd name="T6" fmla="*/ 2147483647 w 61"/>
                <a:gd name="T7" fmla="*/ 2147483647 h 18"/>
                <a:gd name="T8" fmla="*/ 0 60000 65536"/>
                <a:gd name="T9" fmla="*/ 0 60000 65536"/>
                <a:gd name="T10" fmla="*/ 0 60000 65536"/>
                <a:gd name="T11" fmla="*/ 0 60000 65536"/>
                <a:gd name="T12" fmla="*/ 0 w 61"/>
                <a:gd name="T13" fmla="*/ 0 h 18"/>
                <a:gd name="T14" fmla="*/ 61 w 61"/>
                <a:gd name="T15" fmla="*/ 18 h 18"/>
              </a:gdLst>
              <a:ahLst/>
              <a:cxnLst>
                <a:cxn ang="T8">
                  <a:pos x="T0" y="T1"/>
                </a:cxn>
                <a:cxn ang="T9">
                  <a:pos x="T2" y="T3"/>
                </a:cxn>
                <a:cxn ang="T10">
                  <a:pos x="T4" y="T5"/>
                </a:cxn>
                <a:cxn ang="T11">
                  <a:pos x="T6" y="T7"/>
                </a:cxn>
              </a:cxnLst>
              <a:rect l="T12" t="T13" r="T14" b="T15"/>
              <a:pathLst>
                <a:path w="61" h="18">
                  <a:moveTo>
                    <a:pt x="34" y="17"/>
                  </a:moveTo>
                  <a:lnTo>
                    <a:pt x="34" y="17"/>
                  </a:lnTo>
                  <a:cubicBezTo>
                    <a:pt x="9" y="17"/>
                    <a:pt x="0" y="0"/>
                    <a:pt x="26" y="0"/>
                  </a:cubicBezTo>
                  <a:cubicBezTo>
                    <a:pt x="60" y="0"/>
                    <a:pt x="52" y="17"/>
                    <a:pt x="34" y="1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3" name="Freeform 24"/>
            <p:cNvSpPr>
              <a:spLocks noChangeArrowheads="1"/>
            </p:cNvSpPr>
            <p:nvPr/>
          </p:nvSpPr>
          <p:spPr bwMode="auto">
            <a:xfrm>
              <a:off x="3460750" y="2319338"/>
              <a:ext cx="25400" cy="15875"/>
            </a:xfrm>
            <a:custGeom>
              <a:avLst/>
              <a:gdLst>
                <a:gd name="T0" fmla="*/ 2147483647 w 70"/>
                <a:gd name="T1" fmla="*/ 2147483647 h 44"/>
                <a:gd name="T2" fmla="*/ 2147483647 w 70"/>
                <a:gd name="T3" fmla="*/ 2147483647 h 44"/>
                <a:gd name="T4" fmla="*/ 2147483647 w 70"/>
                <a:gd name="T5" fmla="*/ 0 h 44"/>
                <a:gd name="T6" fmla="*/ 2147483647 w 70"/>
                <a:gd name="T7" fmla="*/ 2147483647 h 44"/>
                <a:gd name="T8" fmla="*/ 2147483647 w 70"/>
                <a:gd name="T9" fmla="*/ 2147483647 h 44"/>
                <a:gd name="T10" fmla="*/ 0 60000 65536"/>
                <a:gd name="T11" fmla="*/ 0 60000 65536"/>
                <a:gd name="T12" fmla="*/ 0 60000 65536"/>
                <a:gd name="T13" fmla="*/ 0 60000 65536"/>
                <a:gd name="T14" fmla="*/ 0 60000 65536"/>
                <a:gd name="T15" fmla="*/ 0 w 70"/>
                <a:gd name="T16" fmla="*/ 0 h 44"/>
                <a:gd name="T17" fmla="*/ 70 w 70"/>
                <a:gd name="T18" fmla="*/ 44 h 44"/>
              </a:gdLst>
              <a:ahLst/>
              <a:cxnLst>
                <a:cxn ang="T10">
                  <a:pos x="T0" y="T1"/>
                </a:cxn>
                <a:cxn ang="T11">
                  <a:pos x="T2" y="T3"/>
                </a:cxn>
                <a:cxn ang="T12">
                  <a:pos x="T4" y="T5"/>
                </a:cxn>
                <a:cxn ang="T13">
                  <a:pos x="T6" y="T7"/>
                </a:cxn>
                <a:cxn ang="T14">
                  <a:pos x="T8" y="T9"/>
                </a:cxn>
              </a:cxnLst>
              <a:rect l="T15" t="T16" r="T17" b="T18"/>
              <a:pathLst>
                <a:path w="70" h="44">
                  <a:moveTo>
                    <a:pt x="17" y="35"/>
                  </a:moveTo>
                  <a:lnTo>
                    <a:pt x="17" y="35"/>
                  </a:lnTo>
                  <a:cubicBezTo>
                    <a:pt x="9" y="26"/>
                    <a:pt x="0" y="0"/>
                    <a:pt x="26" y="0"/>
                  </a:cubicBezTo>
                  <a:cubicBezTo>
                    <a:pt x="43" y="9"/>
                    <a:pt x="69" y="26"/>
                    <a:pt x="60" y="26"/>
                  </a:cubicBezTo>
                  <a:cubicBezTo>
                    <a:pt x="43" y="35"/>
                    <a:pt x="35" y="43"/>
                    <a:pt x="17" y="35"/>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4" name="Freeform 25"/>
            <p:cNvSpPr>
              <a:spLocks noChangeArrowheads="1"/>
            </p:cNvSpPr>
            <p:nvPr/>
          </p:nvSpPr>
          <p:spPr bwMode="auto">
            <a:xfrm>
              <a:off x="3402013" y="2328863"/>
              <a:ext cx="71437" cy="77787"/>
            </a:xfrm>
            <a:custGeom>
              <a:avLst/>
              <a:gdLst>
                <a:gd name="T0" fmla="*/ 2147483647 w 199"/>
                <a:gd name="T1" fmla="*/ 2147483647 h 215"/>
                <a:gd name="T2" fmla="*/ 2147483647 w 199"/>
                <a:gd name="T3" fmla="*/ 2147483647 h 215"/>
                <a:gd name="T4" fmla="*/ 2147483647 w 199"/>
                <a:gd name="T5" fmla="*/ 2147483647 h 215"/>
                <a:gd name="T6" fmla="*/ 2147483647 w 199"/>
                <a:gd name="T7" fmla="*/ 2147483647 h 215"/>
                <a:gd name="T8" fmla="*/ 0 w 199"/>
                <a:gd name="T9" fmla="*/ 2147483647 h 215"/>
                <a:gd name="T10" fmla="*/ 2147483647 w 199"/>
                <a:gd name="T11" fmla="*/ 2147483647 h 215"/>
                <a:gd name="T12" fmla="*/ 2147483647 w 199"/>
                <a:gd name="T13" fmla="*/ 2147483647 h 215"/>
                <a:gd name="T14" fmla="*/ 2147483647 w 199"/>
                <a:gd name="T15" fmla="*/ 2147483647 h 215"/>
                <a:gd name="T16" fmla="*/ 2147483647 w 199"/>
                <a:gd name="T17" fmla="*/ 2147483647 h 215"/>
                <a:gd name="T18" fmla="*/ 2147483647 w 199"/>
                <a:gd name="T19" fmla="*/ 2147483647 h 215"/>
                <a:gd name="T20" fmla="*/ 2147483647 w 199"/>
                <a:gd name="T21" fmla="*/ 2147483647 h 215"/>
                <a:gd name="T22" fmla="*/ 2147483647 w 199"/>
                <a:gd name="T23" fmla="*/ 2147483647 h 215"/>
                <a:gd name="T24" fmla="*/ 2147483647 w 199"/>
                <a:gd name="T25" fmla="*/ 2147483647 h 215"/>
                <a:gd name="T26" fmla="*/ 2147483647 w 199"/>
                <a:gd name="T27" fmla="*/ 2147483647 h 2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9"/>
                <a:gd name="T43" fmla="*/ 0 h 215"/>
                <a:gd name="T44" fmla="*/ 199 w 199"/>
                <a:gd name="T45" fmla="*/ 215 h 2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9" h="215">
                  <a:moveTo>
                    <a:pt x="155" y="9"/>
                  </a:moveTo>
                  <a:lnTo>
                    <a:pt x="155" y="9"/>
                  </a:lnTo>
                  <a:cubicBezTo>
                    <a:pt x="129" y="0"/>
                    <a:pt x="95" y="9"/>
                    <a:pt x="78" y="26"/>
                  </a:cubicBezTo>
                  <a:cubicBezTo>
                    <a:pt x="52" y="43"/>
                    <a:pt x="43" y="60"/>
                    <a:pt x="35" y="60"/>
                  </a:cubicBezTo>
                  <a:cubicBezTo>
                    <a:pt x="17" y="60"/>
                    <a:pt x="0" y="43"/>
                    <a:pt x="0" y="51"/>
                  </a:cubicBezTo>
                  <a:cubicBezTo>
                    <a:pt x="0" y="69"/>
                    <a:pt x="35" y="86"/>
                    <a:pt x="26" y="103"/>
                  </a:cubicBezTo>
                  <a:cubicBezTo>
                    <a:pt x="17" y="120"/>
                    <a:pt x="17" y="129"/>
                    <a:pt x="35" y="146"/>
                  </a:cubicBezTo>
                  <a:cubicBezTo>
                    <a:pt x="52" y="154"/>
                    <a:pt x="52" y="163"/>
                    <a:pt x="52" y="172"/>
                  </a:cubicBezTo>
                  <a:cubicBezTo>
                    <a:pt x="52" y="180"/>
                    <a:pt x="26" y="214"/>
                    <a:pt x="43" y="214"/>
                  </a:cubicBezTo>
                  <a:cubicBezTo>
                    <a:pt x="61" y="214"/>
                    <a:pt x="69" y="206"/>
                    <a:pt x="69" y="189"/>
                  </a:cubicBezTo>
                  <a:cubicBezTo>
                    <a:pt x="69" y="172"/>
                    <a:pt x="69" y="146"/>
                    <a:pt x="86" y="129"/>
                  </a:cubicBezTo>
                  <a:cubicBezTo>
                    <a:pt x="103" y="120"/>
                    <a:pt x="138" y="120"/>
                    <a:pt x="146" y="103"/>
                  </a:cubicBezTo>
                  <a:cubicBezTo>
                    <a:pt x="155" y="86"/>
                    <a:pt x="198" y="43"/>
                    <a:pt x="189" y="34"/>
                  </a:cubicBezTo>
                  <a:cubicBezTo>
                    <a:pt x="189" y="17"/>
                    <a:pt x="172" y="9"/>
                    <a:pt x="155" y="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5" name="Freeform 26"/>
            <p:cNvSpPr>
              <a:spLocks noChangeArrowheads="1"/>
            </p:cNvSpPr>
            <p:nvPr/>
          </p:nvSpPr>
          <p:spPr bwMode="auto">
            <a:xfrm>
              <a:off x="3201988" y="2433638"/>
              <a:ext cx="50800" cy="96837"/>
            </a:xfrm>
            <a:custGeom>
              <a:avLst/>
              <a:gdLst>
                <a:gd name="T0" fmla="*/ 2147483647 w 139"/>
                <a:gd name="T1" fmla="*/ 2147483647 h 267"/>
                <a:gd name="T2" fmla="*/ 2147483647 w 139"/>
                <a:gd name="T3" fmla="*/ 2147483647 h 267"/>
                <a:gd name="T4" fmla="*/ 2147483647 w 139"/>
                <a:gd name="T5" fmla="*/ 2147483647 h 267"/>
                <a:gd name="T6" fmla="*/ 2147483647 w 139"/>
                <a:gd name="T7" fmla="*/ 2147483647 h 267"/>
                <a:gd name="T8" fmla="*/ 2147483647 w 139"/>
                <a:gd name="T9" fmla="*/ 2147483647 h 267"/>
                <a:gd name="T10" fmla="*/ 2147483647 w 139"/>
                <a:gd name="T11" fmla="*/ 2147483647 h 267"/>
                <a:gd name="T12" fmla="*/ 2147483647 w 139"/>
                <a:gd name="T13" fmla="*/ 2147483647 h 267"/>
                <a:gd name="T14" fmla="*/ 2147483647 w 139"/>
                <a:gd name="T15" fmla="*/ 2147483647 h 267"/>
                <a:gd name="T16" fmla="*/ 2147483647 w 139"/>
                <a:gd name="T17" fmla="*/ 2147483647 h 267"/>
                <a:gd name="T18" fmla="*/ 2147483647 w 139"/>
                <a:gd name="T19" fmla="*/ 2147483647 h 267"/>
                <a:gd name="T20" fmla="*/ 2147483647 w 139"/>
                <a:gd name="T21" fmla="*/ 2147483647 h 267"/>
                <a:gd name="T22" fmla="*/ 2147483647 w 139"/>
                <a:gd name="T23" fmla="*/ 2147483647 h 267"/>
                <a:gd name="T24" fmla="*/ 2147483647 w 139"/>
                <a:gd name="T25" fmla="*/ 2147483647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9"/>
                <a:gd name="T40" fmla="*/ 0 h 267"/>
                <a:gd name="T41" fmla="*/ 139 w 139"/>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9" h="267">
                  <a:moveTo>
                    <a:pt x="138" y="26"/>
                  </a:moveTo>
                  <a:lnTo>
                    <a:pt x="138" y="26"/>
                  </a:lnTo>
                  <a:cubicBezTo>
                    <a:pt x="129" y="0"/>
                    <a:pt x="103" y="26"/>
                    <a:pt x="103" y="26"/>
                  </a:cubicBezTo>
                  <a:cubicBezTo>
                    <a:pt x="94" y="26"/>
                    <a:pt x="94" y="0"/>
                    <a:pt x="77" y="18"/>
                  </a:cubicBezTo>
                  <a:cubicBezTo>
                    <a:pt x="52" y="35"/>
                    <a:pt x="35" y="86"/>
                    <a:pt x="17" y="103"/>
                  </a:cubicBezTo>
                  <a:cubicBezTo>
                    <a:pt x="9" y="121"/>
                    <a:pt x="0" y="121"/>
                    <a:pt x="9" y="138"/>
                  </a:cubicBezTo>
                  <a:cubicBezTo>
                    <a:pt x="9" y="155"/>
                    <a:pt x="0" y="198"/>
                    <a:pt x="9" y="215"/>
                  </a:cubicBezTo>
                  <a:cubicBezTo>
                    <a:pt x="17" y="232"/>
                    <a:pt x="35" y="266"/>
                    <a:pt x="52" y="258"/>
                  </a:cubicBezTo>
                  <a:cubicBezTo>
                    <a:pt x="69" y="258"/>
                    <a:pt x="86" y="232"/>
                    <a:pt x="94" y="215"/>
                  </a:cubicBezTo>
                  <a:cubicBezTo>
                    <a:pt x="103" y="206"/>
                    <a:pt x="138" y="181"/>
                    <a:pt x="138" y="163"/>
                  </a:cubicBezTo>
                  <a:cubicBezTo>
                    <a:pt x="129" y="138"/>
                    <a:pt x="103" y="146"/>
                    <a:pt x="103" y="121"/>
                  </a:cubicBezTo>
                  <a:cubicBezTo>
                    <a:pt x="103" y="86"/>
                    <a:pt x="129" y="69"/>
                    <a:pt x="129" y="61"/>
                  </a:cubicBezTo>
                  <a:cubicBezTo>
                    <a:pt x="129" y="44"/>
                    <a:pt x="138" y="35"/>
                    <a:pt x="138" y="2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6" name="Freeform 27"/>
            <p:cNvSpPr>
              <a:spLocks noChangeArrowheads="1"/>
            </p:cNvSpPr>
            <p:nvPr/>
          </p:nvSpPr>
          <p:spPr bwMode="auto">
            <a:xfrm>
              <a:off x="3248025" y="2424113"/>
              <a:ext cx="15875" cy="12700"/>
            </a:xfrm>
            <a:custGeom>
              <a:avLst/>
              <a:gdLst>
                <a:gd name="T0" fmla="*/ 2147483647 w 44"/>
                <a:gd name="T1" fmla="*/ 2147483647 h 35"/>
                <a:gd name="T2" fmla="*/ 2147483647 w 44"/>
                <a:gd name="T3" fmla="*/ 2147483647 h 35"/>
                <a:gd name="T4" fmla="*/ 2147483647 w 44"/>
                <a:gd name="T5" fmla="*/ 2147483647 h 35"/>
                <a:gd name="T6" fmla="*/ 2147483647 w 44"/>
                <a:gd name="T7" fmla="*/ 2147483647 h 35"/>
                <a:gd name="T8" fmla="*/ 0 60000 65536"/>
                <a:gd name="T9" fmla="*/ 0 60000 65536"/>
                <a:gd name="T10" fmla="*/ 0 60000 65536"/>
                <a:gd name="T11" fmla="*/ 0 60000 65536"/>
                <a:gd name="T12" fmla="*/ 0 w 44"/>
                <a:gd name="T13" fmla="*/ 0 h 35"/>
                <a:gd name="T14" fmla="*/ 44 w 44"/>
                <a:gd name="T15" fmla="*/ 35 h 35"/>
              </a:gdLst>
              <a:ahLst/>
              <a:cxnLst>
                <a:cxn ang="T8">
                  <a:pos x="T0" y="T1"/>
                </a:cxn>
                <a:cxn ang="T9">
                  <a:pos x="T2" y="T3"/>
                </a:cxn>
                <a:cxn ang="T10">
                  <a:pos x="T4" y="T5"/>
                </a:cxn>
                <a:cxn ang="T11">
                  <a:pos x="T6" y="T7"/>
                </a:cxn>
              </a:cxnLst>
              <a:rect l="T12" t="T13" r="T14" b="T15"/>
              <a:pathLst>
                <a:path w="44" h="35">
                  <a:moveTo>
                    <a:pt x="34" y="34"/>
                  </a:moveTo>
                  <a:lnTo>
                    <a:pt x="34" y="34"/>
                  </a:lnTo>
                  <a:cubicBezTo>
                    <a:pt x="9" y="34"/>
                    <a:pt x="0" y="0"/>
                    <a:pt x="17" y="8"/>
                  </a:cubicBezTo>
                  <a:cubicBezTo>
                    <a:pt x="34" y="8"/>
                    <a:pt x="43" y="34"/>
                    <a:pt x="34" y="3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7" name="Freeform 28"/>
            <p:cNvSpPr>
              <a:spLocks noChangeArrowheads="1"/>
            </p:cNvSpPr>
            <p:nvPr/>
          </p:nvSpPr>
          <p:spPr bwMode="auto">
            <a:xfrm>
              <a:off x="2933700" y="2816225"/>
              <a:ext cx="36513" cy="44450"/>
            </a:xfrm>
            <a:custGeom>
              <a:avLst/>
              <a:gdLst>
                <a:gd name="T0" fmla="*/ 2147483647 w 103"/>
                <a:gd name="T1" fmla="*/ 2147483647 h 122"/>
                <a:gd name="T2" fmla="*/ 2147483647 w 103"/>
                <a:gd name="T3" fmla="*/ 2147483647 h 122"/>
                <a:gd name="T4" fmla="*/ 0 w 103"/>
                <a:gd name="T5" fmla="*/ 2147483647 h 122"/>
                <a:gd name="T6" fmla="*/ 2147483647 w 103"/>
                <a:gd name="T7" fmla="*/ 2147483647 h 122"/>
                <a:gd name="T8" fmla="*/ 2147483647 w 103"/>
                <a:gd name="T9" fmla="*/ 2147483647 h 122"/>
                <a:gd name="T10" fmla="*/ 2147483647 w 103"/>
                <a:gd name="T11" fmla="*/ 0 h 122"/>
                <a:gd name="T12" fmla="*/ 2147483647 w 103"/>
                <a:gd name="T13" fmla="*/ 2147483647 h 122"/>
                <a:gd name="T14" fmla="*/ 2147483647 w 103"/>
                <a:gd name="T15" fmla="*/ 2147483647 h 122"/>
                <a:gd name="T16" fmla="*/ 2147483647 w 103"/>
                <a:gd name="T17" fmla="*/ 2147483647 h 122"/>
                <a:gd name="T18" fmla="*/ 2147483647 w 103"/>
                <a:gd name="T19" fmla="*/ 2147483647 h 122"/>
                <a:gd name="T20" fmla="*/ 2147483647 w 103"/>
                <a:gd name="T21" fmla="*/ 2147483647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22"/>
                <a:gd name="T35" fmla="*/ 103 w 103"/>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22">
                  <a:moveTo>
                    <a:pt x="42" y="112"/>
                  </a:moveTo>
                  <a:lnTo>
                    <a:pt x="42" y="112"/>
                  </a:lnTo>
                  <a:cubicBezTo>
                    <a:pt x="17" y="103"/>
                    <a:pt x="0" y="86"/>
                    <a:pt x="0" y="78"/>
                  </a:cubicBezTo>
                  <a:cubicBezTo>
                    <a:pt x="8" y="61"/>
                    <a:pt x="17" y="61"/>
                    <a:pt x="17" y="52"/>
                  </a:cubicBezTo>
                  <a:cubicBezTo>
                    <a:pt x="17" y="35"/>
                    <a:pt x="17" y="26"/>
                    <a:pt x="25" y="26"/>
                  </a:cubicBezTo>
                  <a:cubicBezTo>
                    <a:pt x="42" y="26"/>
                    <a:pt x="51" y="0"/>
                    <a:pt x="60" y="0"/>
                  </a:cubicBezTo>
                  <a:cubicBezTo>
                    <a:pt x="68" y="0"/>
                    <a:pt x="85" y="0"/>
                    <a:pt x="77" y="9"/>
                  </a:cubicBezTo>
                  <a:cubicBezTo>
                    <a:pt x="77" y="26"/>
                    <a:pt x="68" y="35"/>
                    <a:pt x="77" y="43"/>
                  </a:cubicBezTo>
                  <a:cubicBezTo>
                    <a:pt x="85" y="61"/>
                    <a:pt x="102" y="69"/>
                    <a:pt x="94" y="69"/>
                  </a:cubicBezTo>
                  <a:cubicBezTo>
                    <a:pt x="77" y="78"/>
                    <a:pt x="60" y="78"/>
                    <a:pt x="51" y="78"/>
                  </a:cubicBezTo>
                  <a:cubicBezTo>
                    <a:pt x="51" y="86"/>
                    <a:pt x="60" y="121"/>
                    <a:pt x="42" y="112"/>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8" name="Freeform 29"/>
            <p:cNvSpPr>
              <a:spLocks noChangeArrowheads="1"/>
            </p:cNvSpPr>
            <p:nvPr/>
          </p:nvSpPr>
          <p:spPr bwMode="auto">
            <a:xfrm>
              <a:off x="2800350" y="2825750"/>
              <a:ext cx="22225" cy="19050"/>
            </a:xfrm>
            <a:custGeom>
              <a:avLst/>
              <a:gdLst>
                <a:gd name="T0" fmla="*/ 2147483647 w 61"/>
                <a:gd name="T1" fmla="*/ 2147483647 h 53"/>
                <a:gd name="T2" fmla="*/ 2147483647 w 61"/>
                <a:gd name="T3" fmla="*/ 2147483647 h 53"/>
                <a:gd name="T4" fmla="*/ 2147483647 w 61"/>
                <a:gd name="T5" fmla="*/ 2147483647 h 53"/>
                <a:gd name="T6" fmla="*/ 2147483647 w 61"/>
                <a:gd name="T7" fmla="*/ 2147483647 h 53"/>
                <a:gd name="T8" fmla="*/ 2147483647 w 61"/>
                <a:gd name="T9" fmla="*/ 2147483647 h 53"/>
                <a:gd name="T10" fmla="*/ 0 60000 65536"/>
                <a:gd name="T11" fmla="*/ 0 60000 65536"/>
                <a:gd name="T12" fmla="*/ 0 60000 65536"/>
                <a:gd name="T13" fmla="*/ 0 60000 65536"/>
                <a:gd name="T14" fmla="*/ 0 60000 65536"/>
                <a:gd name="T15" fmla="*/ 0 w 61"/>
                <a:gd name="T16" fmla="*/ 0 h 53"/>
                <a:gd name="T17" fmla="*/ 61 w 61"/>
                <a:gd name="T18" fmla="*/ 53 h 53"/>
              </a:gdLst>
              <a:ahLst/>
              <a:cxnLst>
                <a:cxn ang="T10">
                  <a:pos x="T0" y="T1"/>
                </a:cxn>
                <a:cxn ang="T11">
                  <a:pos x="T2" y="T3"/>
                </a:cxn>
                <a:cxn ang="T12">
                  <a:pos x="T4" y="T5"/>
                </a:cxn>
                <a:cxn ang="T13">
                  <a:pos x="T6" y="T7"/>
                </a:cxn>
                <a:cxn ang="T14">
                  <a:pos x="T8" y="T9"/>
                </a:cxn>
              </a:cxnLst>
              <a:rect l="T15" t="T16" r="T17" b="T18"/>
              <a:pathLst>
                <a:path w="61" h="53">
                  <a:moveTo>
                    <a:pt x="52" y="52"/>
                  </a:moveTo>
                  <a:lnTo>
                    <a:pt x="52" y="52"/>
                  </a:lnTo>
                  <a:cubicBezTo>
                    <a:pt x="34" y="52"/>
                    <a:pt x="8" y="43"/>
                    <a:pt x="8" y="26"/>
                  </a:cubicBezTo>
                  <a:cubicBezTo>
                    <a:pt x="0" y="17"/>
                    <a:pt x="17" y="0"/>
                    <a:pt x="26" y="9"/>
                  </a:cubicBezTo>
                  <a:cubicBezTo>
                    <a:pt x="34" y="9"/>
                    <a:pt x="60" y="43"/>
                    <a:pt x="52" y="52"/>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29" name="Freeform 30"/>
            <p:cNvSpPr>
              <a:spLocks noChangeArrowheads="1"/>
            </p:cNvSpPr>
            <p:nvPr/>
          </p:nvSpPr>
          <p:spPr bwMode="auto">
            <a:xfrm>
              <a:off x="2720975" y="2770188"/>
              <a:ext cx="22225" cy="31750"/>
            </a:xfrm>
            <a:custGeom>
              <a:avLst/>
              <a:gdLst>
                <a:gd name="T0" fmla="*/ 2147483647 w 60"/>
                <a:gd name="T1" fmla="*/ 2147483647 h 87"/>
                <a:gd name="T2" fmla="*/ 2147483647 w 60"/>
                <a:gd name="T3" fmla="*/ 2147483647 h 87"/>
                <a:gd name="T4" fmla="*/ 0 w 60"/>
                <a:gd name="T5" fmla="*/ 2147483647 h 87"/>
                <a:gd name="T6" fmla="*/ 2147483647 w 60"/>
                <a:gd name="T7" fmla="*/ 2147483647 h 87"/>
                <a:gd name="T8" fmla="*/ 2147483647 w 60"/>
                <a:gd name="T9" fmla="*/ 2147483647 h 87"/>
                <a:gd name="T10" fmla="*/ 0 60000 65536"/>
                <a:gd name="T11" fmla="*/ 0 60000 65536"/>
                <a:gd name="T12" fmla="*/ 0 60000 65536"/>
                <a:gd name="T13" fmla="*/ 0 60000 65536"/>
                <a:gd name="T14" fmla="*/ 0 60000 65536"/>
                <a:gd name="T15" fmla="*/ 0 w 60"/>
                <a:gd name="T16" fmla="*/ 0 h 87"/>
                <a:gd name="T17" fmla="*/ 60 w 60"/>
                <a:gd name="T18" fmla="*/ 87 h 87"/>
              </a:gdLst>
              <a:ahLst/>
              <a:cxnLst>
                <a:cxn ang="T10">
                  <a:pos x="T0" y="T1"/>
                </a:cxn>
                <a:cxn ang="T11">
                  <a:pos x="T2" y="T3"/>
                </a:cxn>
                <a:cxn ang="T12">
                  <a:pos x="T4" y="T5"/>
                </a:cxn>
                <a:cxn ang="T13">
                  <a:pos x="T6" y="T7"/>
                </a:cxn>
                <a:cxn ang="T14">
                  <a:pos x="T8" y="T9"/>
                </a:cxn>
              </a:cxnLst>
              <a:rect l="T15" t="T16" r="T17" b="T18"/>
              <a:pathLst>
                <a:path w="60" h="87">
                  <a:moveTo>
                    <a:pt x="42" y="69"/>
                  </a:moveTo>
                  <a:lnTo>
                    <a:pt x="42" y="69"/>
                  </a:lnTo>
                  <a:cubicBezTo>
                    <a:pt x="26" y="51"/>
                    <a:pt x="0" y="26"/>
                    <a:pt x="0" y="17"/>
                  </a:cubicBezTo>
                  <a:cubicBezTo>
                    <a:pt x="9" y="0"/>
                    <a:pt x="17" y="0"/>
                    <a:pt x="34" y="9"/>
                  </a:cubicBezTo>
                  <a:cubicBezTo>
                    <a:pt x="42" y="17"/>
                    <a:pt x="59" y="86"/>
                    <a:pt x="42" y="6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0" name="Freeform 31"/>
            <p:cNvSpPr>
              <a:spLocks noChangeArrowheads="1"/>
            </p:cNvSpPr>
            <p:nvPr/>
          </p:nvSpPr>
          <p:spPr bwMode="auto">
            <a:xfrm>
              <a:off x="3006725" y="1174750"/>
              <a:ext cx="49213" cy="61913"/>
            </a:xfrm>
            <a:custGeom>
              <a:avLst/>
              <a:gdLst>
                <a:gd name="T0" fmla="*/ 2147483647 w 138"/>
                <a:gd name="T1" fmla="*/ 2147483647 h 173"/>
                <a:gd name="T2" fmla="*/ 2147483647 w 138"/>
                <a:gd name="T3" fmla="*/ 2147483647 h 173"/>
                <a:gd name="T4" fmla="*/ 2147483647 w 138"/>
                <a:gd name="T5" fmla="*/ 2147483647 h 173"/>
                <a:gd name="T6" fmla="*/ 2147483647 w 138"/>
                <a:gd name="T7" fmla="*/ 2147483647 h 173"/>
                <a:gd name="T8" fmla="*/ 2147483647 w 138"/>
                <a:gd name="T9" fmla="*/ 2147483647 h 173"/>
                <a:gd name="T10" fmla="*/ 2147483647 w 138"/>
                <a:gd name="T11" fmla="*/ 2147483647 h 173"/>
                <a:gd name="T12" fmla="*/ 2147483647 w 138"/>
                <a:gd name="T13" fmla="*/ 2147483647 h 173"/>
                <a:gd name="T14" fmla="*/ 2147483647 w 138"/>
                <a:gd name="T15" fmla="*/ 2147483647 h 173"/>
                <a:gd name="T16" fmla="*/ 2147483647 w 138"/>
                <a:gd name="T17" fmla="*/ 2147483647 h 173"/>
                <a:gd name="T18" fmla="*/ 2147483647 w 138"/>
                <a:gd name="T19" fmla="*/ 2147483647 h 173"/>
                <a:gd name="T20" fmla="*/ 2147483647 w 138"/>
                <a:gd name="T21" fmla="*/ 2147483647 h 173"/>
                <a:gd name="T22" fmla="*/ 2147483647 w 138"/>
                <a:gd name="T23" fmla="*/ 2147483647 h 173"/>
                <a:gd name="T24" fmla="*/ 2147483647 w 138"/>
                <a:gd name="T25" fmla="*/ 2147483647 h 173"/>
                <a:gd name="T26" fmla="*/ 2147483647 w 138"/>
                <a:gd name="T27" fmla="*/ 2147483647 h 173"/>
                <a:gd name="T28" fmla="*/ 2147483647 w 138"/>
                <a:gd name="T29" fmla="*/ 2147483647 h 1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8"/>
                <a:gd name="T46" fmla="*/ 0 h 173"/>
                <a:gd name="T47" fmla="*/ 138 w 138"/>
                <a:gd name="T48" fmla="*/ 173 h 1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8" h="173">
                  <a:moveTo>
                    <a:pt x="112" y="137"/>
                  </a:moveTo>
                  <a:lnTo>
                    <a:pt x="112" y="137"/>
                  </a:lnTo>
                  <a:cubicBezTo>
                    <a:pt x="95" y="137"/>
                    <a:pt x="95" y="137"/>
                    <a:pt x="77" y="137"/>
                  </a:cubicBezTo>
                  <a:cubicBezTo>
                    <a:pt x="69" y="146"/>
                    <a:pt x="60" y="172"/>
                    <a:pt x="43" y="172"/>
                  </a:cubicBezTo>
                  <a:cubicBezTo>
                    <a:pt x="26" y="172"/>
                    <a:pt x="0" y="172"/>
                    <a:pt x="9" y="163"/>
                  </a:cubicBezTo>
                  <a:cubicBezTo>
                    <a:pt x="17" y="155"/>
                    <a:pt x="52" y="155"/>
                    <a:pt x="35" y="137"/>
                  </a:cubicBezTo>
                  <a:cubicBezTo>
                    <a:pt x="26" y="129"/>
                    <a:pt x="0" y="137"/>
                    <a:pt x="17" y="129"/>
                  </a:cubicBezTo>
                  <a:cubicBezTo>
                    <a:pt x="35" y="112"/>
                    <a:pt x="35" y="94"/>
                    <a:pt x="26" y="86"/>
                  </a:cubicBezTo>
                  <a:cubicBezTo>
                    <a:pt x="26" y="77"/>
                    <a:pt x="52" y="77"/>
                    <a:pt x="52" y="77"/>
                  </a:cubicBezTo>
                  <a:cubicBezTo>
                    <a:pt x="60" y="77"/>
                    <a:pt x="86" y="86"/>
                    <a:pt x="69" y="69"/>
                  </a:cubicBezTo>
                  <a:cubicBezTo>
                    <a:pt x="52" y="52"/>
                    <a:pt x="26" y="43"/>
                    <a:pt x="52" y="34"/>
                  </a:cubicBezTo>
                  <a:cubicBezTo>
                    <a:pt x="69" y="34"/>
                    <a:pt x="86" y="34"/>
                    <a:pt x="95" y="26"/>
                  </a:cubicBezTo>
                  <a:cubicBezTo>
                    <a:pt x="103" y="17"/>
                    <a:pt x="112" y="0"/>
                    <a:pt x="112" y="17"/>
                  </a:cubicBezTo>
                  <a:cubicBezTo>
                    <a:pt x="120" y="43"/>
                    <a:pt x="129" y="43"/>
                    <a:pt x="120" y="52"/>
                  </a:cubicBezTo>
                  <a:cubicBezTo>
                    <a:pt x="120" y="69"/>
                    <a:pt x="137" y="137"/>
                    <a:pt x="112" y="13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1" name="Freeform 32"/>
            <p:cNvSpPr>
              <a:spLocks noChangeArrowheads="1"/>
            </p:cNvSpPr>
            <p:nvPr/>
          </p:nvSpPr>
          <p:spPr bwMode="auto">
            <a:xfrm>
              <a:off x="2944813" y="1247775"/>
              <a:ext cx="68262" cy="87313"/>
            </a:xfrm>
            <a:custGeom>
              <a:avLst/>
              <a:gdLst>
                <a:gd name="T0" fmla="*/ 2147483647 w 189"/>
                <a:gd name="T1" fmla="*/ 2147483647 h 241"/>
                <a:gd name="T2" fmla="*/ 2147483647 w 189"/>
                <a:gd name="T3" fmla="*/ 2147483647 h 241"/>
                <a:gd name="T4" fmla="*/ 2147483647 w 189"/>
                <a:gd name="T5" fmla="*/ 2147483647 h 241"/>
                <a:gd name="T6" fmla="*/ 2147483647 w 189"/>
                <a:gd name="T7" fmla="*/ 2147483647 h 241"/>
                <a:gd name="T8" fmla="*/ 2147483647 w 189"/>
                <a:gd name="T9" fmla="*/ 2147483647 h 241"/>
                <a:gd name="T10" fmla="*/ 2147483647 w 189"/>
                <a:gd name="T11" fmla="*/ 2147483647 h 241"/>
                <a:gd name="T12" fmla="*/ 2147483647 w 189"/>
                <a:gd name="T13" fmla="*/ 2147483647 h 241"/>
                <a:gd name="T14" fmla="*/ 2147483647 w 189"/>
                <a:gd name="T15" fmla="*/ 2147483647 h 241"/>
                <a:gd name="T16" fmla="*/ 2147483647 w 189"/>
                <a:gd name="T17" fmla="*/ 2147483647 h 241"/>
                <a:gd name="T18" fmla="*/ 2147483647 w 189"/>
                <a:gd name="T19" fmla="*/ 2147483647 h 241"/>
                <a:gd name="T20" fmla="*/ 2147483647 w 189"/>
                <a:gd name="T21" fmla="*/ 2147483647 h 241"/>
                <a:gd name="T22" fmla="*/ 2147483647 w 189"/>
                <a:gd name="T23" fmla="*/ 2147483647 h 241"/>
                <a:gd name="T24" fmla="*/ 2147483647 w 189"/>
                <a:gd name="T25" fmla="*/ 2147483647 h 241"/>
                <a:gd name="T26" fmla="*/ 2147483647 w 189"/>
                <a:gd name="T27" fmla="*/ 2147483647 h 241"/>
                <a:gd name="T28" fmla="*/ 2147483647 w 189"/>
                <a:gd name="T29" fmla="*/ 2147483647 h 241"/>
                <a:gd name="T30" fmla="*/ 0 w 189"/>
                <a:gd name="T31" fmla="*/ 2147483647 h 241"/>
                <a:gd name="T32" fmla="*/ 2147483647 w 189"/>
                <a:gd name="T33" fmla="*/ 2147483647 h 241"/>
                <a:gd name="T34" fmla="*/ 2147483647 w 189"/>
                <a:gd name="T35" fmla="*/ 2147483647 h 241"/>
                <a:gd name="T36" fmla="*/ 2147483647 w 189"/>
                <a:gd name="T37" fmla="*/ 2147483647 h 241"/>
                <a:gd name="T38" fmla="*/ 2147483647 w 189"/>
                <a:gd name="T39" fmla="*/ 2147483647 h 241"/>
                <a:gd name="T40" fmla="*/ 2147483647 w 189"/>
                <a:gd name="T41" fmla="*/ 2147483647 h 241"/>
                <a:gd name="T42" fmla="*/ 2147483647 w 189"/>
                <a:gd name="T43" fmla="*/ 2147483647 h 241"/>
                <a:gd name="T44" fmla="*/ 2147483647 w 189"/>
                <a:gd name="T45" fmla="*/ 2147483647 h 24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9"/>
                <a:gd name="T70" fmla="*/ 0 h 241"/>
                <a:gd name="T71" fmla="*/ 189 w 189"/>
                <a:gd name="T72" fmla="*/ 241 h 24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9" h="241">
                  <a:moveTo>
                    <a:pt x="154" y="60"/>
                  </a:moveTo>
                  <a:lnTo>
                    <a:pt x="154" y="60"/>
                  </a:lnTo>
                  <a:cubicBezTo>
                    <a:pt x="146" y="51"/>
                    <a:pt x="137" y="43"/>
                    <a:pt x="129" y="51"/>
                  </a:cubicBezTo>
                  <a:cubicBezTo>
                    <a:pt x="120" y="51"/>
                    <a:pt x="111" y="68"/>
                    <a:pt x="111" y="77"/>
                  </a:cubicBezTo>
                  <a:cubicBezTo>
                    <a:pt x="111" y="86"/>
                    <a:pt x="103" y="111"/>
                    <a:pt x="94" y="120"/>
                  </a:cubicBezTo>
                  <a:cubicBezTo>
                    <a:pt x="85" y="128"/>
                    <a:pt x="103" y="94"/>
                    <a:pt x="94" y="86"/>
                  </a:cubicBezTo>
                  <a:cubicBezTo>
                    <a:pt x="85" y="77"/>
                    <a:pt x="77" y="68"/>
                    <a:pt x="85" y="51"/>
                  </a:cubicBezTo>
                  <a:cubicBezTo>
                    <a:pt x="85" y="43"/>
                    <a:pt x="94" y="34"/>
                    <a:pt x="85" y="26"/>
                  </a:cubicBezTo>
                  <a:cubicBezTo>
                    <a:pt x="77" y="17"/>
                    <a:pt x="68" y="0"/>
                    <a:pt x="60" y="17"/>
                  </a:cubicBezTo>
                  <a:cubicBezTo>
                    <a:pt x="51" y="34"/>
                    <a:pt x="51" y="60"/>
                    <a:pt x="51" y="68"/>
                  </a:cubicBezTo>
                  <a:cubicBezTo>
                    <a:pt x="51" y="77"/>
                    <a:pt x="60" y="94"/>
                    <a:pt x="51" y="94"/>
                  </a:cubicBezTo>
                  <a:cubicBezTo>
                    <a:pt x="43" y="103"/>
                    <a:pt x="43" y="111"/>
                    <a:pt x="43" y="120"/>
                  </a:cubicBezTo>
                  <a:cubicBezTo>
                    <a:pt x="43" y="120"/>
                    <a:pt x="26" y="128"/>
                    <a:pt x="26" y="137"/>
                  </a:cubicBezTo>
                  <a:cubicBezTo>
                    <a:pt x="26" y="154"/>
                    <a:pt x="43" y="163"/>
                    <a:pt x="34" y="171"/>
                  </a:cubicBezTo>
                  <a:cubicBezTo>
                    <a:pt x="26" y="180"/>
                    <a:pt x="26" y="180"/>
                    <a:pt x="17" y="180"/>
                  </a:cubicBezTo>
                  <a:cubicBezTo>
                    <a:pt x="8" y="189"/>
                    <a:pt x="0" y="197"/>
                    <a:pt x="0" y="206"/>
                  </a:cubicBezTo>
                  <a:cubicBezTo>
                    <a:pt x="0" y="223"/>
                    <a:pt x="0" y="240"/>
                    <a:pt x="17" y="223"/>
                  </a:cubicBezTo>
                  <a:cubicBezTo>
                    <a:pt x="26" y="214"/>
                    <a:pt x="60" y="171"/>
                    <a:pt x="68" y="171"/>
                  </a:cubicBezTo>
                  <a:cubicBezTo>
                    <a:pt x="68" y="171"/>
                    <a:pt x="34" y="206"/>
                    <a:pt x="51" y="206"/>
                  </a:cubicBezTo>
                  <a:cubicBezTo>
                    <a:pt x="68" y="206"/>
                    <a:pt x="85" y="197"/>
                    <a:pt x="94" y="180"/>
                  </a:cubicBezTo>
                  <a:cubicBezTo>
                    <a:pt x="103" y="163"/>
                    <a:pt x="103" y="163"/>
                    <a:pt x="120" y="154"/>
                  </a:cubicBezTo>
                  <a:cubicBezTo>
                    <a:pt x="137" y="137"/>
                    <a:pt x="154" y="128"/>
                    <a:pt x="154" y="120"/>
                  </a:cubicBezTo>
                  <a:cubicBezTo>
                    <a:pt x="154" y="120"/>
                    <a:pt x="188" y="86"/>
                    <a:pt x="154" y="60"/>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2" name="Freeform 33"/>
            <p:cNvSpPr>
              <a:spLocks noChangeArrowheads="1"/>
            </p:cNvSpPr>
            <p:nvPr/>
          </p:nvSpPr>
          <p:spPr bwMode="auto">
            <a:xfrm>
              <a:off x="2930525" y="1254125"/>
              <a:ext cx="25400" cy="42863"/>
            </a:xfrm>
            <a:custGeom>
              <a:avLst/>
              <a:gdLst>
                <a:gd name="T0" fmla="*/ 2147483647 w 70"/>
                <a:gd name="T1" fmla="*/ 2147483647 h 121"/>
                <a:gd name="T2" fmla="*/ 2147483647 w 70"/>
                <a:gd name="T3" fmla="*/ 2147483647 h 121"/>
                <a:gd name="T4" fmla="*/ 2147483647 w 70"/>
                <a:gd name="T5" fmla="*/ 2147483647 h 121"/>
                <a:gd name="T6" fmla="*/ 2147483647 w 70"/>
                <a:gd name="T7" fmla="*/ 0 h 121"/>
                <a:gd name="T8" fmla="*/ 2147483647 w 70"/>
                <a:gd name="T9" fmla="*/ 2147483647 h 121"/>
                <a:gd name="T10" fmla="*/ 2147483647 w 70"/>
                <a:gd name="T11" fmla="*/ 2147483647 h 121"/>
                <a:gd name="T12" fmla="*/ 2147483647 w 70"/>
                <a:gd name="T13" fmla="*/ 2147483647 h 121"/>
                <a:gd name="T14" fmla="*/ 2147483647 w 70"/>
                <a:gd name="T15" fmla="*/ 2147483647 h 121"/>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121"/>
                <a:gd name="T26" fmla="*/ 70 w 70"/>
                <a:gd name="T27" fmla="*/ 121 h 1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121">
                  <a:moveTo>
                    <a:pt x="69" y="86"/>
                  </a:moveTo>
                  <a:lnTo>
                    <a:pt x="69" y="86"/>
                  </a:lnTo>
                  <a:cubicBezTo>
                    <a:pt x="69" y="69"/>
                    <a:pt x="60" y="60"/>
                    <a:pt x="60" y="43"/>
                  </a:cubicBezTo>
                  <a:cubicBezTo>
                    <a:pt x="60" y="26"/>
                    <a:pt x="43" y="0"/>
                    <a:pt x="34" y="0"/>
                  </a:cubicBezTo>
                  <a:cubicBezTo>
                    <a:pt x="26" y="0"/>
                    <a:pt x="26" y="9"/>
                    <a:pt x="34" y="26"/>
                  </a:cubicBezTo>
                  <a:cubicBezTo>
                    <a:pt x="43" y="34"/>
                    <a:pt x="34" y="60"/>
                    <a:pt x="26" y="69"/>
                  </a:cubicBezTo>
                  <a:cubicBezTo>
                    <a:pt x="17" y="77"/>
                    <a:pt x="0" y="120"/>
                    <a:pt x="9" y="120"/>
                  </a:cubicBezTo>
                  <a:cubicBezTo>
                    <a:pt x="26" y="120"/>
                    <a:pt x="69" y="111"/>
                    <a:pt x="69" y="8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3" name="Freeform 34"/>
            <p:cNvSpPr>
              <a:spLocks noChangeArrowheads="1"/>
            </p:cNvSpPr>
            <p:nvPr/>
          </p:nvSpPr>
          <p:spPr bwMode="auto">
            <a:xfrm>
              <a:off x="2954338" y="1208088"/>
              <a:ext cx="28575" cy="55562"/>
            </a:xfrm>
            <a:custGeom>
              <a:avLst/>
              <a:gdLst>
                <a:gd name="T0" fmla="*/ 2147483647 w 78"/>
                <a:gd name="T1" fmla="*/ 2147483647 h 156"/>
                <a:gd name="T2" fmla="*/ 2147483647 w 78"/>
                <a:gd name="T3" fmla="*/ 2147483647 h 156"/>
                <a:gd name="T4" fmla="*/ 2147483647 w 78"/>
                <a:gd name="T5" fmla="*/ 2147483647 h 156"/>
                <a:gd name="T6" fmla="*/ 2147483647 w 78"/>
                <a:gd name="T7" fmla="*/ 2147483647 h 156"/>
                <a:gd name="T8" fmla="*/ 2147483647 w 78"/>
                <a:gd name="T9" fmla="*/ 2147483647 h 156"/>
                <a:gd name="T10" fmla="*/ 2147483647 w 78"/>
                <a:gd name="T11" fmla="*/ 2147483647 h 156"/>
                <a:gd name="T12" fmla="*/ 0 60000 65536"/>
                <a:gd name="T13" fmla="*/ 0 60000 65536"/>
                <a:gd name="T14" fmla="*/ 0 60000 65536"/>
                <a:gd name="T15" fmla="*/ 0 60000 65536"/>
                <a:gd name="T16" fmla="*/ 0 60000 65536"/>
                <a:gd name="T17" fmla="*/ 0 60000 65536"/>
                <a:gd name="T18" fmla="*/ 0 w 78"/>
                <a:gd name="T19" fmla="*/ 0 h 156"/>
                <a:gd name="T20" fmla="*/ 78 w 78"/>
                <a:gd name="T21" fmla="*/ 156 h 156"/>
              </a:gdLst>
              <a:ahLst/>
              <a:cxnLst>
                <a:cxn ang="T12">
                  <a:pos x="T0" y="T1"/>
                </a:cxn>
                <a:cxn ang="T13">
                  <a:pos x="T2" y="T3"/>
                </a:cxn>
                <a:cxn ang="T14">
                  <a:pos x="T4" y="T5"/>
                </a:cxn>
                <a:cxn ang="T15">
                  <a:pos x="T6" y="T7"/>
                </a:cxn>
                <a:cxn ang="T16">
                  <a:pos x="T8" y="T9"/>
                </a:cxn>
                <a:cxn ang="T17">
                  <a:pos x="T10" y="T11"/>
                </a:cxn>
              </a:cxnLst>
              <a:rect l="T18" t="T19" r="T20" b="T21"/>
              <a:pathLst>
                <a:path w="78" h="156">
                  <a:moveTo>
                    <a:pt x="8" y="146"/>
                  </a:moveTo>
                  <a:lnTo>
                    <a:pt x="8" y="146"/>
                  </a:lnTo>
                  <a:cubicBezTo>
                    <a:pt x="8" y="155"/>
                    <a:pt x="0" y="121"/>
                    <a:pt x="17" y="95"/>
                  </a:cubicBezTo>
                  <a:cubicBezTo>
                    <a:pt x="25" y="78"/>
                    <a:pt x="68" y="0"/>
                    <a:pt x="77" y="26"/>
                  </a:cubicBezTo>
                  <a:cubicBezTo>
                    <a:pt x="77" y="43"/>
                    <a:pt x="68" y="86"/>
                    <a:pt x="59" y="95"/>
                  </a:cubicBezTo>
                  <a:cubicBezTo>
                    <a:pt x="51" y="95"/>
                    <a:pt x="17" y="121"/>
                    <a:pt x="8" y="14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4" name="Freeform 35"/>
            <p:cNvSpPr>
              <a:spLocks noChangeArrowheads="1"/>
            </p:cNvSpPr>
            <p:nvPr/>
          </p:nvSpPr>
          <p:spPr bwMode="auto">
            <a:xfrm>
              <a:off x="2911475" y="1312863"/>
              <a:ext cx="36513" cy="31750"/>
            </a:xfrm>
            <a:custGeom>
              <a:avLst/>
              <a:gdLst>
                <a:gd name="T0" fmla="*/ 2147483647 w 103"/>
                <a:gd name="T1" fmla="*/ 2147483647 h 87"/>
                <a:gd name="T2" fmla="*/ 2147483647 w 103"/>
                <a:gd name="T3" fmla="*/ 2147483647 h 87"/>
                <a:gd name="T4" fmla="*/ 2147483647 w 103"/>
                <a:gd name="T5" fmla="*/ 2147483647 h 87"/>
                <a:gd name="T6" fmla="*/ 0 w 103"/>
                <a:gd name="T7" fmla="*/ 2147483647 h 87"/>
                <a:gd name="T8" fmla="*/ 2147483647 w 103"/>
                <a:gd name="T9" fmla="*/ 2147483647 h 87"/>
                <a:gd name="T10" fmla="*/ 2147483647 w 103"/>
                <a:gd name="T11" fmla="*/ 2147483647 h 87"/>
                <a:gd name="T12" fmla="*/ 0 60000 65536"/>
                <a:gd name="T13" fmla="*/ 0 60000 65536"/>
                <a:gd name="T14" fmla="*/ 0 60000 65536"/>
                <a:gd name="T15" fmla="*/ 0 60000 65536"/>
                <a:gd name="T16" fmla="*/ 0 60000 65536"/>
                <a:gd name="T17" fmla="*/ 0 60000 65536"/>
                <a:gd name="T18" fmla="*/ 0 w 103"/>
                <a:gd name="T19" fmla="*/ 0 h 87"/>
                <a:gd name="T20" fmla="*/ 103 w 103"/>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103" h="87">
                  <a:moveTo>
                    <a:pt x="77" y="9"/>
                  </a:moveTo>
                  <a:lnTo>
                    <a:pt x="77" y="9"/>
                  </a:lnTo>
                  <a:cubicBezTo>
                    <a:pt x="68" y="0"/>
                    <a:pt x="42" y="17"/>
                    <a:pt x="34" y="26"/>
                  </a:cubicBezTo>
                  <a:cubicBezTo>
                    <a:pt x="25" y="34"/>
                    <a:pt x="8" y="43"/>
                    <a:pt x="0" y="60"/>
                  </a:cubicBezTo>
                  <a:cubicBezTo>
                    <a:pt x="0" y="77"/>
                    <a:pt x="0" y="86"/>
                    <a:pt x="25" y="69"/>
                  </a:cubicBezTo>
                  <a:cubicBezTo>
                    <a:pt x="51" y="43"/>
                    <a:pt x="102" y="17"/>
                    <a:pt x="77" y="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5" name="Freeform 36"/>
            <p:cNvSpPr>
              <a:spLocks noChangeArrowheads="1"/>
            </p:cNvSpPr>
            <p:nvPr/>
          </p:nvSpPr>
          <p:spPr bwMode="auto">
            <a:xfrm>
              <a:off x="2881313" y="1331913"/>
              <a:ext cx="28575" cy="31750"/>
            </a:xfrm>
            <a:custGeom>
              <a:avLst/>
              <a:gdLst>
                <a:gd name="T0" fmla="*/ 2147483647 w 78"/>
                <a:gd name="T1" fmla="*/ 2147483647 h 87"/>
                <a:gd name="T2" fmla="*/ 2147483647 w 78"/>
                <a:gd name="T3" fmla="*/ 2147483647 h 87"/>
                <a:gd name="T4" fmla="*/ 2147483647 w 78"/>
                <a:gd name="T5" fmla="*/ 2147483647 h 87"/>
                <a:gd name="T6" fmla="*/ 2147483647 w 78"/>
                <a:gd name="T7" fmla="*/ 2147483647 h 87"/>
                <a:gd name="T8" fmla="*/ 2147483647 w 78"/>
                <a:gd name="T9" fmla="*/ 2147483647 h 87"/>
                <a:gd name="T10" fmla="*/ 0 60000 65536"/>
                <a:gd name="T11" fmla="*/ 0 60000 65536"/>
                <a:gd name="T12" fmla="*/ 0 60000 65536"/>
                <a:gd name="T13" fmla="*/ 0 60000 65536"/>
                <a:gd name="T14" fmla="*/ 0 60000 65536"/>
                <a:gd name="T15" fmla="*/ 0 w 78"/>
                <a:gd name="T16" fmla="*/ 0 h 87"/>
                <a:gd name="T17" fmla="*/ 78 w 78"/>
                <a:gd name="T18" fmla="*/ 87 h 87"/>
              </a:gdLst>
              <a:ahLst/>
              <a:cxnLst>
                <a:cxn ang="T10">
                  <a:pos x="T0" y="T1"/>
                </a:cxn>
                <a:cxn ang="T11">
                  <a:pos x="T2" y="T3"/>
                </a:cxn>
                <a:cxn ang="T12">
                  <a:pos x="T4" y="T5"/>
                </a:cxn>
                <a:cxn ang="T13">
                  <a:pos x="T6" y="T7"/>
                </a:cxn>
                <a:cxn ang="T14">
                  <a:pos x="T8" y="T9"/>
                </a:cxn>
              </a:cxnLst>
              <a:rect l="T15" t="T16" r="T17" b="T18"/>
              <a:pathLst>
                <a:path w="78" h="87">
                  <a:moveTo>
                    <a:pt x="69" y="26"/>
                  </a:moveTo>
                  <a:lnTo>
                    <a:pt x="69" y="26"/>
                  </a:lnTo>
                  <a:cubicBezTo>
                    <a:pt x="60" y="9"/>
                    <a:pt x="17" y="0"/>
                    <a:pt x="8" y="18"/>
                  </a:cubicBezTo>
                  <a:cubicBezTo>
                    <a:pt x="0" y="26"/>
                    <a:pt x="8" y="86"/>
                    <a:pt x="17" y="69"/>
                  </a:cubicBezTo>
                  <a:cubicBezTo>
                    <a:pt x="34" y="52"/>
                    <a:pt x="77" y="60"/>
                    <a:pt x="69" y="2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6" name="Freeform 37"/>
            <p:cNvSpPr>
              <a:spLocks noChangeArrowheads="1"/>
            </p:cNvSpPr>
            <p:nvPr/>
          </p:nvSpPr>
          <p:spPr bwMode="auto">
            <a:xfrm>
              <a:off x="3059113" y="1090613"/>
              <a:ext cx="58737" cy="88900"/>
            </a:xfrm>
            <a:custGeom>
              <a:avLst/>
              <a:gdLst>
                <a:gd name="T0" fmla="*/ 2147483647 w 164"/>
                <a:gd name="T1" fmla="*/ 2147483647 h 249"/>
                <a:gd name="T2" fmla="*/ 2147483647 w 164"/>
                <a:gd name="T3" fmla="*/ 2147483647 h 249"/>
                <a:gd name="T4" fmla="*/ 0 w 164"/>
                <a:gd name="T5" fmla="*/ 2147483647 h 249"/>
                <a:gd name="T6" fmla="*/ 2147483647 w 164"/>
                <a:gd name="T7" fmla="*/ 2147483647 h 249"/>
                <a:gd name="T8" fmla="*/ 2147483647 w 164"/>
                <a:gd name="T9" fmla="*/ 2147483647 h 249"/>
                <a:gd name="T10" fmla="*/ 2147483647 w 164"/>
                <a:gd name="T11" fmla="*/ 2147483647 h 249"/>
                <a:gd name="T12" fmla="*/ 2147483647 w 164"/>
                <a:gd name="T13" fmla="*/ 2147483647 h 249"/>
                <a:gd name="T14" fmla="*/ 2147483647 w 164"/>
                <a:gd name="T15" fmla="*/ 2147483647 h 249"/>
                <a:gd name="T16" fmla="*/ 2147483647 w 164"/>
                <a:gd name="T17" fmla="*/ 2147483647 h 249"/>
                <a:gd name="T18" fmla="*/ 2147483647 w 164"/>
                <a:gd name="T19" fmla="*/ 2147483647 h 249"/>
                <a:gd name="T20" fmla="*/ 2147483647 w 164"/>
                <a:gd name="T21" fmla="*/ 2147483647 h 249"/>
                <a:gd name="T22" fmla="*/ 2147483647 w 164"/>
                <a:gd name="T23" fmla="*/ 2147483647 h 249"/>
                <a:gd name="T24" fmla="*/ 2147483647 w 164"/>
                <a:gd name="T25" fmla="*/ 2147483647 h 249"/>
                <a:gd name="T26" fmla="*/ 2147483647 w 164"/>
                <a:gd name="T27" fmla="*/ 2147483647 h 249"/>
                <a:gd name="T28" fmla="*/ 2147483647 w 164"/>
                <a:gd name="T29" fmla="*/ 2147483647 h 249"/>
                <a:gd name="T30" fmla="*/ 2147483647 w 164"/>
                <a:gd name="T31" fmla="*/ 2147483647 h 249"/>
                <a:gd name="T32" fmla="*/ 2147483647 w 164"/>
                <a:gd name="T33" fmla="*/ 2147483647 h 2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4"/>
                <a:gd name="T52" fmla="*/ 0 h 249"/>
                <a:gd name="T53" fmla="*/ 164 w 164"/>
                <a:gd name="T54" fmla="*/ 249 h 2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4" h="249">
                  <a:moveTo>
                    <a:pt x="43" y="240"/>
                  </a:moveTo>
                  <a:lnTo>
                    <a:pt x="43" y="240"/>
                  </a:lnTo>
                  <a:cubicBezTo>
                    <a:pt x="26" y="231"/>
                    <a:pt x="0" y="248"/>
                    <a:pt x="0" y="223"/>
                  </a:cubicBezTo>
                  <a:cubicBezTo>
                    <a:pt x="0" y="206"/>
                    <a:pt x="26" y="188"/>
                    <a:pt x="34" y="180"/>
                  </a:cubicBezTo>
                  <a:cubicBezTo>
                    <a:pt x="52" y="162"/>
                    <a:pt x="69" y="145"/>
                    <a:pt x="52" y="111"/>
                  </a:cubicBezTo>
                  <a:cubicBezTo>
                    <a:pt x="34" y="77"/>
                    <a:pt x="34" y="68"/>
                    <a:pt x="34" y="60"/>
                  </a:cubicBezTo>
                  <a:cubicBezTo>
                    <a:pt x="43" y="60"/>
                    <a:pt x="69" y="94"/>
                    <a:pt x="86" y="77"/>
                  </a:cubicBezTo>
                  <a:cubicBezTo>
                    <a:pt x="94" y="68"/>
                    <a:pt x="52" y="0"/>
                    <a:pt x="69" y="8"/>
                  </a:cubicBezTo>
                  <a:cubicBezTo>
                    <a:pt x="86" y="17"/>
                    <a:pt x="86" y="51"/>
                    <a:pt x="94" y="43"/>
                  </a:cubicBezTo>
                  <a:cubicBezTo>
                    <a:pt x="111" y="43"/>
                    <a:pt x="120" y="17"/>
                    <a:pt x="120" y="34"/>
                  </a:cubicBezTo>
                  <a:cubicBezTo>
                    <a:pt x="111" y="60"/>
                    <a:pt x="103" y="60"/>
                    <a:pt x="111" y="68"/>
                  </a:cubicBezTo>
                  <a:cubicBezTo>
                    <a:pt x="120" y="85"/>
                    <a:pt x="120" y="85"/>
                    <a:pt x="137" y="85"/>
                  </a:cubicBezTo>
                  <a:cubicBezTo>
                    <a:pt x="154" y="85"/>
                    <a:pt x="163" y="85"/>
                    <a:pt x="154" y="94"/>
                  </a:cubicBezTo>
                  <a:cubicBezTo>
                    <a:pt x="146" y="111"/>
                    <a:pt x="129" y="120"/>
                    <a:pt x="120" y="128"/>
                  </a:cubicBezTo>
                  <a:cubicBezTo>
                    <a:pt x="111" y="145"/>
                    <a:pt x="111" y="145"/>
                    <a:pt x="103" y="162"/>
                  </a:cubicBezTo>
                  <a:cubicBezTo>
                    <a:pt x="86" y="171"/>
                    <a:pt x="86" y="197"/>
                    <a:pt x="86" y="206"/>
                  </a:cubicBezTo>
                  <a:cubicBezTo>
                    <a:pt x="86" y="214"/>
                    <a:pt x="60" y="240"/>
                    <a:pt x="43" y="240"/>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7" name="Freeform 38"/>
            <p:cNvSpPr>
              <a:spLocks noChangeArrowheads="1"/>
            </p:cNvSpPr>
            <p:nvPr/>
          </p:nvSpPr>
          <p:spPr bwMode="auto">
            <a:xfrm>
              <a:off x="3133725" y="1081088"/>
              <a:ext cx="22225" cy="31750"/>
            </a:xfrm>
            <a:custGeom>
              <a:avLst/>
              <a:gdLst>
                <a:gd name="T0" fmla="*/ 2147483647 w 61"/>
                <a:gd name="T1" fmla="*/ 2147483647 h 87"/>
                <a:gd name="T2" fmla="*/ 2147483647 w 61"/>
                <a:gd name="T3" fmla="*/ 2147483647 h 87"/>
                <a:gd name="T4" fmla="*/ 0 w 61"/>
                <a:gd name="T5" fmla="*/ 2147483647 h 87"/>
                <a:gd name="T6" fmla="*/ 2147483647 w 61"/>
                <a:gd name="T7" fmla="*/ 2147483647 h 87"/>
                <a:gd name="T8" fmla="*/ 2147483647 w 61"/>
                <a:gd name="T9" fmla="*/ 2147483647 h 87"/>
                <a:gd name="T10" fmla="*/ 0 60000 65536"/>
                <a:gd name="T11" fmla="*/ 0 60000 65536"/>
                <a:gd name="T12" fmla="*/ 0 60000 65536"/>
                <a:gd name="T13" fmla="*/ 0 60000 65536"/>
                <a:gd name="T14" fmla="*/ 0 60000 65536"/>
                <a:gd name="T15" fmla="*/ 0 w 61"/>
                <a:gd name="T16" fmla="*/ 0 h 87"/>
                <a:gd name="T17" fmla="*/ 61 w 61"/>
                <a:gd name="T18" fmla="*/ 87 h 87"/>
              </a:gdLst>
              <a:ahLst/>
              <a:cxnLst>
                <a:cxn ang="T10">
                  <a:pos x="T0" y="T1"/>
                </a:cxn>
                <a:cxn ang="T11">
                  <a:pos x="T2" y="T3"/>
                </a:cxn>
                <a:cxn ang="T12">
                  <a:pos x="T4" y="T5"/>
                </a:cxn>
                <a:cxn ang="T13">
                  <a:pos x="T6" y="T7"/>
                </a:cxn>
                <a:cxn ang="T14">
                  <a:pos x="T8" y="T9"/>
                </a:cxn>
              </a:cxnLst>
              <a:rect l="T15" t="T16" r="T17" b="T18"/>
              <a:pathLst>
                <a:path w="61" h="87">
                  <a:moveTo>
                    <a:pt x="25" y="86"/>
                  </a:moveTo>
                  <a:lnTo>
                    <a:pt x="25" y="86"/>
                  </a:lnTo>
                  <a:cubicBezTo>
                    <a:pt x="0" y="86"/>
                    <a:pt x="0" y="60"/>
                    <a:pt x="0" y="43"/>
                  </a:cubicBezTo>
                  <a:cubicBezTo>
                    <a:pt x="8" y="34"/>
                    <a:pt x="17" y="0"/>
                    <a:pt x="34" y="17"/>
                  </a:cubicBezTo>
                  <a:cubicBezTo>
                    <a:pt x="51" y="34"/>
                    <a:pt x="60" y="77"/>
                    <a:pt x="25" y="8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8" name="Freeform 39"/>
            <p:cNvSpPr>
              <a:spLocks noChangeArrowheads="1"/>
            </p:cNvSpPr>
            <p:nvPr/>
          </p:nvSpPr>
          <p:spPr bwMode="auto">
            <a:xfrm>
              <a:off x="3222625" y="1035050"/>
              <a:ext cx="28575" cy="31750"/>
            </a:xfrm>
            <a:custGeom>
              <a:avLst/>
              <a:gdLst>
                <a:gd name="T0" fmla="*/ 2147483647 w 79"/>
                <a:gd name="T1" fmla="*/ 2147483647 h 87"/>
                <a:gd name="T2" fmla="*/ 2147483647 w 79"/>
                <a:gd name="T3" fmla="*/ 2147483647 h 87"/>
                <a:gd name="T4" fmla="*/ 0 w 79"/>
                <a:gd name="T5" fmla="*/ 2147483647 h 87"/>
                <a:gd name="T6" fmla="*/ 2147483647 w 79"/>
                <a:gd name="T7" fmla="*/ 0 h 87"/>
                <a:gd name="T8" fmla="*/ 2147483647 w 79"/>
                <a:gd name="T9" fmla="*/ 2147483647 h 87"/>
                <a:gd name="T10" fmla="*/ 2147483647 w 79"/>
                <a:gd name="T11" fmla="*/ 2147483647 h 87"/>
                <a:gd name="T12" fmla="*/ 0 60000 65536"/>
                <a:gd name="T13" fmla="*/ 0 60000 65536"/>
                <a:gd name="T14" fmla="*/ 0 60000 65536"/>
                <a:gd name="T15" fmla="*/ 0 60000 65536"/>
                <a:gd name="T16" fmla="*/ 0 60000 65536"/>
                <a:gd name="T17" fmla="*/ 0 60000 65536"/>
                <a:gd name="T18" fmla="*/ 0 w 79"/>
                <a:gd name="T19" fmla="*/ 0 h 87"/>
                <a:gd name="T20" fmla="*/ 79 w 79"/>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79" h="87">
                  <a:moveTo>
                    <a:pt x="43" y="86"/>
                  </a:moveTo>
                  <a:lnTo>
                    <a:pt x="43" y="86"/>
                  </a:lnTo>
                  <a:cubicBezTo>
                    <a:pt x="26" y="86"/>
                    <a:pt x="0" y="69"/>
                    <a:pt x="0" y="60"/>
                  </a:cubicBezTo>
                  <a:cubicBezTo>
                    <a:pt x="0" y="43"/>
                    <a:pt x="52" y="0"/>
                    <a:pt x="60" y="0"/>
                  </a:cubicBezTo>
                  <a:cubicBezTo>
                    <a:pt x="69" y="9"/>
                    <a:pt x="78" y="18"/>
                    <a:pt x="69" y="26"/>
                  </a:cubicBezTo>
                  <a:cubicBezTo>
                    <a:pt x="60" y="43"/>
                    <a:pt x="60" y="86"/>
                    <a:pt x="43" y="8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39" name="Freeform 40"/>
            <p:cNvSpPr>
              <a:spLocks noChangeArrowheads="1"/>
            </p:cNvSpPr>
            <p:nvPr/>
          </p:nvSpPr>
          <p:spPr bwMode="auto">
            <a:xfrm>
              <a:off x="3186113" y="1001713"/>
              <a:ext cx="49212" cy="55562"/>
            </a:xfrm>
            <a:custGeom>
              <a:avLst/>
              <a:gdLst>
                <a:gd name="T0" fmla="*/ 2147483647 w 138"/>
                <a:gd name="T1" fmla="*/ 2147483647 h 155"/>
                <a:gd name="T2" fmla="*/ 2147483647 w 138"/>
                <a:gd name="T3" fmla="*/ 2147483647 h 155"/>
                <a:gd name="T4" fmla="*/ 2147483647 w 138"/>
                <a:gd name="T5" fmla="*/ 2147483647 h 155"/>
                <a:gd name="T6" fmla="*/ 2147483647 w 138"/>
                <a:gd name="T7" fmla="*/ 2147483647 h 155"/>
                <a:gd name="T8" fmla="*/ 2147483647 w 138"/>
                <a:gd name="T9" fmla="*/ 2147483647 h 155"/>
                <a:gd name="T10" fmla="*/ 2147483647 w 138"/>
                <a:gd name="T11" fmla="*/ 2147483647 h 155"/>
                <a:gd name="T12" fmla="*/ 2147483647 w 138"/>
                <a:gd name="T13" fmla="*/ 2147483647 h 155"/>
                <a:gd name="T14" fmla="*/ 2147483647 w 138"/>
                <a:gd name="T15" fmla="*/ 2147483647 h 155"/>
                <a:gd name="T16" fmla="*/ 2147483647 w 138"/>
                <a:gd name="T17" fmla="*/ 2147483647 h 155"/>
                <a:gd name="T18" fmla="*/ 2147483647 w 138"/>
                <a:gd name="T19" fmla="*/ 2147483647 h 155"/>
                <a:gd name="T20" fmla="*/ 2147483647 w 138"/>
                <a:gd name="T21" fmla="*/ 2147483647 h 155"/>
                <a:gd name="T22" fmla="*/ 2147483647 w 138"/>
                <a:gd name="T23" fmla="*/ 2147483647 h 155"/>
                <a:gd name="T24" fmla="*/ 2147483647 w 138"/>
                <a:gd name="T25" fmla="*/ 2147483647 h 15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8"/>
                <a:gd name="T40" fmla="*/ 0 h 155"/>
                <a:gd name="T41" fmla="*/ 138 w 138"/>
                <a:gd name="T42" fmla="*/ 155 h 15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8" h="155">
                  <a:moveTo>
                    <a:pt x="78" y="129"/>
                  </a:moveTo>
                  <a:lnTo>
                    <a:pt x="78" y="129"/>
                  </a:lnTo>
                  <a:cubicBezTo>
                    <a:pt x="69" y="137"/>
                    <a:pt x="26" y="154"/>
                    <a:pt x="35" y="137"/>
                  </a:cubicBezTo>
                  <a:cubicBezTo>
                    <a:pt x="43" y="129"/>
                    <a:pt x="43" y="120"/>
                    <a:pt x="35" y="120"/>
                  </a:cubicBezTo>
                  <a:cubicBezTo>
                    <a:pt x="18" y="112"/>
                    <a:pt x="0" y="129"/>
                    <a:pt x="9" y="112"/>
                  </a:cubicBezTo>
                  <a:cubicBezTo>
                    <a:pt x="26" y="86"/>
                    <a:pt x="43" y="86"/>
                    <a:pt x="60" y="77"/>
                  </a:cubicBezTo>
                  <a:cubicBezTo>
                    <a:pt x="69" y="69"/>
                    <a:pt x="78" y="103"/>
                    <a:pt x="78" y="86"/>
                  </a:cubicBezTo>
                  <a:cubicBezTo>
                    <a:pt x="86" y="69"/>
                    <a:pt x="69" y="43"/>
                    <a:pt x="78" y="52"/>
                  </a:cubicBezTo>
                  <a:cubicBezTo>
                    <a:pt x="95" y="52"/>
                    <a:pt x="95" y="77"/>
                    <a:pt x="103" y="69"/>
                  </a:cubicBezTo>
                  <a:cubicBezTo>
                    <a:pt x="120" y="60"/>
                    <a:pt x="112" y="26"/>
                    <a:pt x="112" y="26"/>
                  </a:cubicBezTo>
                  <a:cubicBezTo>
                    <a:pt x="112" y="26"/>
                    <a:pt x="137" y="0"/>
                    <a:pt x="137" y="17"/>
                  </a:cubicBezTo>
                  <a:cubicBezTo>
                    <a:pt x="137" y="43"/>
                    <a:pt x="120" y="69"/>
                    <a:pt x="120" y="77"/>
                  </a:cubicBezTo>
                  <a:cubicBezTo>
                    <a:pt x="112" y="94"/>
                    <a:pt x="95" y="112"/>
                    <a:pt x="78" y="12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0" name="Freeform 41"/>
            <p:cNvSpPr>
              <a:spLocks noChangeArrowheads="1"/>
            </p:cNvSpPr>
            <p:nvPr/>
          </p:nvSpPr>
          <p:spPr bwMode="auto">
            <a:xfrm>
              <a:off x="3241675" y="1017588"/>
              <a:ext cx="25400" cy="22225"/>
            </a:xfrm>
            <a:custGeom>
              <a:avLst/>
              <a:gdLst>
                <a:gd name="T0" fmla="*/ 2147483647 w 69"/>
                <a:gd name="T1" fmla="*/ 2147483647 h 61"/>
                <a:gd name="T2" fmla="*/ 2147483647 w 69"/>
                <a:gd name="T3" fmla="*/ 2147483647 h 61"/>
                <a:gd name="T4" fmla="*/ 2147483647 w 69"/>
                <a:gd name="T5" fmla="*/ 2147483647 h 61"/>
                <a:gd name="T6" fmla="*/ 2147483647 w 69"/>
                <a:gd name="T7" fmla="*/ 2147483647 h 61"/>
                <a:gd name="T8" fmla="*/ 2147483647 w 69"/>
                <a:gd name="T9" fmla="*/ 2147483647 h 61"/>
                <a:gd name="T10" fmla="*/ 0 60000 65536"/>
                <a:gd name="T11" fmla="*/ 0 60000 65536"/>
                <a:gd name="T12" fmla="*/ 0 60000 65536"/>
                <a:gd name="T13" fmla="*/ 0 60000 65536"/>
                <a:gd name="T14" fmla="*/ 0 60000 65536"/>
                <a:gd name="T15" fmla="*/ 0 w 69"/>
                <a:gd name="T16" fmla="*/ 0 h 61"/>
                <a:gd name="T17" fmla="*/ 69 w 69"/>
                <a:gd name="T18" fmla="*/ 61 h 61"/>
              </a:gdLst>
              <a:ahLst/>
              <a:cxnLst>
                <a:cxn ang="T10">
                  <a:pos x="T0" y="T1"/>
                </a:cxn>
                <a:cxn ang="T11">
                  <a:pos x="T2" y="T3"/>
                </a:cxn>
                <a:cxn ang="T12">
                  <a:pos x="T4" y="T5"/>
                </a:cxn>
                <a:cxn ang="T13">
                  <a:pos x="T6" y="T7"/>
                </a:cxn>
                <a:cxn ang="T14">
                  <a:pos x="T8" y="T9"/>
                </a:cxn>
              </a:cxnLst>
              <a:rect l="T15" t="T16" r="T17" b="T18"/>
              <a:pathLst>
                <a:path w="69" h="61">
                  <a:moveTo>
                    <a:pt x="43" y="60"/>
                  </a:moveTo>
                  <a:lnTo>
                    <a:pt x="43" y="60"/>
                  </a:lnTo>
                  <a:cubicBezTo>
                    <a:pt x="26" y="51"/>
                    <a:pt x="0" y="17"/>
                    <a:pt x="26" y="9"/>
                  </a:cubicBezTo>
                  <a:cubicBezTo>
                    <a:pt x="43" y="0"/>
                    <a:pt x="60" y="0"/>
                    <a:pt x="68" y="9"/>
                  </a:cubicBezTo>
                  <a:cubicBezTo>
                    <a:pt x="68" y="17"/>
                    <a:pt x="68" y="60"/>
                    <a:pt x="43" y="60"/>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1" name="Freeform 42"/>
            <p:cNvSpPr>
              <a:spLocks noChangeArrowheads="1"/>
            </p:cNvSpPr>
            <p:nvPr/>
          </p:nvSpPr>
          <p:spPr bwMode="auto">
            <a:xfrm>
              <a:off x="2655888" y="1838325"/>
              <a:ext cx="41275" cy="42863"/>
            </a:xfrm>
            <a:custGeom>
              <a:avLst/>
              <a:gdLst>
                <a:gd name="T0" fmla="*/ 2147483647 w 113"/>
                <a:gd name="T1" fmla="*/ 2147483647 h 121"/>
                <a:gd name="T2" fmla="*/ 2147483647 w 113"/>
                <a:gd name="T3" fmla="*/ 2147483647 h 121"/>
                <a:gd name="T4" fmla="*/ 2147483647 w 113"/>
                <a:gd name="T5" fmla="*/ 2147483647 h 121"/>
                <a:gd name="T6" fmla="*/ 2147483647 w 113"/>
                <a:gd name="T7" fmla="*/ 2147483647 h 121"/>
                <a:gd name="T8" fmla="*/ 2147483647 w 113"/>
                <a:gd name="T9" fmla="*/ 2147483647 h 121"/>
                <a:gd name="T10" fmla="*/ 2147483647 w 113"/>
                <a:gd name="T11" fmla="*/ 2147483647 h 121"/>
                <a:gd name="T12" fmla="*/ 0 60000 65536"/>
                <a:gd name="T13" fmla="*/ 0 60000 65536"/>
                <a:gd name="T14" fmla="*/ 0 60000 65536"/>
                <a:gd name="T15" fmla="*/ 0 60000 65536"/>
                <a:gd name="T16" fmla="*/ 0 60000 65536"/>
                <a:gd name="T17" fmla="*/ 0 60000 65536"/>
                <a:gd name="T18" fmla="*/ 0 w 113"/>
                <a:gd name="T19" fmla="*/ 0 h 121"/>
                <a:gd name="T20" fmla="*/ 113 w 113"/>
                <a:gd name="T21" fmla="*/ 121 h 121"/>
              </a:gdLst>
              <a:ahLst/>
              <a:cxnLst>
                <a:cxn ang="T12">
                  <a:pos x="T0" y="T1"/>
                </a:cxn>
                <a:cxn ang="T13">
                  <a:pos x="T2" y="T3"/>
                </a:cxn>
                <a:cxn ang="T14">
                  <a:pos x="T4" y="T5"/>
                </a:cxn>
                <a:cxn ang="T15">
                  <a:pos x="T6" y="T7"/>
                </a:cxn>
                <a:cxn ang="T16">
                  <a:pos x="T8" y="T9"/>
                </a:cxn>
                <a:cxn ang="T17">
                  <a:pos x="T10" y="T11"/>
                </a:cxn>
              </a:cxnLst>
              <a:rect l="T18" t="T19" r="T20" b="T21"/>
              <a:pathLst>
                <a:path w="113" h="121">
                  <a:moveTo>
                    <a:pt x="60" y="86"/>
                  </a:moveTo>
                  <a:lnTo>
                    <a:pt x="60" y="86"/>
                  </a:lnTo>
                  <a:cubicBezTo>
                    <a:pt x="52" y="95"/>
                    <a:pt x="43" y="120"/>
                    <a:pt x="34" y="95"/>
                  </a:cubicBezTo>
                  <a:cubicBezTo>
                    <a:pt x="17" y="69"/>
                    <a:pt x="0" y="43"/>
                    <a:pt x="34" y="34"/>
                  </a:cubicBezTo>
                  <a:cubicBezTo>
                    <a:pt x="60" y="34"/>
                    <a:pt x="112" y="0"/>
                    <a:pt x="103" y="34"/>
                  </a:cubicBezTo>
                  <a:cubicBezTo>
                    <a:pt x="94" y="60"/>
                    <a:pt x="69" y="77"/>
                    <a:pt x="60" y="8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2" name="Freeform 43"/>
            <p:cNvSpPr>
              <a:spLocks noChangeArrowheads="1"/>
            </p:cNvSpPr>
            <p:nvPr/>
          </p:nvSpPr>
          <p:spPr bwMode="auto">
            <a:xfrm>
              <a:off x="2486025" y="2162175"/>
              <a:ext cx="25400" cy="28575"/>
            </a:xfrm>
            <a:custGeom>
              <a:avLst/>
              <a:gdLst>
                <a:gd name="T0" fmla="*/ 2147483647 w 69"/>
                <a:gd name="T1" fmla="*/ 2147483647 h 78"/>
                <a:gd name="T2" fmla="*/ 2147483647 w 69"/>
                <a:gd name="T3" fmla="*/ 2147483647 h 78"/>
                <a:gd name="T4" fmla="*/ 2147483647 w 69"/>
                <a:gd name="T5" fmla="*/ 2147483647 h 78"/>
                <a:gd name="T6" fmla="*/ 2147483647 w 69"/>
                <a:gd name="T7" fmla="*/ 2147483647 h 78"/>
                <a:gd name="T8" fmla="*/ 2147483647 w 69"/>
                <a:gd name="T9" fmla="*/ 2147483647 h 78"/>
                <a:gd name="T10" fmla="*/ 0 60000 65536"/>
                <a:gd name="T11" fmla="*/ 0 60000 65536"/>
                <a:gd name="T12" fmla="*/ 0 60000 65536"/>
                <a:gd name="T13" fmla="*/ 0 60000 65536"/>
                <a:gd name="T14" fmla="*/ 0 60000 65536"/>
                <a:gd name="T15" fmla="*/ 0 w 69"/>
                <a:gd name="T16" fmla="*/ 0 h 78"/>
                <a:gd name="T17" fmla="*/ 69 w 69"/>
                <a:gd name="T18" fmla="*/ 78 h 78"/>
              </a:gdLst>
              <a:ahLst/>
              <a:cxnLst>
                <a:cxn ang="T10">
                  <a:pos x="T0" y="T1"/>
                </a:cxn>
                <a:cxn ang="T11">
                  <a:pos x="T2" y="T3"/>
                </a:cxn>
                <a:cxn ang="T12">
                  <a:pos x="T4" y="T5"/>
                </a:cxn>
                <a:cxn ang="T13">
                  <a:pos x="T6" y="T7"/>
                </a:cxn>
                <a:cxn ang="T14">
                  <a:pos x="T8" y="T9"/>
                </a:cxn>
              </a:cxnLst>
              <a:rect l="T15" t="T16" r="T17" b="T18"/>
              <a:pathLst>
                <a:path w="69" h="78">
                  <a:moveTo>
                    <a:pt x="68" y="9"/>
                  </a:moveTo>
                  <a:lnTo>
                    <a:pt x="68" y="9"/>
                  </a:lnTo>
                  <a:cubicBezTo>
                    <a:pt x="68" y="26"/>
                    <a:pt x="51" y="77"/>
                    <a:pt x="43" y="77"/>
                  </a:cubicBezTo>
                  <a:cubicBezTo>
                    <a:pt x="34" y="69"/>
                    <a:pt x="0" y="60"/>
                    <a:pt x="25" y="43"/>
                  </a:cubicBezTo>
                  <a:cubicBezTo>
                    <a:pt x="43" y="26"/>
                    <a:pt x="68" y="0"/>
                    <a:pt x="68" y="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3" name="Freeform 44"/>
            <p:cNvSpPr>
              <a:spLocks noChangeArrowheads="1"/>
            </p:cNvSpPr>
            <p:nvPr/>
          </p:nvSpPr>
          <p:spPr bwMode="auto">
            <a:xfrm>
              <a:off x="2476500" y="2181225"/>
              <a:ext cx="25400" cy="31750"/>
            </a:xfrm>
            <a:custGeom>
              <a:avLst/>
              <a:gdLst>
                <a:gd name="T0" fmla="*/ 2147483647 w 70"/>
                <a:gd name="T1" fmla="*/ 2147483647 h 86"/>
                <a:gd name="T2" fmla="*/ 2147483647 w 70"/>
                <a:gd name="T3" fmla="*/ 2147483647 h 86"/>
                <a:gd name="T4" fmla="*/ 2147483647 w 70"/>
                <a:gd name="T5" fmla="*/ 2147483647 h 86"/>
                <a:gd name="T6" fmla="*/ 2147483647 w 70"/>
                <a:gd name="T7" fmla="*/ 2147483647 h 86"/>
                <a:gd name="T8" fmla="*/ 2147483647 w 70"/>
                <a:gd name="T9" fmla="*/ 2147483647 h 86"/>
                <a:gd name="T10" fmla="*/ 2147483647 w 70"/>
                <a:gd name="T11" fmla="*/ 2147483647 h 86"/>
                <a:gd name="T12" fmla="*/ 0 60000 65536"/>
                <a:gd name="T13" fmla="*/ 0 60000 65536"/>
                <a:gd name="T14" fmla="*/ 0 60000 65536"/>
                <a:gd name="T15" fmla="*/ 0 60000 65536"/>
                <a:gd name="T16" fmla="*/ 0 60000 65536"/>
                <a:gd name="T17" fmla="*/ 0 60000 65536"/>
                <a:gd name="T18" fmla="*/ 0 w 70"/>
                <a:gd name="T19" fmla="*/ 0 h 86"/>
                <a:gd name="T20" fmla="*/ 70 w 70"/>
                <a:gd name="T21" fmla="*/ 86 h 86"/>
              </a:gdLst>
              <a:ahLst/>
              <a:cxnLst>
                <a:cxn ang="T12">
                  <a:pos x="T0" y="T1"/>
                </a:cxn>
                <a:cxn ang="T13">
                  <a:pos x="T2" y="T3"/>
                </a:cxn>
                <a:cxn ang="T14">
                  <a:pos x="T4" y="T5"/>
                </a:cxn>
                <a:cxn ang="T15">
                  <a:pos x="T6" y="T7"/>
                </a:cxn>
                <a:cxn ang="T16">
                  <a:pos x="T8" y="T9"/>
                </a:cxn>
                <a:cxn ang="T17">
                  <a:pos x="T10" y="T11"/>
                </a:cxn>
              </a:cxnLst>
              <a:rect l="T18" t="T19" r="T20" b="T21"/>
              <a:pathLst>
                <a:path w="70" h="86">
                  <a:moveTo>
                    <a:pt x="34" y="85"/>
                  </a:moveTo>
                  <a:lnTo>
                    <a:pt x="34" y="85"/>
                  </a:lnTo>
                  <a:cubicBezTo>
                    <a:pt x="9" y="85"/>
                    <a:pt x="0" y="60"/>
                    <a:pt x="9" y="43"/>
                  </a:cubicBezTo>
                  <a:cubicBezTo>
                    <a:pt x="26" y="34"/>
                    <a:pt x="9" y="0"/>
                    <a:pt x="26" y="8"/>
                  </a:cubicBezTo>
                  <a:cubicBezTo>
                    <a:pt x="43" y="25"/>
                    <a:pt x="51" y="34"/>
                    <a:pt x="60" y="34"/>
                  </a:cubicBezTo>
                  <a:cubicBezTo>
                    <a:pt x="69" y="34"/>
                    <a:pt x="69" y="85"/>
                    <a:pt x="34" y="85"/>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4" name="Freeform 45"/>
            <p:cNvSpPr>
              <a:spLocks noChangeArrowheads="1"/>
            </p:cNvSpPr>
            <p:nvPr/>
          </p:nvSpPr>
          <p:spPr bwMode="auto">
            <a:xfrm>
              <a:off x="2476500" y="2230438"/>
              <a:ext cx="28575" cy="31750"/>
            </a:xfrm>
            <a:custGeom>
              <a:avLst/>
              <a:gdLst>
                <a:gd name="T0" fmla="*/ 2147483647 w 78"/>
                <a:gd name="T1" fmla="*/ 2147483647 h 86"/>
                <a:gd name="T2" fmla="*/ 2147483647 w 78"/>
                <a:gd name="T3" fmla="*/ 2147483647 h 86"/>
                <a:gd name="T4" fmla="*/ 2147483647 w 78"/>
                <a:gd name="T5" fmla="*/ 2147483647 h 86"/>
                <a:gd name="T6" fmla="*/ 2147483647 w 78"/>
                <a:gd name="T7" fmla="*/ 2147483647 h 86"/>
                <a:gd name="T8" fmla="*/ 2147483647 w 78"/>
                <a:gd name="T9" fmla="*/ 2147483647 h 86"/>
                <a:gd name="T10" fmla="*/ 2147483647 w 78"/>
                <a:gd name="T11" fmla="*/ 2147483647 h 86"/>
                <a:gd name="T12" fmla="*/ 0 60000 65536"/>
                <a:gd name="T13" fmla="*/ 0 60000 65536"/>
                <a:gd name="T14" fmla="*/ 0 60000 65536"/>
                <a:gd name="T15" fmla="*/ 0 60000 65536"/>
                <a:gd name="T16" fmla="*/ 0 60000 65536"/>
                <a:gd name="T17" fmla="*/ 0 60000 65536"/>
                <a:gd name="T18" fmla="*/ 0 w 78"/>
                <a:gd name="T19" fmla="*/ 0 h 86"/>
                <a:gd name="T20" fmla="*/ 78 w 78"/>
                <a:gd name="T21" fmla="*/ 86 h 86"/>
              </a:gdLst>
              <a:ahLst/>
              <a:cxnLst>
                <a:cxn ang="T12">
                  <a:pos x="T0" y="T1"/>
                </a:cxn>
                <a:cxn ang="T13">
                  <a:pos x="T2" y="T3"/>
                </a:cxn>
                <a:cxn ang="T14">
                  <a:pos x="T4" y="T5"/>
                </a:cxn>
                <a:cxn ang="T15">
                  <a:pos x="T6" y="T7"/>
                </a:cxn>
                <a:cxn ang="T16">
                  <a:pos x="T8" y="T9"/>
                </a:cxn>
                <a:cxn ang="T17">
                  <a:pos x="T10" y="T11"/>
                </a:cxn>
              </a:cxnLst>
              <a:rect l="T18" t="T19" r="T20" b="T21"/>
              <a:pathLst>
                <a:path w="78" h="86">
                  <a:moveTo>
                    <a:pt x="69" y="8"/>
                  </a:moveTo>
                  <a:lnTo>
                    <a:pt x="69" y="8"/>
                  </a:lnTo>
                  <a:cubicBezTo>
                    <a:pt x="60" y="8"/>
                    <a:pt x="43" y="17"/>
                    <a:pt x="26" y="8"/>
                  </a:cubicBezTo>
                  <a:cubicBezTo>
                    <a:pt x="17" y="0"/>
                    <a:pt x="0" y="8"/>
                    <a:pt x="26" y="26"/>
                  </a:cubicBezTo>
                  <a:cubicBezTo>
                    <a:pt x="43" y="51"/>
                    <a:pt x="43" y="85"/>
                    <a:pt x="60" y="60"/>
                  </a:cubicBezTo>
                  <a:cubicBezTo>
                    <a:pt x="69" y="43"/>
                    <a:pt x="77" y="0"/>
                    <a:pt x="69" y="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5" name="Freeform 46"/>
            <p:cNvSpPr>
              <a:spLocks noChangeArrowheads="1"/>
            </p:cNvSpPr>
            <p:nvPr/>
          </p:nvSpPr>
          <p:spPr bwMode="auto">
            <a:xfrm>
              <a:off x="2473325" y="2247900"/>
              <a:ext cx="28575" cy="19050"/>
            </a:xfrm>
            <a:custGeom>
              <a:avLst/>
              <a:gdLst>
                <a:gd name="T0" fmla="*/ 2147483647 w 78"/>
                <a:gd name="T1" fmla="*/ 2147483647 h 53"/>
                <a:gd name="T2" fmla="*/ 2147483647 w 78"/>
                <a:gd name="T3" fmla="*/ 2147483647 h 53"/>
                <a:gd name="T4" fmla="*/ 2147483647 w 78"/>
                <a:gd name="T5" fmla="*/ 2147483647 h 53"/>
                <a:gd name="T6" fmla="*/ 2147483647 w 78"/>
                <a:gd name="T7" fmla="*/ 2147483647 h 53"/>
                <a:gd name="T8" fmla="*/ 0 60000 65536"/>
                <a:gd name="T9" fmla="*/ 0 60000 65536"/>
                <a:gd name="T10" fmla="*/ 0 60000 65536"/>
                <a:gd name="T11" fmla="*/ 0 60000 65536"/>
                <a:gd name="T12" fmla="*/ 0 w 78"/>
                <a:gd name="T13" fmla="*/ 0 h 53"/>
                <a:gd name="T14" fmla="*/ 78 w 78"/>
                <a:gd name="T15" fmla="*/ 53 h 53"/>
              </a:gdLst>
              <a:ahLst/>
              <a:cxnLst>
                <a:cxn ang="T8">
                  <a:pos x="T0" y="T1"/>
                </a:cxn>
                <a:cxn ang="T9">
                  <a:pos x="T2" y="T3"/>
                </a:cxn>
                <a:cxn ang="T10">
                  <a:pos x="T4" y="T5"/>
                </a:cxn>
                <a:cxn ang="T11">
                  <a:pos x="T6" y="T7"/>
                </a:cxn>
              </a:cxnLst>
              <a:rect l="T12" t="T13" r="T14" b="T15"/>
              <a:pathLst>
                <a:path w="78" h="53">
                  <a:moveTo>
                    <a:pt x="42" y="52"/>
                  </a:moveTo>
                  <a:lnTo>
                    <a:pt x="42" y="52"/>
                  </a:lnTo>
                  <a:cubicBezTo>
                    <a:pt x="17" y="52"/>
                    <a:pt x="0" y="0"/>
                    <a:pt x="17" y="9"/>
                  </a:cubicBezTo>
                  <a:cubicBezTo>
                    <a:pt x="34" y="9"/>
                    <a:pt x="77" y="52"/>
                    <a:pt x="42" y="52"/>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6" name="Freeform 47"/>
            <p:cNvSpPr>
              <a:spLocks noChangeArrowheads="1"/>
            </p:cNvSpPr>
            <p:nvPr/>
          </p:nvSpPr>
          <p:spPr bwMode="auto">
            <a:xfrm>
              <a:off x="1662113" y="2306638"/>
              <a:ext cx="549275" cy="901700"/>
            </a:xfrm>
            <a:custGeom>
              <a:avLst/>
              <a:gdLst>
                <a:gd name="T0" fmla="*/ 2147483647 w 1527"/>
                <a:gd name="T1" fmla="*/ 2147483647 h 2504"/>
                <a:gd name="T2" fmla="*/ 2147483647 w 1527"/>
                <a:gd name="T3" fmla="*/ 2147483647 h 2504"/>
                <a:gd name="T4" fmla="*/ 2147483647 w 1527"/>
                <a:gd name="T5" fmla="*/ 2147483647 h 2504"/>
                <a:gd name="T6" fmla="*/ 2147483647 w 1527"/>
                <a:gd name="T7" fmla="*/ 2147483647 h 2504"/>
                <a:gd name="T8" fmla="*/ 2147483647 w 1527"/>
                <a:gd name="T9" fmla="*/ 2147483647 h 2504"/>
                <a:gd name="T10" fmla="*/ 2147483647 w 1527"/>
                <a:gd name="T11" fmla="*/ 2147483647 h 2504"/>
                <a:gd name="T12" fmla="*/ 2147483647 w 1527"/>
                <a:gd name="T13" fmla="*/ 2147483647 h 2504"/>
                <a:gd name="T14" fmla="*/ 2147483647 w 1527"/>
                <a:gd name="T15" fmla="*/ 2147483647 h 2504"/>
                <a:gd name="T16" fmla="*/ 2147483647 w 1527"/>
                <a:gd name="T17" fmla="*/ 2147483647 h 2504"/>
                <a:gd name="T18" fmla="*/ 2147483647 w 1527"/>
                <a:gd name="T19" fmla="*/ 2147483647 h 2504"/>
                <a:gd name="T20" fmla="*/ 2147483647 w 1527"/>
                <a:gd name="T21" fmla="*/ 2147483647 h 2504"/>
                <a:gd name="T22" fmla="*/ 2147483647 w 1527"/>
                <a:gd name="T23" fmla="*/ 2147483647 h 2504"/>
                <a:gd name="T24" fmla="*/ 2147483647 w 1527"/>
                <a:gd name="T25" fmla="*/ 2147483647 h 2504"/>
                <a:gd name="T26" fmla="*/ 2147483647 w 1527"/>
                <a:gd name="T27" fmla="*/ 2147483647 h 2504"/>
                <a:gd name="T28" fmla="*/ 2147483647 w 1527"/>
                <a:gd name="T29" fmla="*/ 2147483647 h 2504"/>
                <a:gd name="T30" fmla="*/ 2147483647 w 1527"/>
                <a:gd name="T31" fmla="*/ 2147483647 h 2504"/>
                <a:gd name="T32" fmla="*/ 2147483647 w 1527"/>
                <a:gd name="T33" fmla="*/ 2147483647 h 2504"/>
                <a:gd name="T34" fmla="*/ 2147483647 w 1527"/>
                <a:gd name="T35" fmla="*/ 2147483647 h 2504"/>
                <a:gd name="T36" fmla="*/ 2147483647 w 1527"/>
                <a:gd name="T37" fmla="*/ 2147483647 h 2504"/>
                <a:gd name="T38" fmla="*/ 2147483647 w 1527"/>
                <a:gd name="T39" fmla="*/ 2147483647 h 2504"/>
                <a:gd name="T40" fmla="*/ 2147483647 w 1527"/>
                <a:gd name="T41" fmla="*/ 2147483647 h 2504"/>
                <a:gd name="T42" fmla="*/ 2147483647 w 1527"/>
                <a:gd name="T43" fmla="*/ 2147483647 h 2504"/>
                <a:gd name="T44" fmla="*/ 2147483647 w 1527"/>
                <a:gd name="T45" fmla="*/ 2147483647 h 2504"/>
                <a:gd name="T46" fmla="*/ 2147483647 w 1527"/>
                <a:gd name="T47" fmla="*/ 2147483647 h 2504"/>
                <a:gd name="T48" fmla="*/ 2147483647 w 1527"/>
                <a:gd name="T49" fmla="*/ 2147483647 h 2504"/>
                <a:gd name="T50" fmla="*/ 2147483647 w 1527"/>
                <a:gd name="T51" fmla="*/ 2147483647 h 2504"/>
                <a:gd name="T52" fmla="*/ 2147483647 w 1527"/>
                <a:gd name="T53" fmla="*/ 2147483647 h 2504"/>
                <a:gd name="T54" fmla="*/ 2147483647 w 1527"/>
                <a:gd name="T55" fmla="*/ 2147483647 h 2504"/>
                <a:gd name="T56" fmla="*/ 2147483647 w 1527"/>
                <a:gd name="T57" fmla="*/ 2147483647 h 2504"/>
                <a:gd name="T58" fmla="*/ 2147483647 w 1527"/>
                <a:gd name="T59" fmla="*/ 2147483647 h 2504"/>
                <a:gd name="T60" fmla="*/ 2147483647 w 1527"/>
                <a:gd name="T61" fmla="*/ 2147483647 h 2504"/>
                <a:gd name="T62" fmla="*/ 2147483647 w 1527"/>
                <a:gd name="T63" fmla="*/ 2147483647 h 2504"/>
                <a:gd name="T64" fmla="*/ 2147483647 w 1527"/>
                <a:gd name="T65" fmla="*/ 2147483647 h 2504"/>
                <a:gd name="T66" fmla="*/ 2147483647 w 1527"/>
                <a:gd name="T67" fmla="*/ 2147483647 h 2504"/>
                <a:gd name="T68" fmla="*/ 2147483647 w 1527"/>
                <a:gd name="T69" fmla="*/ 2147483647 h 2504"/>
                <a:gd name="T70" fmla="*/ 2147483647 w 1527"/>
                <a:gd name="T71" fmla="*/ 2147483647 h 2504"/>
                <a:gd name="T72" fmla="*/ 2147483647 w 1527"/>
                <a:gd name="T73" fmla="*/ 2147483647 h 2504"/>
                <a:gd name="T74" fmla="*/ 2147483647 w 1527"/>
                <a:gd name="T75" fmla="*/ 2147483647 h 2504"/>
                <a:gd name="T76" fmla="*/ 2147483647 w 1527"/>
                <a:gd name="T77" fmla="*/ 2147483647 h 2504"/>
                <a:gd name="T78" fmla="*/ 2147483647 w 1527"/>
                <a:gd name="T79" fmla="*/ 2147483647 h 2504"/>
                <a:gd name="T80" fmla="*/ 2147483647 w 1527"/>
                <a:gd name="T81" fmla="*/ 2147483647 h 2504"/>
                <a:gd name="T82" fmla="*/ 2147483647 w 1527"/>
                <a:gd name="T83" fmla="*/ 2147483647 h 2504"/>
                <a:gd name="T84" fmla="*/ 2147483647 w 1527"/>
                <a:gd name="T85" fmla="*/ 2147483647 h 2504"/>
                <a:gd name="T86" fmla="*/ 2147483647 w 1527"/>
                <a:gd name="T87" fmla="*/ 2147483647 h 2504"/>
                <a:gd name="T88" fmla="*/ 2147483647 w 1527"/>
                <a:gd name="T89" fmla="*/ 2147483647 h 2504"/>
                <a:gd name="T90" fmla="*/ 2147483647 w 1527"/>
                <a:gd name="T91" fmla="*/ 2147483647 h 2504"/>
                <a:gd name="T92" fmla="*/ 2147483647 w 1527"/>
                <a:gd name="T93" fmla="*/ 2147483647 h 2504"/>
                <a:gd name="T94" fmla="*/ 2147483647 w 1527"/>
                <a:gd name="T95" fmla="*/ 2147483647 h 2504"/>
                <a:gd name="T96" fmla="*/ 2147483647 w 1527"/>
                <a:gd name="T97" fmla="*/ 2147483647 h 2504"/>
                <a:gd name="T98" fmla="*/ 2147483647 w 1527"/>
                <a:gd name="T99" fmla="*/ 2147483647 h 2504"/>
                <a:gd name="T100" fmla="*/ 2147483647 w 1527"/>
                <a:gd name="T101" fmla="*/ 2147483647 h 2504"/>
                <a:gd name="T102" fmla="*/ 2147483647 w 1527"/>
                <a:gd name="T103" fmla="*/ 2147483647 h 2504"/>
                <a:gd name="T104" fmla="*/ 2147483647 w 1527"/>
                <a:gd name="T105" fmla="*/ 2147483647 h 2504"/>
                <a:gd name="T106" fmla="*/ 2147483647 w 1527"/>
                <a:gd name="T107" fmla="*/ 2147483647 h 2504"/>
                <a:gd name="T108" fmla="*/ 2147483647 w 1527"/>
                <a:gd name="T109" fmla="*/ 2147483647 h 2504"/>
                <a:gd name="T110" fmla="*/ 2147483647 w 1527"/>
                <a:gd name="T111" fmla="*/ 2147483647 h 2504"/>
                <a:gd name="T112" fmla="*/ 2147483647 w 1527"/>
                <a:gd name="T113" fmla="*/ 2147483647 h 250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27"/>
                <a:gd name="T172" fmla="*/ 0 h 2504"/>
                <a:gd name="T173" fmla="*/ 1527 w 1527"/>
                <a:gd name="T174" fmla="*/ 2504 h 250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27" h="2504">
                  <a:moveTo>
                    <a:pt x="1406" y="2297"/>
                  </a:moveTo>
                  <a:lnTo>
                    <a:pt x="1406" y="2297"/>
                  </a:lnTo>
                  <a:cubicBezTo>
                    <a:pt x="1414" y="2323"/>
                    <a:pt x="1380" y="2357"/>
                    <a:pt x="1372" y="2357"/>
                  </a:cubicBezTo>
                  <a:cubicBezTo>
                    <a:pt x="1372" y="2366"/>
                    <a:pt x="1320" y="2383"/>
                    <a:pt x="1312" y="2392"/>
                  </a:cubicBezTo>
                  <a:cubicBezTo>
                    <a:pt x="1303" y="2400"/>
                    <a:pt x="1295" y="2409"/>
                    <a:pt x="1277" y="2409"/>
                  </a:cubicBezTo>
                  <a:cubicBezTo>
                    <a:pt x="1260" y="2418"/>
                    <a:pt x="1200" y="2426"/>
                    <a:pt x="1192" y="2435"/>
                  </a:cubicBezTo>
                  <a:cubicBezTo>
                    <a:pt x="1174" y="2443"/>
                    <a:pt x="1166" y="2460"/>
                    <a:pt x="1149" y="2452"/>
                  </a:cubicBezTo>
                  <a:cubicBezTo>
                    <a:pt x="1123" y="2435"/>
                    <a:pt x="1097" y="2418"/>
                    <a:pt x="1063" y="2418"/>
                  </a:cubicBezTo>
                  <a:cubicBezTo>
                    <a:pt x="1037" y="2426"/>
                    <a:pt x="977" y="2418"/>
                    <a:pt x="952" y="2409"/>
                  </a:cubicBezTo>
                  <a:cubicBezTo>
                    <a:pt x="926" y="2400"/>
                    <a:pt x="917" y="2418"/>
                    <a:pt x="892" y="2400"/>
                  </a:cubicBezTo>
                  <a:cubicBezTo>
                    <a:pt x="866" y="2375"/>
                    <a:pt x="857" y="2366"/>
                    <a:pt x="857" y="2375"/>
                  </a:cubicBezTo>
                  <a:cubicBezTo>
                    <a:pt x="857" y="2383"/>
                    <a:pt x="883" y="2400"/>
                    <a:pt x="849" y="2400"/>
                  </a:cubicBezTo>
                  <a:cubicBezTo>
                    <a:pt x="815" y="2400"/>
                    <a:pt x="754" y="2392"/>
                    <a:pt x="746" y="2400"/>
                  </a:cubicBezTo>
                  <a:cubicBezTo>
                    <a:pt x="737" y="2409"/>
                    <a:pt x="754" y="2435"/>
                    <a:pt x="737" y="2435"/>
                  </a:cubicBezTo>
                  <a:cubicBezTo>
                    <a:pt x="720" y="2435"/>
                    <a:pt x="669" y="2400"/>
                    <a:pt x="660" y="2409"/>
                  </a:cubicBezTo>
                  <a:cubicBezTo>
                    <a:pt x="660" y="2418"/>
                    <a:pt x="660" y="2435"/>
                    <a:pt x="652" y="2426"/>
                  </a:cubicBezTo>
                  <a:cubicBezTo>
                    <a:pt x="643" y="2426"/>
                    <a:pt x="600" y="2375"/>
                    <a:pt x="583" y="2366"/>
                  </a:cubicBezTo>
                  <a:cubicBezTo>
                    <a:pt x="557" y="2366"/>
                    <a:pt x="480" y="2366"/>
                    <a:pt x="463" y="2375"/>
                  </a:cubicBezTo>
                  <a:cubicBezTo>
                    <a:pt x="454" y="2392"/>
                    <a:pt x="437" y="2443"/>
                    <a:pt x="437" y="2443"/>
                  </a:cubicBezTo>
                  <a:cubicBezTo>
                    <a:pt x="437" y="2443"/>
                    <a:pt x="412" y="2486"/>
                    <a:pt x="394" y="2486"/>
                  </a:cubicBezTo>
                  <a:cubicBezTo>
                    <a:pt x="369" y="2486"/>
                    <a:pt x="343" y="2426"/>
                    <a:pt x="309" y="2426"/>
                  </a:cubicBezTo>
                  <a:cubicBezTo>
                    <a:pt x="283" y="2426"/>
                    <a:pt x="214" y="2409"/>
                    <a:pt x="206" y="2418"/>
                  </a:cubicBezTo>
                  <a:cubicBezTo>
                    <a:pt x="197" y="2435"/>
                    <a:pt x="172" y="2443"/>
                    <a:pt x="154" y="2452"/>
                  </a:cubicBezTo>
                  <a:cubicBezTo>
                    <a:pt x="146" y="2452"/>
                    <a:pt x="129" y="2460"/>
                    <a:pt x="129" y="2477"/>
                  </a:cubicBezTo>
                  <a:cubicBezTo>
                    <a:pt x="120" y="2503"/>
                    <a:pt x="112" y="2503"/>
                    <a:pt x="94" y="2495"/>
                  </a:cubicBezTo>
                  <a:cubicBezTo>
                    <a:pt x="86" y="2477"/>
                    <a:pt x="86" y="2452"/>
                    <a:pt x="77" y="2452"/>
                  </a:cubicBezTo>
                  <a:cubicBezTo>
                    <a:pt x="60" y="2452"/>
                    <a:pt x="26" y="2477"/>
                    <a:pt x="26" y="2469"/>
                  </a:cubicBezTo>
                  <a:cubicBezTo>
                    <a:pt x="17" y="2452"/>
                    <a:pt x="0" y="2435"/>
                    <a:pt x="26" y="2435"/>
                  </a:cubicBezTo>
                  <a:cubicBezTo>
                    <a:pt x="43" y="2426"/>
                    <a:pt x="60" y="2435"/>
                    <a:pt x="94" y="2409"/>
                  </a:cubicBezTo>
                  <a:cubicBezTo>
                    <a:pt x="120" y="2392"/>
                    <a:pt x="163" y="2366"/>
                    <a:pt x="172" y="2357"/>
                  </a:cubicBezTo>
                  <a:cubicBezTo>
                    <a:pt x="180" y="2349"/>
                    <a:pt x="180" y="2349"/>
                    <a:pt x="206" y="2332"/>
                  </a:cubicBezTo>
                  <a:cubicBezTo>
                    <a:pt x="232" y="2323"/>
                    <a:pt x="283" y="2289"/>
                    <a:pt x="283" y="2272"/>
                  </a:cubicBezTo>
                  <a:cubicBezTo>
                    <a:pt x="283" y="2255"/>
                    <a:pt x="300" y="2237"/>
                    <a:pt x="300" y="2237"/>
                  </a:cubicBezTo>
                  <a:cubicBezTo>
                    <a:pt x="309" y="2237"/>
                    <a:pt x="334" y="2246"/>
                    <a:pt x="343" y="2229"/>
                  </a:cubicBezTo>
                  <a:cubicBezTo>
                    <a:pt x="352" y="2212"/>
                    <a:pt x="369" y="2178"/>
                    <a:pt x="377" y="2178"/>
                  </a:cubicBezTo>
                  <a:cubicBezTo>
                    <a:pt x="394" y="2178"/>
                    <a:pt x="454" y="2186"/>
                    <a:pt x="497" y="2203"/>
                  </a:cubicBezTo>
                  <a:cubicBezTo>
                    <a:pt x="540" y="2220"/>
                    <a:pt x="557" y="2246"/>
                    <a:pt x="583" y="2220"/>
                  </a:cubicBezTo>
                  <a:cubicBezTo>
                    <a:pt x="609" y="2186"/>
                    <a:pt x="600" y="2160"/>
                    <a:pt x="626" y="2152"/>
                  </a:cubicBezTo>
                  <a:cubicBezTo>
                    <a:pt x="660" y="2143"/>
                    <a:pt x="660" y="2134"/>
                    <a:pt x="669" y="2126"/>
                  </a:cubicBezTo>
                  <a:cubicBezTo>
                    <a:pt x="686" y="2117"/>
                    <a:pt x="720" y="2075"/>
                    <a:pt x="712" y="2083"/>
                  </a:cubicBezTo>
                  <a:cubicBezTo>
                    <a:pt x="712" y="2083"/>
                    <a:pt x="669" y="2117"/>
                    <a:pt x="652" y="2126"/>
                  </a:cubicBezTo>
                  <a:cubicBezTo>
                    <a:pt x="634" y="2126"/>
                    <a:pt x="600" y="2126"/>
                    <a:pt x="592" y="2134"/>
                  </a:cubicBezTo>
                  <a:cubicBezTo>
                    <a:pt x="575" y="2152"/>
                    <a:pt x="566" y="2169"/>
                    <a:pt x="557" y="2160"/>
                  </a:cubicBezTo>
                  <a:cubicBezTo>
                    <a:pt x="540" y="2160"/>
                    <a:pt x="514" y="2152"/>
                    <a:pt x="497" y="2143"/>
                  </a:cubicBezTo>
                  <a:cubicBezTo>
                    <a:pt x="480" y="2126"/>
                    <a:pt x="454" y="2075"/>
                    <a:pt x="437" y="2083"/>
                  </a:cubicBezTo>
                  <a:cubicBezTo>
                    <a:pt x="420" y="2083"/>
                    <a:pt x="386" y="2092"/>
                    <a:pt x="377" y="2083"/>
                  </a:cubicBezTo>
                  <a:cubicBezTo>
                    <a:pt x="369" y="2066"/>
                    <a:pt x="420" y="2075"/>
                    <a:pt x="412" y="2057"/>
                  </a:cubicBezTo>
                  <a:cubicBezTo>
                    <a:pt x="412" y="2049"/>
                    <a:pt x="377" y="2049"/>
                    <a:pt x="369" y="2032"/>
                  </a:cubicBezTo>
                  <a:cubicBezTo>
                    <a:pt x="360" y="2023"/>
                    <a:pt x="360" y="2015"/>
                    <a:pt x="352" y="2015"/>
                  </a:cubicBezTo>
                  <a:cubicBezTo>
                    <a:pt x="343" y="2015"/>
                    <a:pt x="317" y="2015"/>
                    <a:pt x="300" y="2023"/>
                  </a:cubicBezTo>
                  <a:cubicBezTo>
                    <a:pt x="283" y="2032"/>
                    <a:pt x="266" y="2057"/>
                    <a:pt x="249" y="2032"/>
                  </a:cubicBezTo>
                  <a:cubicBezTo>
                    <a:pt x="223" y="2015"/>
                    <a:pt x="232" y="2015"/>
                    <a:pt x="223" y="2006"/>
                  </a:cubicBezTo>
                  <a:cubicBezTo>
                    <a:pt x="214" y="2006"/>
                    <a:pt x="189" y="1997"/>
                    <a:pt x="206" y="1989"/>
                  </a:cubicBezTo>
                  <a:cubicBezTo>
                    <a:pt x="223" y="1980"/>
                    <a:pt x="240" y="1980"/>
                    <a:pt x="232" y="1963"/>
                  </a:cubicBezTo>
                  <a:cubicBezTo>
                    <a:pt x="223" y="1955"/>
                    <a:pt x="189" y="1946"/>
                    <a:pt x="214" y="1938"/>
                  </a:cubicBezTo>
                  <a:cubicBezTo>
                    <a:pt x="240" y="1920"/>
                    <a:pt x="240" y="1912"/>
                    <a:pt x="257" y="1912"/>
                  </a:cubicBezTo>
                  <a:cubicBezTo>
                    <a:pt x="274" y="1920"/>
                    <a:pt x="266" y="1938"/>
                    <a:pt x="300" y="1920"/>
                  </a:cubicBezTo>
                  <a:cubicBezTo>
                    <a:pt x="334" y="1903"/>
                    <a:pt x="360" y="1894"/>
                    <a:pt x="403" y="1877"/>
                  </a:cubicBezTo>
                  <a:cubicBezTo>
                    <a:pt x="446" y="1860"/>
                    <a:pt x="454" y="1843"/>
                    <a:pt x="463" y="1809"/>
                  </a:cubicBezTo>
                  <a:cubicBezTo>
                    <a:pt x="463" y="1775"/>
                    <a:pt x="463" y="1766"/>
                    <a:pt x="472" y="1732"/>
                  </a:cubicBezTo>
                  <a:cubicBezTo>
                    <a:pt x="480" y="1706"/>
                    <a:pt x="472" y="1689"/>
                    <a:pt x="454" y="1689"/>
                  </a:cubicBezTo>
                  <a:cubicBezTo>
                    <a:pt x="446" y="1689"/>
                    <a:pt x="403" y="1706"/>
                    <a:pt x="386" y="1706"/>
                  </a:cubicBezTo>
                  <a:cubicBezTo>
                    <a:pt x="360" y="1706"/>
                    <a:pt x="334" y="1706"/>
                    <a:pt x="377" y="1689"/>
                  </a:cubicBezTo>
                  <a:cubicBezTo>
                    <a:pt x="412" y="1672"/>
                    <a:pt x="429" y="1654"/>
                    <a:pt x="446" y="1637"/>
                  </a:cubicBezTo>
                  <a:cubicBezTo>
                    <a:pt x="463" y="1620"/>
                    <a:pt x="429" y="1603"/>
                    <a:pt x="420" y="1586"/>
                  </a:cubicBezTo>
                  <a:cubicBezTo>
                    <a:pt x="403" y="1569"/>
                    <a:pt x="403" y="1552"/>
                    <a:pt x="420" y="1543"/>
                  </a:cubicBezTo>
                  <a:cubicBezTo>
                    <a:pt x="446" y="1526"/>
                    <a:pt x="472" y="1526"/>
                    <a:pt x="472" y="1543"/>
                  </a:cubicBezTo>
                  <a:cubicBezTo>
                    <a:pt x="480" y="1569"/>
                    <a:pt x="523" y="1612"/>
                    <a:pt x="531" y="1603"/>
                  </a:cubicBezTo>
                  <a:cubicBezTo>
                    <a:pt x="549" y="1595"/>
                    <a:pt x="531" y="1569"/>
                    <a:pt x="549" y="1586"/>
                  </a:cubicBezTo>
                  <a:cubicBezTo>
                    <a:pt x="566" y="1595"/>
                    <a:pt x="549" y="1603"/>
                    <a:pt x="583" y="1603"/>
                  </a:cubicBezTo>
                  <a:cubicBezTo>
                    <a:pt x="617" y="1603"/>
                    <a:pt x="626" y="1586"/>
                    <a:pt x="643" y="1595"/>
                  </a:cubicBezTo>
                  <a:cubicBezTo>
                    <a:pt x="652" y="1603"/>
                    <a:pt x="669" y="1637"/>
                    <a:pt x="669" y="1620"/>
                  </a:cubicBezTo>
                  <a:cubicBezTo>
                    <a:pt x="669" y="1612"/>
                    <a:pt x="660" y="1595"/>
                    <a:pt x="677" y="1586"/>
                  </a:cubicBezTo>
                  <a:cubicBezTo>
                    <a:pt x="686" y="1577"/>
                    <a:pt x="677" y="1543"/>
                    <a:pt x="694" y="1526"/>
                  </a:cubicBezTo>
                  <a:cubicBezTo>
                    <a:pt x="703" y="1517"/>
                    <a:pt x="754" y="1500"/>
                    <a:pt x="737" y="1483"/>
                  </a:cubicBezTo>
                  <a:cubicBezTo>
                    <a:pt x="720" y="1475"/>
                    <a:pt x="703" y="1457"/>
                    <a:pt x="712" y="1449"/>
                  </a:cubicBezTo>
                  <a:cubicBezTo>
                    <a:pt x="729" y="1432"/>
                    <a:pt x="746" y="1432"/>
                    <a:pt x="754" y="1414"/>
                  </a:cubicBezTo>
                  <a:cubicBezTo>
                    <a:pt x="763" y="1397"/>
                    <a:pt x="771" y="1363"/>
                    <a:pt x="763" y="1363"/>
                  </a:cubicBezTo>
                  <a:cubicBezTo>
                    <a:pt x="763" y="1363"/>
                    <a:pt x="737" y="1346"/>
                    <a:pt x="729" y="1355"/>
                  </a:cubicBezTo>
                  <a:cubicBezTo>
                    <a:pt x="720" y="1363"/>
                    <a:pt x="712" y="1397"/>
                    <a:pt x="703" y="1380"/>
                  </a:cubicBezTo>
                  <a:cubicBezTo>
                    <a:pt x="694" y="1355"/>
                    <a:pt x="703" y="1355"/>
                    <a:pt x="686" y="1346"/>
                  </a:cubicBezTo>
                  <a:cubicBezTo>
                    <a:pt x="677" y="1329"/>
                    <a:pt x="669" y="1329"/>
                    <a:pt x="669" y="1286"/>
                  </a:cubicBezTo>
                  <a:cubicBezTo>
                    <a:pt x="660" y="1243"/>
                    <a:pt x="626" y="1260"/>
                    <a:pt x="652" y="1234"/>
                  </a:cubicBezTo>
                  <a:cubicBezTo>
                    <a:pt x="669" y="1209"/>
                    <a:pt x="686" y="1174"/>
                    <a:pt x="703" y="1157"/>
                  </a:cubicBezTo>
                  <a:cubicBezTo>
                    <a:pt x="720" y="1149"/>
                    <a:pt x="763" y="1132"/>
                    <a:pt x="754" y="1123"/>
                  </a:cubicBezTo>
                  <a:cubicBezTo>
                    <a:pt x="746" y="1115"/>
                    <a:pt x="686" y="1097"/>
                    <a:pt x="686" y="1106"/>
                  </a:cubicBezTo>
                  <a:cubicBezTo>
                    <a:pt x="686" y="1123"/>
                    <a:pt x="669" y="1132"/>
                    <a:pt x="652" y="1132"/>
                  </a:cubicBezTo>
                  <a:cubicBezTo>
                    <a:pt x="634" y="1132"/>
                    <a:pt x="609" y="1157"/>
                    <a:pt x="592" y="1149"/>
                  </a:cubicBezTo>
                  <a:cubicBezTo>
                    <a:pt x="583" y="1140"/>
                    <a:pt x="540" y="1106"/>
                    <a:pt x="540" y="1123"/>
                  </a:cubicBezTo>
                  <a:cubicBezTo>
                    <a:pt x="540" y="1132"/>
                    <a:pt x="557" y="1166"/>
                    <a:pt x="531" y="1166"/>
                  </a:cubicBezTo>
                  <a:cubicBezTo>
                    <a:pt x="514" y="1157"/>
                    <a:pt x="463" y="1097"/>
                    <a:pt x="454" y="1106"/>
                  </a:cubicBezTo>
                  <a:cubicBezTo>
                    <a:pt x="446" y="1115"/>
                    <a:pt x="454" y="1174"/>
                    <a:pt x="446" y="1166"/>
                  </a:cubicBezTo>
                  <a:cubicBezTo>
                    <a:pt x="437" y="1157"/>
                    <a:pt x="403" y="1097"/>
                    <a:pt x="412" y="1072"/>
                  </a:cubicBezTo>
                  <a:cubicBezTo>
                    <a:pt x="412" y="1055"/>
                    <a:pt x="420" y="1063"/>
                    <a:pt x="429" y="1055"/>
                  </a:cubicBezTo>
                  <a:cubicBezTo>
                    <a:pt x="446" y="1037"/>
                    <a:pt x="463" y="1003"/>
                    <a:pt x="480" y="986"/>
                  </a:cubicBezTo>
                  <a:cubicBezTo>
                    <a:pt x="497" y="969"/>
                    <a:pt x="480" y="960"/>
                    <a:pt x="497" y="952"/>
                  </a:cubicBezTo>
                  <a:cubicBezTo>
                    <a:pt x="523" y="943"/>
                    <a:pt x="540" y="934"/>
                    <a:pt x="540" y="909"/>
                  </a:cubicBezTo>
                  <a:cubicBezTo>
                    <a:pt x="540" y="892"/>
                    <a:pt x="506" y="875"/>
                    <a:pt x="514" y="857"/>
                  </a:cubicBezTo>
                  <a:cubicBezTo>
                    <a:pt x="523" y="840"/>
                    <a:pt x="506" y="806"/>
                    <a:pt x="514" y="797"/>
                  </a:cubicBezTo>
                  <a:cubicBezTo>
                    <a:pt x="523" y="789"/>
                    <a:pt x="566" y="806"/>
                    <a:pt x="557" y="789"/>
                  </a:cubicBezTo>
                  <a:cubicBezTo>
                    <a:pt x="549" y="780"/>
                    <a:pt x="531" y="754"/>
                    <a:pt x="540" y="746"/>
                  </a:cubicBezTo>
                  <a:cubicBezTo>
                    <a:pt x="540" y="737"/>
                    <a:pt x="523" y="746"/>
                    <a:pt x="523" y="754"/>
                  </a:cubicBezTo>
                  <a:cubicBezTo>
                    <a:pt x="514" y="763"/>
                    <a:pt x="514" y="789"/>
                    <a:pt x="506" y="797"/>
                  </a:cubicBezTo>
                  <a:cubicBezTo>
                    <a:pt x="489" y="806"/>
                    <a:pt x="497" y="857"/>
                    <a:pt x="489" y="840"/>
                  </a:cubicBezTo>
                  <a:cubicBezTo>
                    <a:pt x="472" y="823"/>
                    <a:pt x="472" y="789"/>
                    <a:pt x="463" y="789"/>
                  </a:cubicBezTo>
                  <a:cubicBezTo>
                    <a:pt x="454" y="789"/>
                    <a:pt x="429" y="797"/>
                    <a:pt x="437" y="780"/>
                  </a:cubicBezTo>
                  <a:cubicBezTo>
                    <a:pt x="454" y="763"/>
                    <a:pt x="531" y="694"/>
                    <a:pt x="514" y="703"/>
                  </a:cubicBezTo>
                  <a:cubicBezTo>
                    <a:pt x="506" y="712"/>
                    <a:pt x="480" y="729"/>
                    <a:pt x="454" y="746"/>
                  </a:cubicBezTo>
                  <a:cubicBezTo>
                    <a:pt x="429" y="763"/>
                    <a:pt x="420" y="789"/>
                    <a:pt x="429" y="797"/>
                  </a:cubicBezTo>
                  <a:cubicBezTo>
                    <a:pt x="429" y="806"/>
                    <a:pt x="446" y="815"/>
                    <a:pt x="429" y="832"/>
                  </a:cubicBezTo>
                  <a:cubicBezTo>
                    <a:pt x="412" y="840"/>
                    <a:pt x="394" y="875"/>
                    <a:pt x="386" y="900"/>
                  </a:cubicBezTo>
                  <a:cubicBezTo>
                    <a:pt x="369" y="917"/>
                    <a:pt x="377" y="943"/>
                    <a:pt x="352" y="934"/>
                  </a:cubicBezTo>
                  <a:cubicBezTo>
                    <a:pt x="334" y="926"/>
                    <a:pt x="334" y="917"/>
                    <a:pt x="352" y="900"/>
                  </a:cubicBezTo>
                  <a:cubicBezTo>
                    <a:pt x="360" y="883"/>
                    <a:pt x="343" y="866"/>
                    <a:pt x="360" y="849"/>
                  </a:cubicBezTo>
                  <a:cubicBezTo>
                    <a:pt x="386" y="832"/>
                    <a:pt x="403" y="823"/>
                    <a:pt x="403" y="806"/>
                  </a:cubicBezTo>
                  <a:cubicBezTo>
                    <a:pt x="394" y="789"/>
                    <a:pt x="386" y="780"/>
                    <a:pt x="394" y="763"/>
                  </a:cubicBezTo>
                  <a:cubicBezTo>
                    <a:pt x="394" y="746"/>
                    <a:pt x="403" y="729"/>
                    <a:pt x="420" y="712"/>
                  </a:cubicBezTo>
                  <a:cubicBezTo>
                    <a:pt x="429" y="694"/>
                    <a:pt x="412" y="686"/>
                    <a:pt x="429" y="660"/>
                  </a:cubicBezTo>
                  <a:cubicBezTo>
                    <a:pt x="446" y="635"/>
                    <a:pt x="454" y="617"/>
                    <a:pt x="472" y="617"/>
                  </a:cubicBezTo>
                  <a:cubicBezTo>
                    <a:pt x="489" y="617"/>
                    <a:pt x="480" y="600"/>
                    <a:pt x="489" y="592"/>
                  </a:cubicBezTo>
                  <a:cubicBezTo>
                    <a:pt x="489" y="583"/>
                    <a:pt x="523" y="557"/>
                    <a:pt x="523" y="549"/>
                  </a:cubicBezTo>
                  <a:cubicBezTo>
                    <a:pt x="523" y="540"/>
                    <a:pt x="506" y="549"/>
                    <a:pt x="480" y="566"/>
                  </a:cubicBezTo>
                  <a:cubicBezTo>
                    <a:pt x="463" y="583"/>
                    <a:pt x="446" y="600"/>
                    <a:pt x="429" y="592"/>
                  </a:cubicBezTo>
                  <a:cubicBezTo>
                    <a:pt x="412" y="583"/>
                    <a:pt x="420" y="592"/>
                    <a:pt x="412" y="609"/>
                  </a:cubicBezTo>
                  <a:cubicBezTo>
                    <a:pt x="412" y="617"/>
                    <a:pt x="429" y="635"/>
                    <a:pt x="386" y="635"/>
                  </a:cubicBezTo>
                  <a:cubicBezTo>
                    <a:pt x="352" y="635"/>
                    <a:pt x="352" y="643"/>
                    <a:pt x="352" y="626"/>
                  </a:cubicBezTo>
                  <a:cubicBezTo>
                    <a:pt x="352" y="609"/>
                    <a:pt x="369" y="600"/>
                    <a:pt x="360" y="600"/>
                  </a:cubicBezTo>
                  <a:cubicBezTo>
                    <a:pt x="352" y="592"/>
                    <a:pt x="326" y="575"/>
                    <a:pt x="334" y="566"/>
                  </a:cubicBezTo>
                  <a:cubicBezTo>
                    <a:pt x="334" y="549"/>
                    <a:pt x="343" y="532"/>
                    <a:pt x="360" y="540"/>
                  </a:cubicBezTo>
                  <a:cubicBezTo>
                    <a:pt x="369" y="549"/>
                    <a:pt x="386" y="557"/>
                    <a:pt x="394" y="549"/>
                  </a:cubicBezTo>
                  <a:cubicBezTo>
                    <a:pt x="403" y="549"/>
                    <a:pt x="412" y="549"/>
                    <a:pt x="386" y="540"/>
                  </a:cubicBezTo>
                  <a:cubicBezTo>
                    <a:pt x="360" y="532"/>
                    <a:pt x="326" y="523"/>
                    <a:pt x="352" y="514"/>
                  </a:cubicBezTo>
                  <a:cubicBezTo>
                    <a:pt x="386" y="506"/>
                    <a:pt x="394" y="514"/>
                    <a:pt x="403" y="514"/>
                  </a:cubicBezTo>
                  <a:cubicBezTo>
                    <a:pt x="420" y="506"/>
                    <a:pt x="429" y="514"/>
                    <a:pt x="429" y="497"/>
                  </a:cubicBezTo>
                  <a:cubicBezTo>
                    <a:pt x="429" y="480"/>
                    <a:pt x="420" y="472"/>
                    <a:pt x="429" y="454"/>
                  </a:cubicBezTo>
                  <a:cubicBezTo>
                    <a:pt x="437" y="446"/>
                    <a:pt x="437" y="437"/>
                    <a:pt x="454" y="454"/>
                  </a:cubicBezTo>
                  <a:cubicBezTo>
                    <a:pt x="472" y="472"/>
                    <a:pt x="480" y="480"/>
                    <a:pt x="463" y="454"/>
                  </a:cubicBezTo>
                  <a:cubicBezTo>
                    <a:pt x="454" y="429"/>
                    <a:pt x="437" y="429"/>
                    <a:pt x="463" y="429"/>
                  </a:cubicBezTo>
                  <a:cubicBezTo>
                    <a:pt x="480" y="429"/>
                    <a:pt x="523" y="446"/>
                    <a:pt x="506" y="429"/>
                  </a:cubicBezTo>
                  <a:cubicBezTo>
                    <a:pt x="489" y="412"/>
                    <a:pt x="463" y="395"/>
                    <a:pt x="472" y="386"/>
                  </a:cubicBezTo>
                  <a:cubicBezTo>
                    <a:pt x="480" y="386"/>
                    <a:pt x="523" y="395"/>
                    <a:pt x="506" y="386"/>
                  </a:cubicBezTo>
                  <a:cubicBezTo>
                    <a:pt x="489" y="377"/>
                    <a:pt x="463" y="369"/>
                    <a:pt x="472" y="360"/>
                  </a:cubicBezTo>
                  <a:cubicBezTo>
                    <a:pt x="480" y="351"/>
                    <a:pt x="480" y="360"/>
                    <a:pt x="472" y="343"/>
                  </a:cubicBezTo>
                  <a:cubicBezTo>
                    <a:pt x="454" y="326"/>
                    <a:pt x="446" y="317"/>
                    <a:pt x="454" y="300"/>
                  </a:cubicBezTo>
                  <a:cubicBezTo>
                    <a:pt x="472" y="292"/>
                    <a:pt x="523" y="343"/>
                    <a:pt x="497" y="309"/>
                  </a:cubicBezTo>
                  <a:cubicBezTo>
                    <a:pt x="480" y="266"/>
                    <a:pt x="472" y="274"/>
                    <a:pt x="472" y="257"/>
                  </a:cubicBezTo>
                  <a:cubicBezTo>
                    <a:pt x="472" y="249"/>
                    <a:pt x="489" y="240"/>
                    <a:pt x="489" y="232"/>
                  </a:cubicBezTo>
                  <a:cubicBezTo>
                    <a:pt x="489" y="214"/>
                    <a:pt x="480" y="197"/>
                    <a:pt x="497" y="214"/>
                  </a:cubicBezTo>
                  <a:cubicBezTo>
                    <a:pt x="514" y="223"/>
                    <a:pt x="523" y="223"/>
                    <a:pt x="540" y="214"/>
                  </a:cubicBezTo>
                  <a:cubicBezTo>
                    <a:pt x="557" y="206"/>
                    <a:pt x="609" y="232"/>
                    <a:pt x="600" y="223"/>
                  </a:cubicBezTo>
                  <a:cubicBezTo>
                    <a:pt x="600" y="206"/>
                    <a:pt x="583" y="180"/>
                    <a:pt x="575" y="172"/>
                  </a:cubicBezTo>
                  <a:cubicBezTo>
                    <a:pt x="566" y="163"/>
                    <a:pt x="549" y="146"/>
                    <a:pt x="566" y="146"/>
                  </a:cubicBezTo>
                  <a:cubicBezTo>
                    <a:pt x="583" y="146"/>
                    <a:pt x="592" y="163"/>
                    <a:pt x="592" y="146"/>
                  </a:cubicBezTo>
                  <a:cubicBezTo>
                    <a:pt x="592" y="129"/>
                    <a:pt x="566" y="103"/>
                    <a:pt x="592" y="103"/>
                  </a:cubicBezTo>
                  <a:cubicBezTo>
                    <a:pt x="609" y="103"/>
                    <a:pt x="634" y="120"/>
                    <a:pt x="634" y="103"/>
                  </a:cubicBezTo>
                  <a:cubicBezTo>
                    <a:pt x="626" y="86"/>
                    <a:pt x="626" y="69"/>
                    <a:pt x="634" y="60"/>
                  </a:cubicBezTo>
                  <a:cubicBezTo>
                    <a:pt x="643" y="52"/>
                    <a:pt x="634" y="43"/>
                    <a:pt x="652" y="26"/>
                  </a:cubicBezTo>
                  <a:cubicBezTo>
                    <a:pt x="669" y="9"/>
                    <a:pt x="669" y="0"/>
                    <a:pt x="677" y="9"/>
                  </a:cubicBezTo>
                  <a:cubicBezTo>
                    <a:pt x="686" y="17"/>
                    <a:pt x="720" y="34"/>
                    <a:pt x="712" y="43"/>
                  </a:cubicBezTo>
                  <a:cubicBezTo>
                    <a:pt x="703" y="60"/>
                    <a:pt x="746" y="34"/>
                    <a:pt x="746" y="52"/>
                  </a:cubicBezTo>
                  <a:cubicBezTo>
                    <a:pt x="737" y="69"/>
                    <a:pt x="737" y="77"/>
                    <a:pt x="746" y="69"/>
                  </a:cubicBezTo>
                  <a:cubicBezTo>
                    <a:pt x="754" y="60"/>
                    <a:pt x="763" y="52"/>
                    <a:pt x="797" y="52"/>
                  </a:cubicBezTo>
                  <a:cubicBezTo>
                    <a:pt x="832" y="52"/>
                    <a:pt x="900" y="43"/>
                    <a:pt x="926" y="52"/>
                  </a:cubicBezTo>
                  <a:cubicBezTo>
                    <a:pt x="943" y="60"/>
                    <a:pt x="969" y="60"/>
                    <a:pt x="960" y="69"/>
                  </a:cubicBezTo>
                  <a:cubicBezTo>
                    <a:pt x="952" y="86"/>
                    <a:pt x="943" y="120"/>
                    <a:pt x="934" y="129"/>
                  </a:cubicBezTo>
                  <a:cubicBezTo>
                    <a:pt x="926" y="137"/>
                    <a:pt x="917" y="146"/>
                    <a:pt x="900" y="155"/>
                  </a:cubicBezTo>
                  <a:cubicBezTo>
                    <a:pt x="883" y="155"/>
                    <a:pt x="840" y="189"/>
                    <a:pt x="823" y="197"/>
                  </a:cubicBezTo>
                  <a:cubicBezTo>
                    <a:pt x="815" y="206"/>
                    <a:pt x="780" y="223"/>
                    <a:pt x="780" y="232"/>
                  </a:cubicBezTo>
                  <a:cubicBezTo>
                    <a:pt x="771" y="240"/>
                    <a:pt x="763" y="249"/>
                    <a:pt x="746" y="249"/>
                  </a:cubicBezTo>
                  <a:cubicBezTo>
                    <a:pt x="737" y="240"/>
                    <a:pt x="712" y="232"/>
                    <a:pt x="729" y="249"/>
                  </a:cubicBezTo>
                  <a:cubicBezTo>
                    <a:pt x="746" y="266"/>
                    <a:pt x="780" y="274"/>
                    <a:pt x="789" y="274"/>
                  </a:cubicBezTo>
                  <a:cubicBezTo>
                    <a:pt x="797" y="274"/>
                    <a:pt x="763" y="309"/>
                    <a:pt x="754" y="309"/>
                  </a:cubicBezTo>
                  <a:cubicBezTo>
                    <a:pt x="754" y="309"/>
                    <a:pt x="729" y="300"/>
                    <a:pt x="720" y="309"/>
                  </a:cubicBezTo>
                  <a:cubicBezTo>
                    <a:pt x="703" y="317"/>
                    <a:pt x="677" y="326"/>
                    <a:pt x="703" y="326"/>
                  </a:cubicBezTo>
                  <a:cubicBezTo>
                    <a:pt x="720" y="326"/>
                    <a:pt x="754" y="317"/>
                    <a:pt x="746" y="326"/>
                  </a:cubicBezTo>
                  <a:cubicBezTo>
                    <a:pt x="746" y="334"/>
                    <a:pt x="712" y="360"/>
                    <a:pt x="746" y="351"/>
                  </a:cubicBezTo>
                  <a:cubicBezTo>
                    <a:pt x="780" y="343"/>
                    <a:pt x="789" y="326"/>
                    <a:pt x="823" y="317"/>
                  </a:cubicBezTo>
                  <a:cubicBezTo>
                    <a:pt x="857" y="309"/>
                    <a:pt x="874" y="317"/>
                    <a:pt x="892" y="326"/>
                  </a:cubicBezTo>
                  <a:cubicBezTo>
                    <a:pt x="909" y="334"/>
                    <a:pt x="900" y="326"/>
                    <a:pt x="934" y="334"/>
                  </a:cubicBezTo>
                  <a:cubicBezTo>
                    <a:pt x="960" y="334"/>
                    <a:pt x="1029" y="360"/>
                    <a:pt x="1046" y="360"/>
                  </a:cubicBezTo>
                  <a:cubicBezTo>
                    <a:pt x="1055" y="360"/>
                    <a:pt x="1089" y="369"/>
                    <a:pt x="1097" y="386"/>
                  </a:cubicBezTo>
                  <a:cubicBezTo>
                    <a:pt x="1097" y="412"/>
                    <a:pt x="1106" y="420"/>
                    <a:pt x="1089" y="446"/>
                  </a:cubicBezTo>
                  <a:cubicBezTo>
                    <a:pt x="1072" y="472"/>
                    <a:pt x="1055" y="497"/>
                    <a:pt x="1046" y="506"/>
                  </a:cubicBezTo>
                  <a:cubicBezTo>
                    <a:pt x="1037" y="523"/>
                    <a:pt x="1020" y="566"/>
                    <a:pt x="994" y="592"/>
                  </a:cubicBezTo>
                  <a:cubicBezTo>
                    <a:pt x="977" y="609"/>
                    <a:pt x="952" y="635"/>
                    <a:pt x="943" y="652"/>
                  </a:cubicBezTo>
                  <a:cubicBezTo>
                    <a:pt x="926" y="669"/>
                    <a:pt x="934" y="686"/>
                    <a:pt x="900" y="694"/>
                  </a:cubicBezTo>
                  <a:cubicBezTo>
                    <a:pt x="874" y="703"/>
                    <a:pt x="832" y="712"/>
                    <a:pt x="832" y="712"/>
                  </a:cubicBezTo>
                  <a:cubicBezTo>
                    <a:pt x="832" y="712"/>
                    <a:pt x="840" y="720"/>
                    <a:pt x="874" y="729"/>
                  </a:cubicBezTo>
                  <a:cubicBezTo>
                    <a:pt x="909" y="737"/>
                    <a:pt x="917" y="746"/>
                    <a:pt x="883" y="763"/>
                  </a:cubicBezTo>
                  <a:cubicBezTo>
                    <a:pt x="849" y="780"/>
                    <a:pt x="849" y="780"/>
                    <a:pt x="832" y="797"/>
                  </a:cubicBezTo>
                  <a:cubicBezTo>
                    <a:pt x="806" y="806"/>
                    <a:pt x="780" y="815"/>
                    <a:pt x="763" y="806"/>
                  </a:cubicBezTo>
                  <a:cubicBezTo>
                    <a:pt x="746" y="797"/>
                    <a:pt x="712" y="780"/>
                    <a:pt x="720" y="789"/>
                  </a:cubicBezTo>
                  <a:cubicBezTo>
                    <a:pt x="729" y="806"/>
                    <a:pt x="823" y="849"/>
                    <a:pt x="840" y="840"/>
                  </a:cubicBezTo>
                  <a:cubicBezTo>
                    <a:pt x="857" y="840"/>
                    <a:pt x="857" y="797"/>
                    <a:pt x="874" y="806"/>
                  </a:cubicBezTo>
                  <a:cubicBezTo>
                    <a:pt x="892" y="815"/>
                    <a:pt x="926" y="857"/>
                    <a:pt x="943" y="866"/>
                  </a:cubicBezTo>
                  <a:cubicBezTo>
                    <a:pt x="960" y="866"/>
                    <a:pt x="977" y="900"/>
                    <a:pt x="986" y="909"/>
                  </a:cubicBezTo>
                  <a:cubicBezTo>
                    <a:pt x="986" y="926"/>
                    <a:pt x="1011" y="960"/>
                    <a:pt x="1029" y="977"/>
                  </a:cubicBezTo>
                  <a:cubicBezTo>
                    <a:pt x="1055" y="994"/>
                    <a:pt x="1055" y="1020"/>
                    <a:pt x="1046" y="1029"/>
                  </a:cubicBezTo>
                  <a:cubicBezTo>
                    <a:pt x="1037" y="1046"/>
                    <a:pt x="1055" y="1140"/>
                    <a:pt x="1055" y="1174"/>
                  </a:cubicBezTo>
                  <a:cubicBezTo>
                    <a:pt x="1055" y="1209"/>
                    <a:pt x="1055" y="1286"/>
                    <a:pt x="1080" y="1286"/>
                  </a:cubicBezTo>
                  <a:cubicBezTo>
                    <a:pt x="1097" y="1286"/>
                    <a:pt x="1174" y="1329"/>
                    <a:pt x="1174" y="1355"/>
                  </a:cubicBezTo>
                  <a:cubicBezTo>
                    <a:pt x="1183" y="1372"/>
                    <a:pt x="1200" y="1432"/>
                    <a:pt x="1217" y="1440"/>
                  </a:cubicBezTo>
                  <a:cubicBezTo>
                    <a:pt x="1226" y="1457"/>
                    <a:pt x="1234" y="1475"/>
                    <a:pt x="1217" y="1492"/>
                  </a:cubicBezTo>
                  <a:cubicBezTo>
                    <a:pt x="1209" y="1509"/>
                    <a:pt x="1217" y="1517"/>
                    <a:pt x="1226" y="1535"/>
                  </a:cubicBezTo>
                  <a:cubicBezTo>
                    <a:pt x="1234" y="1552"/>
                    <a:pt x="1234" y="1569"/>
                    <a:pt x="1226" y="1577"/>
                  </a:cubicBezTo>
                  <a:cubicBezTo>
                    <a:pt x="1217" y="1595"/>
                    <a:pt x="1209" y="1595"/>
                    <a:pt x="1217" y="1612"/>
                  </a:cubicBezTo>
                  <a:cubicBezTo>
                    <a:pt x="1226" y="1629"/>
                    <a:pt x="1269" y="1663"/>
                    <a:pt x="1269" y="1689"/>
                  </a:cubicBezTo>
                  <a:cubicBezTo>
                    <a:pt x="1277" y="1715"/>
                    <a:pt x="1269" y="1757"/>
                    <a:pt x="1260" y="1775"/>
                  </a:cubicBezTo>
                  <a:cubicBezTo>
                    <a:pt x="1251" y="1783"/>
                    <a:pt x="1217" y="1792"/>
                    <a:pt x="1217" y="1809"/>
                  </a:cubicBezTo>
                  <a:cubicBezTo>
                    <a:pt x="1217" y="1817"/>
                    <a:pt x="1243" y="1860"/>
                    <a:pt x="1260" y="1852"/>
                  </a:cubicBezTo>
                  <a:cubicBezTo>
                    <a:pt x="1277" y="1843"/>
                    <a:pt x="1286" y="1809"/>
                    <a:pt x="1320" y="1809"/>
                  </a:cubicBezTo>
                  <a:cubicBezTo>
                    <a:pt x="1354" y="1817"/>
                    <a:pt x="1440" y="1835"/>
                    <a:pt x="1449" y="1852"/>
                  </a:cubicBezTo>
                  <a:cubicBezTo>
                    <a:pt x="1466" y="1860"/>
                    <a:pt x="1526" y="1903"/>
                    <a:pt x="1500" y="1963"/>
                  </a:cubicBezTo>
                  <a:cubicBezTo>
                    <a:pt x="1474" y="2023"/>
                    <a:pt x="1483" y="2040"/>
                    <a:pt x="1474" y="2066"/>
                  </a:cubicBezTo>
                  <a:cubicBezTo>
                    <a:pt x="1466" y="2083"/>
                    <a:pt x="1440" y="2117"/>
                    <a:pt x="1414" y="2117"/>
                  </a:cubicBezTo>
                  <a:cubicBezTo>
                    <a:pt x="1397" y="2117"/>
                    <a:pt x="1363" y="2117"/>
                    <a:pt x="1372" y="2117"/>
                  </a:cubicBezTo>
                  <a:cubicBezTo>
                    <a:pt x="1380" y="2117"/>
                    <a:pt x="1397" y="2126"/>
                    <a:pt x="1389" y="2143"/>
                  </a:cubicBezTo>
                  <a:cubicBezTo>
                    <a:pt x="1380" y="2160"/>
                    <a:pt x="1363" y="2178"/>
                    <a:pt x="1354" y="2169"/>
                  </a:cubicBezTo>
                  <a:cubicBezTo>
                    <a:pt x="1337" y="2160"/>
                    <a:pt x="1337" y="2152"/>
                    <a:pt x="1320" y="2160"/>
                  </a:cubicBezTo>
                  <a:cubicBezTo>
                    <a:pt x="1303" y="2169"/>
                    <a:pt x="1295" y="2186"/>
                    <a:pt x="1303" y="2186"/>
                  </a:cubicBezTo>
                  <a:cubicBezTo>
                    <a:pt x="1312" y="2178"/>
                    <a:pt x="1329" y="2178"/>
                    <a:pt x="1329" y="2186"/>
                  </a:cubicBezTo>
                  <a:cubicBezTo>
                    <a:pt x="1320" y="2203"/>
                    <a:pt x="1337" y="2229"/>
                    <a:pt x="1312" y="2229"/>
                  </a:cubicBezTo>
                  <a:cubicBezTo>
                    <a:pt x="1295" y="2229"/>
                    <a:pt x="1269" y="2229"/>
                    <a:pt x="1251" y="2237"/>
                  </a:cubicBezTo>
                  <a:cubicBezTo>
                    <a:pt x="1234" y="2246"/>
                    <a:pt x="1217" y="2255"/>
                    <a:pt x="1226" y="2246"/>
                  </a:cubicBezTo>
                  <a:cubicBezTo>
                    <a:pt x="1234" y="2246"/>
                    <a:pt x="1260" y="2246"/>
                    <a:pt x="1260" y="2255"/>
                  </a:cubicBezTo>
                  <a:cubicBezTo>
                    <a:pt x="1260" y="2263"/>
                    <a:pt x="1251" y="2272"/>
                    <a:pt x="1260" y="2272"/>
                  </a:cubicBezTo>
                  <a:cubicBezTo>
                    <a:pt x="1269" y="2272"/>
                    <a:pt x="1277" y="2263"/>
                    <a:pt x="1295" y="2263"/>
                  </a:cubicBezTo>
                  <a:cubicBezTo>
                    <a:pt x="1303" y="2272"/>
                    <a:pt x="1277" y="2280"/>
                    <a:pt x="1303" y="2289"/>
                  </a:cubicBezTo>
                  <a:cubicBezTo>
                    <a:pt x="1320" y="2289"/>
                    <a:pt x="1406" y="2280"/>
                    <a:pt x="1406" y="229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7" name="Freeform 48"/>
            <p:cNvSpPr>
              <a:spLocks noChangeArrowheads="1"/>
            </p:cNvSpPr>
            <p:nvPr/>
          </p:nvSpPr>
          <p:spPr bwMode="auto">
            <a:xfrm>
              <a:off x="1816100" y="2757488"/>
              <a:ext cx="34925" cy="31750"/>
            </a:xfrm>
            <a:custGeom>
              <a:avLst/>
              <a:gdLst>
                <a:gd name="T0" fmla="*/ 2147483647 w 95"/>
                <a:gd name="T1" fmla="*/ 2147483647 h 86"/>
                <a:gd name="T2" fmla="*/ 2147483647 w 95"/>
                <a:gd name="T3" fmla="*/ 2147483647 h 86"/>
                <a:gd name="T4" fmla="*/ 2147483647 w 95"/>
                <a:gd name="T5" fmla="*/ 2147483647 h 86"/>
                <a:gd name="T6" fmla="*/ 2147483647 w 95"/>
                <a:gd name="T7" fmla="*/ 2147483647 h 86"/>
                <a:gd name="T8" fmla="*/ 2147483647 w 95"/>
                <a:gd name="T9" fmla="*/ 2147483647 h 86"/>
                <a:gd name="T10" fmla="*/ 0 60000 65536"/>
                <a:gd name="T11" fmla="*/ 0 60000 65536"/>
                <a:gd name="T12" fmla="*/ 0 60000 65536"/>
                <a:gd name="T13" fmla="*/ 0 60000 65536"/>
                <a:gd name="T14" fmla="*/ 0 60000 65536"/>
                <a:gd name="T15" fmla="*/ 0 w 95"/>
                <a:gd name="T16" fmla="*/ 0 h 86"/>
                <a:gd name="T17" fmla="*/ 95 w 95"/>
                <a:gd name="T18" fmla="*/ 86 h 86"/>
              </a:gdLst>
              <a:ahLst/>
              <a:cxnLst>
                <a:cxn ang="T10">
                  <a:pos x="T0" y="T1"/>
                </a:cxn>
                <a:cxn ang="T11">
                  <a:pos x="T2" y="T3"/>
                </a:cxn>
                <a:cxn ang="T12">
                  <a:pos x="T4" y="T5"/>
                </a:cxn>
                <a:cxn ang="T13">
                  <a:pos x="T6" y="T7"/>
                </a:cxn>
                <a:cxn ang="T14">
                  <a:pos x="T8" y="T9"/>
                </a:cxn>
              </a:cxnLst>
              <a:rect l="T15" t="T16" r="T17" b="T18"/>
              <a:pathLst>
                <a:path w="95" h="86">
                  <a:moveTo>
                    <a:pt x="17" y="85"/>
                  </a:moveTo>
                  <a:lnTo>
                    <a:pt x="17" y="85"/>
                  </a:lnTo>
                  <a:cubicBezTo>
                    <a:pt x="0" y="85"/>
                    <a:pt x="51" y="17"/>
                    <a:pt x="60" y="8"/>
                  </a:cubicBezTo>
                  <a:cubicBezTo>
                    <a:pt x="68" y="0"/>
                    <a:pt x="94" y="8"/>
                    <a:pt x="85" y="25"/>
                  </a:cubicBezTo>
                  <a:cubicBezTo>
                    <a:pt x="68" y="43"/>
                    <a:pt x="43" y="85"/>
                    <a:pt x="17" y="85"/>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8" name="Freeform 49"/>
            <p:cNvSpPr>
              <a:spLocks noChangeArrowheads="1"/>
            </p:cNvSpPr>
            <p:nvPr/>
          </p:nvSpPr>
          <p:spPr bwMode="auto">
            <a:xfrm>
              <a:off x="1733550" y="2374900"/>
              <a:ext cx="31750" cy="22225"/>
            </a:xfrm>
            <a:custGeom>
              <a:avLst/>
              <a:gdLst>
                <a:gd name="T0" fmla="*/ 2147483647 w 87"/>
                <a:gd name="T1" fmla="*/ 2147483647 h 61"/>
                <a:gd name="T2" fmla="*/ 2147483647 w 87"/>
                <a:gd name="T3" fmla="*/ 2147483647 h 61"/>
                <a:gd name="T4" fmla="*/ 2147483647 w 87"/>
                <a:gd name="T5" fmla="*/ 2147483647 h 61"/>
                <a:gd name="T6" fmla="*/ 2147483647 w 87"/>
                <a:gd name="T7" fmla="*/ 2147483647 h 61"/>
                <a:gd name="T8" fmla="*/ 2147483647 w 87"/>
                <a:gd name="T9" fmla="*/ 2147483647 h 61"/>
                <a:gd name="T10" fmla="*/ 0 60000 65536"/>
                <a:gd name="T11" fmla="*/ 0 60000 65536"/>
                <a:gd name="T12" fmla="*/ 0 60000 65536"/>
                <a:gd name="T13" fmla="*/ 0 60000 65536"/>
                <a:gd name="T14" fmla="*/ 0 60000 65536"/>
                <a:gd name="T15" fmla="*/ 0 w 87"/>
                <a:gd name="T16" fmla="*/ 0 h 61"/>
                <a:gd name="T17" fmla="*/ 87 w 87"/>
                <a:gd name="T18" fmla="*/ 61 h 61"/>
              </a:gdLst>
              <a:ahLst/>
              <a:cxnLst>
                <a:cxn ang="T10">
                  <a:pos x="T0" y="T1"/>
                </a:cxn>
                <a:cxn ang="T11">
                  <a:pos x="T2" y="T3"/>
                </a:cxn>
                <a:cxn ang="T12">
                  <a:pos x="T4" y="T5"/>
                </a:cxn>
                <a:cxn ang="T13">
                  <a:pos x="T6" y="T7"/>
                </a:cxn>
                <a:cxn ang="T14">
                  <a:pos x="T8" y="T9"/>
                </a:cxn>
              </a:cxnLst>
              <a:rect l="T15" t="T16" r="T17" b="T18"/>
              <a:pathLst>
                <a:path w="87" h="61">
                  <a:moveTo>
                    <a:pt x="60" y="25"/>
                  </a:moveTo>
                  <a:lnTo>
                    <a:pt x="60" y="25"/>
                  </a:lnTo>
                  <a:cubicBezTo>
                    <a:pt x="35" y="17"/>
                    <a:pt x="0" y="0"/>
                    <a:pt x="9" y="17"/>
                  </a:cubicBezTo>
                  <a:cubicBezTo>
                    <a:pt x="17" y="34"/>
                    <a:pt x="35" y="60"/>
                    <a:pt x="43" y="51"/>
                  </a:cubicBezTo>
                  <a:cubicBezTo>
                    <a:pt x="60" y="43"/>
                    <a:pt x="86" y="25"/>
                    <a:pt x="60" y="25"/>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49" name="Freeform 50"/>
            <p:cNvSpPr>
              <a:spLocks noChangeArrowheads="1"/>
            </p:cNvSpPr>
            <p:nvPr/>
          </p:nvSpPr>
          <p:spPr bwMode="auto">
            <a:xfrm>
              <a:off x="1727200" y="2397125"/>
              <a:ext cx="28575" cy="52388"/>
            </a:xfrm>
            <a:custGeom>
              <a:avLst/>
              <a:gdLst>
                <a:gd name="T0" fmla="*/ 2147483647 w 78"/>
                <a:gd name="T1" fmla="*/ 2147483647 h 147"/>
                <a:gd name="T2" fmla="*/ 2147483647 w 78"/>
                <a:gd name="T3" fmla="*/ 2147483647 h 147"/>
                <a:gd name="T4" fmla="*/ 2147483647 w 78"/>
                <a:gd name="T5" fmla="*/ 2147483647 h 147"/>
                <a:gd name="T6" fmla="*/ 2147483647 w 78"/>
                <a:gd name="T7" fmla="*/ 2147483647 h 147"/>
                <a:gd name="T8" fmla="*/ 2147483647 w 78"/>
                <a:gd name="T9" fmla="*/ 2147483647 h 147"/>
                <a:gd name="T10" fmla="*/ 2147483647 w 78"/>
                <a:gd name="T11" fmla="*/ 2147483647 h 147"/>
                <a:gd name="T12" fmla="*/ 0 60000 65536"/>
                <a:gd name="T13" fmla="*/ 0 60000 65536"/>
                <a:gd name="T14" fmla="*/ 0 60000 65536"/>
                <a:gd name="T15" fmla="*/ 0 60000 65536"/>
                <a:gd name="T16" fmla="*/ 0 60000 65536"/>
                <a:gd name="T17" fmla="*/ 0 60000 65536"/>
                <a:gd name="T18" fmla="*/ 0 w 78"/>
                <a:gd name="T19" fmla="*/ 0 h 147"/>
                <a:gd name="T20" fmla="*/ 78 w 78"/>
                <a:gd name="T21" fmla="*/ 147 h 147"/>
              </a:gdLst>
              <a:ahLst/>
              <a:cxnLst>
                <a:cxn ang="T12">
                  <a:pos x="T0" y="T1"/>
                </a:cxn>
                <a:cxn ang="T13">
                  <a:pos x="T2" y="T3"/>
                </a:cxn>
                <a:cxn ang="T14">
                  <a:pos x="T4" y="T5"/>
                </a:cxn>
                <a:cxn ang="T15">
                  <a:pos x="T6" y="T7"/>
                </a:cxn>
                <a:cxn ang="T16">
                  <a:pos x="T8" y="T9"/>
                </a:cxn>
                <a:cxn ang="T17">
                  <a:pos x="T10" y="T11"/>
                </a:cxn>
              </a:cxnLst>
              <a:rect l="T18" t="T19" r="T20" b="T21"/>
              <a:pathLst>
                <a:path w="78" h="147">
                  <a:moveTo>
                    <a:pt x="52" y="8"/>
                  </a:moveTo>
                  <a:lnTo>
                    <a:pt x="52" y="8"/>
                  </a:lnTo>
                  <a:cubicBezTo>
                    <a:pt x="34" y="8"/>
                    <a:pt x="9" y="51"/>
                    <a:pt x="9" y="68"/>
                  </a:cubicBezTo>
                  <a:cubicBezTo>
                    <a:pt x="0" y="85"/>
                    <a:pt x="9" y="146"/>
                    <a:pt x="26" y="111"/>
                  </a:cubicBezTo>
                  <a:cubicBezTo>
                    <a:pt x="34" y="77"/>
                    <a:pt x="43" y="51"/>
                    <a:pt x="52" y="43"/>
                  </a:cubicBezTo>
                  <a:cubicBezTo>
                    <a:pt x="60" y="25"/>
                    <a:pt x="77" y="0"/>
                    <a:pt x="52" y="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0" name="Freeform 51"/>
            <p:cNvSpPr>
              <a:spLocks noChangeArrowheads="1"/>
            </p:cNvSpPr>
            <p:nvPr/>
          </p:nvSpPr>
          <p:spPr bwMode="auto">
            <a:xfrm>
              <a:off x="1773238" y="2387600"/>
              <a:ext cx="58737" cy="71438"/>
            </a:xfrm>
            <a:custGeom>
              <a:avLst/>
              <a:gdLst>
                <a:gd name="T0" fmla="*/ 2147483647 w 164"/>
                <a:gd name="T1" fmla="*/ 2147483647 h 198"/>
                <a:gd name="T2" fmla="*/ 2147483647 w 164"/>
                <a:gd name="T3" fmla="*/ 2147483647 h 198"/>
                <a:gd name="T4" fmla="*/ 2147483647 w 164"/>
                <a:gd name="T5" fmla="*/ 2147483647 h 198"/>
                <a:gd name="T6" fmla="*/ 2147483647 w 164"/>
                <a:gd name="T7" fmla="*/ 2147483647 h 198"/>
                <a:gd name="T8" fmla="*/ 2147483647 w 164"/>
                <a:gd name="T9" fmla="*/ 2147483647 h 198"/>
                <a:gd name="T10" fmla="*/ 2147483647 w 164"/>
                <a:gd name="T11" fmla="*/ 2147483647 h 198"/>
                <a:gd name="T12" fmla="*/ 2147483647 w 164"/>
                <a:gd name="T13" fmla="*/ 2147483647 h 198"/>
                <a:gd name="T14" fmla="*/ 2147483647 w 164"/>
                <a:gd name="T15" fmla="*/ 2147483647 h 198"/>
                <a:gd name="T16" fmla="*/ 2147483647 w 164"/>
                <a:gd name="T17" fmla="*/ 2147483647 h 198"/>
                <a:gd name="T18" fmla="*/ 2147483647 w 164"/>
                <a:gd name="T19" fmla="*/ 2147483647 h 198"/>
                <a:gd name="T20" fmla="*/ 2147483647 w 164"/>
                <a:gd name="T21" fmla="*/ 2147483647 h 198"/>
                <a:gd name="T22" fmla="*/ 2147483647 w 164"/>
                <a:gd name="T23" fmla="*/ 2147483647 h 198"/>
                <a:gd name="T24" fmla="*/ 2147483647 w 164"/>
                <a:gd name="T25" fmla="*/ 2147483647 h 198"/>
                <a:gd name="T26" fmla="*/ 2147483647 w 164"/>
                <a:gd name="T27" fmla="*/ 2147483647 h 198"/>
                <a:gd name="T28" fmla="*/ 2147483647 w 164"/>
                <a:gd name="T29" fmla="*/ 2147483647 h 198"/>
                <a:gd name="T30" fmla="*/ 2147483647 w 164"/>
                <a:gd name="T31" fmla="*/ 2147483647 h 198"/>
                <a:gd name="T32" fmla="*/ 2147483647 w 164"/>
                <a:gd name="T33" fmla="*/ 2147483647 h 1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4"/>
                <a:gd name="T52" fmla="*/ 0 h 198"/>
                <a:gd name="T53" fmla="*/ 164 w 164"/>
                <a:gd name="T54" fmla="*/ 198 h 1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4" h="198">
                  <a:moveTo>
                    <a:pt x="103" y="197"/>
                  </a:moveTo>
                  <a:lnTo>
                    <a:pt x="103" y="197"/>
                  </a:lnTo>
                  <a:cubicBezTo>
                    <a:pt x="94" y="197"/>
                    <a:pt x="111" y="180"/>
                    <a:pt x="94" y="163"/>
                  </a:cubicBezTo>
                  <a:cubicBezTo>
                    <a:pt x="85" y="154"/>
                    <a:pt x="51" y="163"/>
                    <a:pt x="43" y="146"/>
                  </a:cubicBezTo>
                  <a:cubicBezTo>
                    <a:pt x="43" y="137"/>
                    <a:pt x="60" y="120"/>
                    <a:pt x="60" y="111"/>
                  </a:cubicBezTo>
                  <a:cubicBezTo>
                    <a:pt x="51" y="103"/>
                    <a:pt x="43" y="77"/>
                    <a:pt x="25" y="86"/>
                  </a:cubicBezTo>
                  <a:cubicBezTo>
                    <a:pt x="17" y="86"/>
                    <a:pt x="0" y="69"/>
                    <a:pt x="8" y="60"/>
                  </a:cubicBezTo>
                  <a:cubicBezTo>
                    <a:pt x="17" y="60"/>
                    <a:pt x="34" y="51"/>
                    <a:pt x="34" y="43"/>
                  </a:cubicBezTo>
                  <a:cubicBezTo>
                    <a:pt x="34" y="34"/>
                    <a:pt x="25" y="9"/>
                    <a:pt x="34" y="26"/>
                  </a:cubicBezTo>
                  <a:cubicBezTo>
                    <a:pt x="51" y="34"/>
                    <a:pt x="68" y="77"/>
                    <a:pt x="77" y="60"/>
                  </a:cubicBezTo>
                  <a:cubicBezTo>
                    <a:pt x="77" y="51"/>
                    <a:pt x="68" y="0"/>
                    <a:pt x="85" y="17"/>
                  </a:cubicBezTo>
                  <a:cubicBezTo>
                    <a:pt x="111" y="34"/>
                    <a:pt x="111" y="51"/>
                    <a:pt x="111" y="60"/>
                  </a:cubicBezTo>
                  <a:cubicBezTo>
                    <a:pt x="103" y="69"/>
                    <a:pt x="111" y="77"/>
                    <a:pt x="111" y="94"/>
                  </a:cubicBezTo>
                  <a:cubicBezTo>
                    <a:pt x="120" y="103"/>
                    <a:pt x="111" y="128"/>
                    <a:pt x="120" y="137"/>
                  </a:cubicBezTo>
                  <a:cubicBezTo>
                    <a:pt x="120" y="146"/>
                    <a:pt x="163" y="163"/>
                    <a:pt x="163" y="163"/>
                  </a:cubicBezTo>
                  <a:cubicBezTo>
                    <a:pt x="163" y="163"/>
                    <a:pt x="154" y="180"/>
                    <a:pt x="137" y="180"/>
                  </a:cubicBezTo>
                  <a:cubicBezTo>
                    <a:pt x="128" y="189"/>
                    <a:pt x="120" y="197"/>
                    <a:pt x="103" y="19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1" name="Freeform 52"/>
            <p:cNvSpPr>
              <a:spLocks noChangeArrowheads="1"/>
            </p:cNvSpPr>
            <p:nvPr/>
          </p:nvSpPr>
          <p:spPr bwMode="auto">
            <a:xfrm>
              <a:off x="1779588" y="2455863"/>
              <a:ext cx="15875" cy="15875"/>
            </a:xfrm>
            <a:custGeom>
              <a:avLst/>
              <a:gdLst>
                <a:gd name="T0" fmla="*/ 2147483647 w 44"/>
                <a:gd name="T1" fmla="*/ 2147483647 h 43"/>
                <a:gd name="T2" fmla="*/ 2147483647 w 44"/>
                <a:gd name="T3" fmla="*/ 2147483647 h 43"/>
                <a:gd name="T4" fmla="*/ 2147483647 w 44"/>
                <a:gd name="T5" fmla="*/ 0 h 43"/>
                <a:gd name="T6" fmla="*/ 2147483647 w 44"/>
                <a:gd name="T7" fmla="*/ 2147483647 h 43"/>
                <a:gd name="T8" fmla="*/ 0 60000 65536"/>
                <a:gd name="T9" fmla="*/ 0 60000 65536"/>
                <a:gd name="T10" fmla="*/ 0 60000 65536"/>
                <a:gd name="T11" fmla="*/ 0 60000 65536"/>
                <a:gd name="T12" fmla="*/ 0 w 44"/>
                <a:gd name="T13" fmla="*/ 0 h 43"/>
                <a:gd name="T14" fmla="*/ 44 w 44"/>
                <a:gd name="T15" fmla="*/ 43 h 43"/>
              </a:gdLst>
              <a:ahLst/>
              <a:cxnLst>
                <a:cxn ang="T8">
                  <a:pos x="T0" y="T1"/>
                </a:cxn>
                <a:cxn ang="T9">
                  <a:pos x="T2" y="T3"/>
                </a:cxn>
                <a:cxn ang="T10">
                  <a:pos x="T4" y="T5"/>
                </a:cxn>
                <a:cxn ang="T11">
                  <a:pos x="T6" y="T7"/>
                </a:cxn>
              </a:cxnLst>
              <a:rect l="T12" t="T13" r="T14" b="T15"/>
              <a:pathLst>
                <a:path w="44" h="43">
                  <a:moveTo>
                    <a:pt x="26" y="25"/>
                  </a:moveTo>
                  <a:lnTo>
                    <a:pt x="26" y="25"/>
                  </a:lnTo>
                  <a:cubicBezTo>
                    <a:pt x="17" y="42"/>
                    <a:pt x="0" y="8"/>
                    <a:pt x="8" y="0"/>
                  </a:cubicBezTo>
                  <a:cubicBezTo>
                    <a:pt x="26" y="0"/>
                    <a:pt x="43" y="8"/>
                    <a:pt x="26" y="25"/>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2" name="Freeform 53"/>
            <p:cNvSpPr>
              <a:spLocks noChangeArrowheads="1"/>
            </p:cNvSpPr>
            <p:nvPr/>
          </p:nvSpPr>
          <p:spPr bwMode="auto">
            <a:xfrm>
              <a:off x="1751013" y="2557463"/>
              <a:ext cx="58737" cy="55562"/>
            </a:xfrm>
            <a:custGeom>
              <a:avLst/>
              <a:gdLst>
                <a:gd name="T0" fmla="*/ 2147483647 w 164"/>
                <a:gd name="T1" fmla="*/ 2147483647 h 156"/>
                <a:gd name="T2" fmla="*/ 2147483647 w 164"/>
                <a:gd name="T3" fmla="*/ 2147483647 h 156"/>
                <a:gd name="T4" fmla="*/ 2147483647 w 164"/>
                <a:gd name="T5" fmla="*/ 2147483647 h 156"/>
                <a:gd name="T6" fmla="*/ 2147483647 w 164"/>
                <a:gd name="T7" fmla="*/ 2147483647 h 156"/>
                <a:gd name="T8" fmla="*/ 0 w 164"/>
                <a:gd name="T9" fmla="*/ 2147483647 h 156"/>
                <a:gd name="T10" fmla="*/ 2147483647 w 164"/>
                <a:gd name="T11" fmla="*/ 2147483647 h 156"/>
                <a:gd name="T12" fmla="*/ 2147483647 w 164"/>
                <a:gd name="T13" fmla="*/ 2147483647 h 156"/>
                <a:gd name="T14" fmla="*/ 2147483647 w 164"/>
                <a:gd name="T15" fmla="*/ 2147483647 h 156"/>
                <a:gd name="T16" fmla="*/ 2147483647 w 164"/>
                <a:gd name="T17" fmla="*/ 2147483647 h 156"/>
                <a:gd name="T18" fmla="*/ 2147483647 w 164"/>
                <a:gd name="T19" fmla="*/ 2147483647 h 156"/>
                <a:gd name="T20" fmla="*/ 2147483647 w 164"/>
                <a:gd name="T21" fmla="*/ 2147483647 h 156"/>
                <a:gd name="T22" fmla="*/ 2147483647 w 164"/>
                <a:gd name="T23" fmla="*/ 2147483647 h 156"/>
                <a:gd name="T24" fmla="*/ 2147483647 w 164"/>
                <a:gd name="T25" fmla="*/ 2147483647 h 1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4"/>
                <a:gd name="T40" fmla="*/ 0 h 156"/>
                <a:gd name="T41" fmla="*/ 164 w 164"/>
                <a:gd name="T42" fmla="*/ 156 h 15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4" h="156">
                  <a:moveTo>
                    <a:pt x="60" y="129"/>
                  </a:moveTo>
                  <a:lnTo>
                    <a:pt x="60" y="129"/>
                  </a:lnTo>
                  <a:cubicBezTo>
                    <a:pt x="60" y="129"/>
                    <a:pt x="8" y="155"/>
                    <a:pt x="17" y="146"/>
                  </a:cubicBezTo>
                  <a:cubicBezTo>
                    <a:pt x="17" y="138"/>
                    <a:pt x="42" y="103"/>
                    <a:pt x="34" y="95"/>
                  </a:cubicBezTo>
                  <a:cubicBezTo>
                    <a:pt x="17" y="95"/>
                    <a:pt x="0" y="121"/>
                    <a:pt x="0" y="103"/>
                  </a:cubicBezTo>
                  <a:cubicBezTo>
                    <a:pt x="0" y="95"/>
                    <a:pt x="8" y="69"/>
                    <a:pt x="17" y="69"/>
                  </a:cubicBezTo>
                  <a:cubicBezTo>
                    <a:pt x="25" y="69"/>
                    <a:pt x="42" y="60"/>
                    <a:pt x="51" y="52"/>
                  </a:cubicBezTo>
                  <a:cubicBezTo>
                    <a:pt x="68" y="52"/>
                    <a:pt x="68" y="60"/>
                    <a:pt x="77" y="52"/>
                  </a:cubicBezTo>
                  <a:cubicBezTo>
                    <a:pt x="94" y="43"/>
                    <a:pt x="94" y="26"/>
                    <a:pt x="111" y="18"/>
                  </a:cubicBezTo>
                  <a:cubicBezTo>
                    <a:pt x="137" y="18"/>
                    <a:pt x="163" y="0"/>
                    <a:pt x="154" y="9"/>
                  </a:cubicBezTo>
                  <a:cubicBezTo>
                    <a:pt x="145" y="18"/>
                    <a:pt x="120" y="43"/>
                    <a:pt x="111" y="52"/>
                  </a:cubicBezTo>
                  <a:cubicBezTo>
                    <a:pt x="103" y="60"/>
                    <a:pt x="85" y="95"/>
                    <a:pt x="77" y="95"/>
                  </a:cubicBezTo>
                  <a:cubicBezTo>
                    <a:pt x="60" y="95"/>
                    <a:pt x="68" y="121"/>
                    <a:pt x="60" y="12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3" name="Freeform 54"/>
            <p:cNvSpPr>
              <a:spLocks noChangeArrowheads="1"/>
            </p:cNvSpPr>
            <p:nvPr/>
          </p:nvSpPr>
          <p:spPr bwMode="auto">
            <a:xfrm>
              <a:off x="2014538" y="2306638"/>
              <a:ext cx="9525" cy="12700"/>
            </a:xfrm>
            <a:custGeom>
              <a:avLst/>
              <a:gdLst>
                <a:gd name="T0" fmla="*/ 2147483647 w 27"/>
                <a:gd name="T1" fmla="*/ 2147483647 h 35"/>
                <a:gd name="T2" fmla="*/ 2147483647 w 27"/>
                <a:gd name="T3" fmla="*/ 2147483647 h 35"/>
                <a:gd name="T4" fmla="*/ 2147483647 w 27"/>
                <a:gd name="T5" fmla="*/ 0 h 35"/>
                <a:gd name="T6" fmla="*/ 2147483647 w 27"/>
                <a:gd name="T7" fmla="*/ 2147483647 h 35"/>
                <a:gd name="T8" fmla="*/ 0 60000 65536"/>
                <a:gd name="T9" fmla="*/ 0 60000 65536"/>
                <a:gd name="T10" fmla="*/ 0 60000 65536"/>
                <a:gd name="T11" fmla="*/ 0 60000 65536"/>
                <a:gd name="T12" fmla="*/ 0 w 27"/>
                <a:gd name="T13" fmla="*/ 0 h 35"/>
                <a:gd name="T14" fmla="*/ 27 w 27"/>
                <a:gd name="T15" fmla="*/ 35 h 35"/>
              </a:gdLst>
              <a:ahLst/>
              <a:cxnLst>
                <a:cxn ang="T8">
                  <a:pos x="T0" y="T1"/>
                </a:cxn>
                <a:cxn ang="T9">
                  <a:pos x="T2" y="T3"/>
                </a:cxn>
                <a:cxn ang="T10">
                  <a:pos x="T4" y="T5"/>
                </a:cxn>
                <a:cxn ang="T11">
                  <a:pos x="T6" y="T7"/>
                </a:cxn>
              </a:cxnLst>
              <a:rect l="T12" t="T13" r="T14" b="T15"/>
              <a:pathLst>
                <a:path w="27" h="35">
                  <a:moveTo>
                    <a:pt x="9" y="34"/>
                  </a:moveTo>
                  <a:lnTo>
                    <a:pt x="9" y="34"/>
                  </a:lnTo>
                  <a:cubicBezTo>
                    <a:pt x="0" y="34"/>
                    <a:pt x="0" y="0"/>
                    <a:pt x="9" y="0"/>
                  </a:cubicBezTo>
                  <a:cubicBezTo>
                    <a:pt x="26" y="0"/>
                    <a:pt x="17" y="34"/>
                    <a:pt x="9" y="3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4" name="Freeform 55"/>
            <p:cNvSpPr>
              <a:spLocks noChangeArrowheads="1"/>
            </p:cNvSpPr>
            <p:nvPr/>
          </p:nvSpPr>
          <p:spPr bwMode="auto">
            <a:xfrm>
              <a:off x="1616075" y="2636838"/>
              <a:ext cx="169863" cy="136525"/>
            </a:xfrm>
            <a:custGeom>
              <a:avLst/>
              <a:gdLst>
                <a:gd name="T0" fmla="*/ 2147483647 w 472"/>
                <a:gd name="T1" fmla="*/ 2147483647 h 379"/>
                <a:gd name="T2" fmla="*/ 2147483647 w 472"/>
                <a:gd name="T3" fmla="*/ 2147483647 h 379"/>
                <a:gd name="T4" fmla="*/ 2147483647 w 472"/>
                <a:gd name="T5" fmla="*/ 2147483647 h 379"/>
                <a:gd name="T6" fmla="*/ 2147483647 w 472"/>
                <a:gd name="T7" fmla="*/ 2147483647 h 379"/>
                <a:gd name="T8" fmla="*/ 2147483647 w 472"/>
                <a:gd name="T9" fmla="*/ 2147483647 h 379"/>
                <a:gd name="T10" fmla="*/ 2147483647 w 472"/>
                <a:gd name="T11" fmla="*/ 2147483647 h 379"/>
                <a:gd name="T12" fmla="*/ 2147483647 w 472"/>
                <a:gd name="T13" fmla="*/ 2147483647 h 379"/>
                <a:gd name="T14" fmla="*/ 2147483647 w 472"/>
                <a:gd name="T15" fmla="*/ 2147483647 h 379"/>
                <a:gd name="T16" fmla="*/ 2147483647 w 472"/>
                <a:gd name="T17" fmla="*/ 0 h 379"/>
                <a:gd name="T18" fmla="*/ 2147483647 w 472"/>
                <a:gd name="T19" fmla="*/ 2147483647 h 379"/>
                <a:gd name="T20" fmla="*/ 2147483647 w 472"/>
                <a:gd name="T21" fmla="*/ 2147483647 h 379"/>
                <a:gd name="T22" fmla="*/ 2147483647 w 472"/>
                <a:gd name="T23" fmla="*/ 2147483647 h 379"/>
                <a:gd name="T24" fmla="*/ 2147483647 w 472"/>
                <a:gd name="T25" fmla="*/ 2147483647 h 379"/>
                <a:gd name="T26" fmla="*/ 2147483647 w 472"/>
                <a:gd name="T27" fmla="*/ 2147483647 h 379"/>
                <a:gd name="T28" fmla="*/ 2147483647 w 472"/>
                <a:gd name="T29" fmla="*/ 2147483647 h 379"/>
                <a:gd name="T30" fmla="*/ 2147483647 w 472"/>
                <a:gd name="T31" fmla="*/ 2147483647 h 379"/>
                <a:gd name="T32" fmla="*/ 2147483647 w 472"/>
                <a:gd name="T33" fmla="*/ 2147483647 h 379"/>
                <a:gd name="T34" fmla="*/ 2147483647 w 472"/>
                <a:gd name="T35" fmla="*/ 2147483647 h 379"/>
                <a:gd name="T36" fmla="*/ 2147483647 w 472"/>
                <a:gd name="T37" fmla="*/ 2147483647 h 379"/>
                <a:gd name="T38" fmla="*/ 2147483647 w 472"/>
                <a:gd name="T39" fmla="*/ 2147483647 h 379"/>
                <a:gd name="T40" fmla="*/ 2147483647 w 472"/>
                <a:gd name="T41" fmla="*/ 2147483647 h 379"/>
                <a:gd name="T42" fmla="*/ 2147483647 w 472"/>
                <a:gd name="T43" fmla="*/ 2147483647 h 379"/>
                <a:gd name="T44" fmla="*/ 2147483647 w 472"/>
                <a:gd name="T45" fmla="*/ 2147483647 h 379"/>
                <a:gd name="T46" fmla="*/ 2147483647 w 472"/>
                <a:gd name="T47" fmla="*/ 2147483647 h 379"/>
                <a:gd name="T48" fmla="*/ 2147483647 w 472"/>
                <a:gd name="T49" fmla="*/ 2147483647 h 379"/>
                <a:gd name="T50" fmla="*/ 2147483647 w 472"/>
                <a:gd name="T51" fmla="*/ 2147483647 h 379"/>
                <a:gd name="T52" fmla="*/ 2147483647 w 472"/>
                <a:gd name="T53" fmla="*/ 2147483647 h 379"/>
                <a:gd name="T54" fmla="*/ 2147483647 w 472"/>
                <a:gd name="T55" fmla="*/ 2147483647 h 379"/>
                <a:gd name="T56" fmla="*/ 2147483647 w 472"/>
                <a:gd name="T57" fmla="*/ 2147483647 h 379"/>
                <a:gd name="T58" fmla="*/ 2147483647 w 472"/>
                <a:gd name="T59" fmla="*/ 2147483647 h 379"/>
                <a:gd name="T60" fmla="*/ 2147483647 w 472"/>
                <a:gd name="T61" fmla="*/ 2147483647 h 379"/>
                <a:gd name="T62" fmla="*/ 2147483647 w 472"/>
                <a:gd name="T63" fmla="*/ 2147483647 h 379"/>
                <a:gd name="T64" fmla="*/ 2147483647 w 472"/>
                <a:gd name="T65" fmla="*/ 2147483647 h 379"/>
                <a:gd name="T66" fmla="*/ 2147483647 w 472"/>
                <a:gd name="T67" fmla="*/ 2147483647 h 379"/>
                <a:gd name="T68" fmla="*/ 2147483647 w 472"/>
                <a:gd name="T69" fmla="*/ 2147483647 h 379"/>
                <a:gd name="T70" fmla="*/ 2147483647 w 472"/>
                <a:gd name="T71" fmla="*/ 2147483647 h 379"/>
                <a:gd name="T72" fmla="*/ 2147483647 w 472"/>
                <a:gd name="T73" fmla="*/ 2147483647 h 37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72"/>
                <a:gd name="T112" fmla="*/ 0 h 379"/>
                <a:gd name="T113" fmla="*/ 472 w 472"/>
                <a:gd name="T114" fmla="*/ 379 h 37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72" h="379">
                  <a:moveTo>
                    <a:pt x="437" y="198"/>
                  </a:moveTo>
                  <a:lnTo>
                    <a:pt x="437" y="198"/>
                  </a:lnTo>
                  <a:cubicBezTo>
                    <a:pt x="428" y="189"/>
                    <a:pt x="411" y="189"/>
                    <a:pt x="428" y="180"/>
                  </a:cubicBezTo>
                  <a:cubicBezTo>
                    <a:pt x="445" y="172"/>
                    <a:pt x="471" y="189"/>
                    <a:pt x="445" y="172"/>
                  </a:cubicBezTo>
                  <a:cubicBezTo>
                    <a:pt x="411" y="146"/>
                    <a:pt x="411" y="129"/>
                    <a:pt x="411" y="112"/>
                  </a:cubicBezTo>
                  <a:cubicBezTo>
                    <a:pt x="402" y="86"/>
                    <a:pt x="411" y="43"/>
                    <a:pt x="402" y="43"/>
                  </a:cubicBezTo>
                  <a:cubicBezTo>
                    <a:pt x="385" y="52"/>
                    <a:pt x="360" y="9"/>
                    <a:pt x="351" y="9"/>
                  </a:cubicBezTo>
                  <a:cubicBezTo>
                    <a:pt x="334" y="9"/>
                    <a:pt x="282" y="35"/>
                    <a:pt x="274" y="17"/>
                  </a:cubicBezTo>
                  <a:cubicBezTo>
                    <a:pt x="265" y="9"/>
                    <a:pt x="265" y="9"/>
                    <a:pt x="257" y="0"/>
                  </a:cubicBezTo>
                  <a:cubicBezTo>
                    <a:pt x="240" y="9"/>
                    <a:pt x="222" y="17"/>
                    <a:pt x="214" y="17"/>
                  </a:cubicBezTo>
                  <a:cubicBezTo>
                    <a:pt x="205" y="26"/>
                    <a:pt x="197" y="26"/>
                    <a:pt x="188" y="35"/>
                  </a:cubicBezTo>
                  <a:cubicBezTo>
                    <a:pt x="171" y="35"/>
                    <a:pt x="171" y="26"/>
                    <a:pt x="162" y="43"/>
                  </a:cubicBezTo>
                  <a:cubicBezTo>
                    <a:pt x="154" y="52"/>
                    <a:pt x="137" y="95"/>
                    <a:pt x="128" y="103"/>
                  </a:cubicBezTo>
                  <a:cubicBezTo>
                    <a:pt x="120" y="112"/>
                    <a:pt x="102" y="112"/>
                    <a:pt x="94" y="112"/>
                  </a:cubicBezTo>
                  <a:cubicBezTo>
                    <a:pt x="94" y="112"/>
                    <a:pt x="60" y="103"/>
                    <a:pt x="60" y="112"/>
                  </a:cubicBezTo>
                  <a:cubicBezTo>
                    <a:pt x="68" y="120"/>
                    <a:pt x="85" y="138"/>
                    <a:pt x="85" y="146"/>
                  </a:cubicBezTo>
                  <a:cubicBezTo>
                    <a:pt x="85" y="155"/>
                    <a:pt x="60" y="146"/>
                    <a:pt x="60" y="155"/>
                  </a:cubicBezTo>
                  <a:cubicBezTo>
                    <a:pt x="51" y="163"/>
                    <a:pt x="42" y="155"/>
                    <a:pt x="42" y="155"/>
                  </a:cubicBezTo>
                  <a:cubicBezTo>
                    <a:pt x="42" y="155"/>
                    <a:pt x="42" y="146"/>
                    <a:pt x="34" y="155"/>
                  </a:cubicBezTo>
                  <a:cubicBezTo>
                    <a:pt x="25" y="163"/>
                    <a:pt x="0" y="172"/>
                    <a:pt x="8" y="189"/>
                  </a:cubicBezTo>
                  <a:cubicBezTo>
                    <a:pt x="17" y="206"/>
                    <a:pt x="25" y="232"/>
                    <a:pt x="34" y="249"/>
                  </a:cubicBezTo>
                  <a:cubicBezTo>
                    <a:pt x="42" y="257"/>
                    <a:pt x="60" y="283"/>
                    <a:pt x="77" y="292"/>
                  </a:cubicBezTo>
                  <a:cubicBezTo>
                    <a:pt x="94" y="300"/>
                    <a:pt x="111" y="309"/>
                    <a:pt x="120" y="300"/>
                  </a:cubicBezTo>
                  <a:cubicBezTo>
                    <a:pt x="128" y="292"/>
                    <a:pt x="154" y="283"/>
                    <a:pt x="154" y="266"/>
                  </a:cubicBezTo>
                  <a:cubicBezTo>
                    <a:pt x="154" y="249"/>
                    <a:pt x="171" y="249"/>
                    <a:pt x="179" y="240"/>
                  </a:cubicBezTo>
                  <a:cubicBezTo>
                    <a:pt x="188" y="232"/>
                    <a:pt x="214" y="240"/>
                    <a:pt x="214" y="257"/>
                  </a:cubicBezTo>
                  <a:cubicBezTo>
                    <a:pt x="214" y="266"/>
                    <a:pt x="214" y="292"/>
                    <a:pt x="222" y="300"/>
                  </a:cubicBezTo>
                  <a:cubicBezTo>
                    <a:pt x="231" y="309"/>
                    <a:pt x="248" y="292"/>
                    <a:pt x="240" y="309"/>
                  </a:cubicBezTo>
                  <a:cubicBezTo>
                    <a:pt x="231" y="335"/>
                    <a:pt x="222" y="352"/>
                    <a:pt x="231" y="352"/>
                  </a:cubicBezTo>
                  <a:cubicBezTo>
                    <a:pt x="240" y="352"/>
                    <a:pt x="265" y="360"/>
                    <a:pt x="274" y="352"/>
                  </a:cubicBezTo>
                  <a:cubicBezTo>
                    <a:pt x="282" y="343"/>
                    <a:pt x="282" y="343"/>
                    <a:pt x="300" y="352"/>
                  </a:cubicBezTo>
                  <a:cubicBezTo>
                    <a:pt x="308" y="352"/>
                    <a:pt x="317" y="369"/>
                    <a:pt x="325" y="378"/>
                  </a:cubicBezTo>
                  <a:cubicBezTo>
                    <a:pt x="334" y="378"/>
                    <a:pt x="342" y="378"/>
                    <a:pt x="351" y="369"/>
                  </a:cubicBezTo>
                  <a:cubicBezTo>
                    <a:pt x="351" y="360"/>
                    <a:pt x="377" y="326"/>
                    <a:pt x="394" y="326"/>
                  </a:cubicBezTo>
                  <a:cubicBezTo>
                    <a:pt x="402" y="326"/>
                    <a:pt x="411" y="352"/>
                    <a:pt x="428" y="326"/>
                  </a:cubicBezTo>
                  <a:cubicBezTo>
                    <a:pt x="445" y="309"/>
                    <a:pt x="462" y="283"/>
                    <a:pt x="462" y="249"/>
                  </a:cubicBezTo>
                  <a:cubicBezTo>
                    <a:pt x="462" y="223"/>
                    <a:pt x="454" y="215"/>
                    <a:pt x="437" y="19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5" name="Freeform 56"/>
            <p:cNvSpPr>
              <a:spLocks noChangeArrowheads="1"/>
            </p:cNvSpPr>
            <p:nvPr/>
          </p:nvSpPr>
          <p:spPr bwMode="auto">
            <a:xfrm>
              <a:off x="1403350" y="2619375"/>
              <a:ext cx="330200" cy="368300"/>
            </a:xfrm>
            <a:custGeom>
              <a:avLst/>
              <a:gdLst>
                <a:gd name="T0" fmla="*/ 2147483647 w 918"/>
                <a:gd name="T1" fmla="*/ 2147483647 h 1021"/>
                <a:gd name="T2" fmla="*/ 2147483647 w 918"/>
                <a:gd name="T3" fmla="*/ 2147483647 h 1021"/>
                <a:gd name="T4" fmla="*/ 2147483647 w 918"/>
                <a:gd name="T5" fmla="*/ 2147483647 h 1021"/>
                <a:gd name="T6" fmla="*/ 2147483647 w 918"/>
                <a:gd name="T7" fmla="*/ 2147483647 h 1021"/>
                <a:gd name="T8" fmla="*/ 2147483647 w 918"/>
                <a:gd name="T9" fmla="*/ 2147483647 h 1021"/>
                <a:gd name="T10" fmla="*/ 2147483647 w 918"/>
                <a:gd name="T11" fmla="*/ 2147483647 h 1021"/>
                <a:gd name="T12" fmla="*/ 2147483647 w 918"/>
                <a:gd name="T13" fmla="*/ 2147483647 h 1021"/>
                <a:gd name="T14" fmla="*/ 2147483647 w 918"/>
                <a:gd name="T15" fmla="*/ 2147483647 h 1021"/>
                <a:gd name="T16" fmla="*/ 2147483647 w 918"/>
                <a:gd name="T17" fmla="*/ 2147483647 h 1021"/>
                <a:gd name="T18" fmla="*/ 2147483647 w 918"/>
                <a:gd name="T19" fmla="*/ 2147483647 h 1021"/>
                <a:gd name="T20" fmla="*/ 2147483647 w 918"/>
                <a:gd name="T21" fmla="*/ 2147483647 h 1021"/>
                <a:gd name="T22" fmla="*/ 2147483647 w 918"/>
                <a:gd name="T23" fmla="*/ 2147483647 h 1021"/>
                <a:gd name="T24" fmla="*/ 2147483647 w 918"/>
                <a:gd name="T25" fmla="*/ 0 h 1021"/>
                <a:gd name="T26" fmla="*/ 2147483647 w 918"/>
                <a:gd name="T27" fmla="*/ 2147483647 h 1021"/>
                <a:gd name="T28" fmla="*/ 2147483647 w 918"/>
                <a:gd name="T29" fmla="*/ 2147483647 h 1021"/>
                <a:gd name="T30" fmla="*/ 2147483647 w 918"/>
                <a:gd name="T31" fmla="*/ 2147483647 h 1021"/>
                <a:gd name="T32" fmla="*/ 2147483647 w 918"/>
                <a:gd name="T33" fmla="*/ 2147483647 h 1021"/>
                <a:gd name="T34" fmla="*/ 2147483647 w 918"/>
                <a:gd name="T35" fmla="*/ 2147483647 h 1021"/>
                <a:gd name="T36" fmla="*/ 2147483647 w 918"/>
                <a:gd name="T37" fmla="*/ 2147483647 h 1021"/>
                <a:gd name="T38" fmla="*/ 2147483647 w 918"/>
                <a:gd name="T39" fmla="*/ 2147483647 h 1021"/>
                <a:gd name="T40" fmla="*/ 2147483647 w 918"/>
                <a:gd name="T41" fmla="*/ 2147483647 h 1021"/>
                <a:gd name="T42" fmla="*/ 2147483647 w 918"/>
                <a:gd name="T43" fmla="*/ 2147483647 h 1021"/>
                <a:gd name="T44" fmla="*/ 2147483647 w 918"/>
                <a:gd name="T45" fmla="*/ 2147483647 h 1021"/>
                <a:gd name="T46" fmla="*/ 2147483647 w 918"/>
                <a:gd name="T47" fmla="*/ 2147483647 h 1021"/>
                <a:gd name="T48" fmla="*/ 2147483647 w 918"/>
                <a:gd name="T49" fmla="*/ 2147483647 h 1021"/>
                <a:gd name="T50" fmla="*/ 2147483647 w 918"/>
                <a:gd name="T51" fmla="*/ 2147483647 h 1021"/>
                <a:gd name="T52" fmla="*/ 2147483647 w 918"/>
                <a:gd name="T53" fmla="*/ 2147483647 h 1021"/>
                <a:gd name="T54" fmla="*/ 2147483647 w 918"/>
                <a:gd name="T55" fmla="*/ 2147483647 h 1021"/>
                <a:gd name="T56" fmla="*/ 2147483647 w 918"/>
                <a:gd name="T57" fmla="*/ 2147483647 h 1021"/>
                <a:gd name="T58" fmla="*/ 2147483647 w 918"/>
                <a:gd name="T59" fmla="*/ 2147483647 h 1021"/>
                <a:gd name="T60" fmla="*/ 2147483647 w 918"/>
                <a:gd name="T61" fmla="*/ 2147483647 h 1021"/>
                <a:gd name="T62" fmla="*/ 2147483647 w 918"/>
                <a:gd name="T63" fmla="*/ 2147483647 h 1021"/>
                <a:gd name="T64" fmla="*/ 2147483647 w 918"/>
                <a:gd name="T65" fmla="*/ 2147483647 h 1021"/>
                <a:gd name="T66" fmla="*/ 2147483647 w 918"/>
                <a:gd name="T67" fmla="*/ 2147483647 h 1021"/>
                <a:gd name="T68" fmla="*/ 2147483647 w 918"/>
                <a:gd name="T69" fmla="*/ 2147483647 h 1021"/>
                <a:gd name="T70" fmla="*/ 2147483647 w 918"/>
                <a:gd name="T71" fmla="*/ 2147483647 h 1021"/>
                <a:gd name="T72" fmla="*/ 2147483647 w 918"/>
                <a:gd name="T73" fmla="*/ 2147483647 h 1021"/>
                <a:gd name="T74" fmla="*/ 2147483647 w 918"/>
                <a:gd name="T75" fmla="*/ 2147483647 h 1021"/>
                <a:gd name="T76" fmla="*/ 2147483647 w 918"/>
                <a:gd name="T77" fmla="*/ 2147483647 h 1021"/>
                <a:gd name="T78" fmla="*/ 2147483647 w 918"/>
                <a:gd name="T79" fmla="*/ 2147483647 h 1021"/>
                <a:gd name="T80" fmla="*/ 2147483647 w 918"/>
                <a:gd name="T81" fmla="*/ 2147483647 h 1021"/>
                <a:gd name="T82" fmla="*/ 2147483647 w 918"/>
                <a:gd name="T83" fmla="*/ 2147483647 h 1021"/>
                <a:gd name="T84" fmla="*/ 2147483647 w 918"/>
                <a:gd name="T85" fmla="*/ 2147483647 h 1021"/>
                <a:gd name="T86" fmla="*/ 2147483647 w 918"/>
                <a:gd name="T87" fmla="*/ 2147483647 h 1021"/>
                <a:gd name="T88" fmla="*/ 2147483647 w 918"/>
                <a:gd name="T89" fmla="*/ 2147483647 h 1021"/>
                <a:gd name="T90" fmla="*/ 2147483647 w 918"/>
                <a:gd name="T91" fmla="*/ 2147483647 h 1021"/>
                <a:gd name="T92" fmla="*/ 2147483647 w 918"/>
                <a:gd name="T93" fmla="*/ 2147483647 h 1021"/>
                <a:gd name="T94" fmla="*/ 2147483647 w 918"/>
                <a:gd name="T95" fmla="*/ 2147483647 h 1021"/>
                <a:gd name="T96" fmla="*/ 2147483647 w 918"/>
                <a:gd name="T97" fmla="*/ 2147483647 h 1021"/>
                <a:gd name="T98" fmla="*/ 2147483647 w 918"/>
                <a:gd name="T99" fmla="*/ 2147483647 h 1021"/>
                <a:gd name="T100" fmla="*/ 2147483647 w 918"/>
                <a:gd name="T101" fmla="*/ 2147483647 h 1021"/>
                <a:gd name="T102" fmla="*/ 2147483647 w 918"/>
                <a:gd name="T103" fmla="*/ 2147483647 h 1021"/>
                <a:gd name="T104" fmla="*/ 2147483647 w 918"/>
                <a:gd name="T105" fmla="*/ 2147483647 h 1021"/>
                <a:gd name="T106" fmla="*/ 2147483647 w 918"/>
                <a:gd name="T107" fmla="*/ 2147483647 h 1021"/>
                <a:gd name="T108" fmla="*/ 2147483647 w 918"/>
                <a:gd name="T109" fmla="*/ 2147483647 h 1021"/>
                <a:gd name="T110" fmla="*/ 2147483647 w 918"/>
                <a:gd name="T111" fmla="*/ 2147483647 h 1021"/>
                <a:gd name="T112" fmla="*/ 2147483647 w 918"/>
                <a:gd name="T113" fmla="*/ 2147483647 h 1021"/>
                <a:gd name="T114" fmla="*/ 2147483647 w 918"/>
                <a:gd name="T115" fmla="*/ 2147483647 h 10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18"/>
                <a:gd name="T175" fmla="*/ 0 h 1021"/>
                <a:gd name="T176" fmla="*/ 918 w 918"/>
                <a:gd name="T177" fmla="*/ 1021 h 10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18" h="1021">
                  <a:moveTo>
                    <a:pt x="892" y="403"/>
                  </a:moveTo>
                  <a:lnTo>
                    <a:pt x="892" y="403"/>
                  </a:lnTo>
                  <a:cubicBezTo>
                    <a:pt x="874" y="394"/>
                    <a:pt x="874" y="394"/>
                    <a:pt x="866" y="403"/>
                  </a:cubicBezTo>
                  <a:cubicBezTo>
                    <a:pt x="857" y="411"/>
                    <a:pt x="832" y="403"/>
                    <a:pt x="823" y="403"/>
                  </a:cubicBezTo>
                  <a:cubicBezTo>
                    <a:pt x="814" y="403"/>
                    <a:pt x="823" y="386"/>
                    <a:pt x="832" y="360"/>
                  </a:cubicBezTo>
                  <a:cubicBezTo>
                    <a:pt x="840" y="343"/>
                    <a:pt x="823" y="360"/>
                    <a:pt x="814" y="351"/>
                  </a:cubicBezTo>
                  <a:cubicBezTo>
                    <a:pt x="806" y="343"/>
                    <a:pt x="806" y="317"/>
                    <a:pt x="806" y="308"/>
                  </a:cubicBezTo>
                  <a:cubicBezTo>
                    <a:pt x="806" y="291"/>
                    <a:pt x="780" y="283"/>
                    <a:pt x="771" y="291"/>
                  </a:cubicBezTo>
                  <a:cubicBezTo>
                    <a:pt x="763" y="300"/>
                    <a:pt x="746" y="300"/>
                    <a:pt x="746" y="317"/>
                  </a:cubicBezTo>
                  <a:cubicBezTo>
                    <a:pt x="746" y="334"/>
                    <a:pt x="720" y="343"/>
                    <a:pt x="712" y="351"/>
                  </a:cubicBezTo>
                  <a:cubicBezTo>
                    <a:pt x="703" y="360"/>
                    <a:pt x="686" y="351"/>
                    <a:pt x="669" y="343"/>
                  </a:cubicBezTo>
                  <a:cubicBezTo>
                    <a:pt x="652" y="334"/>
                    <a:pt x="634" y="308"/>
                    <a:pt x="626" y="300"/>
                  </a:cubicBezTo>
                  <a:cubicBezTo>
                    <a:pt x="617" y="283"/>
                    <a:pt x="609" y="257"/>
                    <a:pt x="600" y="240"/>
                  </a:cubicBezTo>
                  <a:cubicBezTo>
                    <a:pt x="592" y="223"/>
                    <a:pt x="617" y="214"/>
                    <a:pt x="626" y="206"/>
                  </a:cubicBezTo>
                  <a:cubicBezTo>
                    <a:pt x="634" y="197"/>
                    <a:pt x="634" y="206"/>
                    <a:pt x="634" y="206"/>
                  </a:cubicBezTo>
                  <a:cubicBezTo>
                    <a:pt x="634" y="206"/>
                    <a:pt x="643" y="214"/>
                    <a:pt x="652" y="206"/>
                  </a:cubicBezTo>
                  <a:cubicBezTo>
                    <a:pt x="652" y="197"/>
                    <a:pt x="677" y="206"/>
                    <a:pt x="677" y="197"/>
                  </a:cubicBezTo>
                  <a:cubicBezTo>
                    <a:pt x="677" y="189"/>
                    <a:pt x="660" y="171"/>
                    <a:pt x="652" y="163"/>
                  </a:cubicBezTo>
                  <a:cubicBezTo>
                    <a:pt x="652" y="154"/>
                    <a:pt x="686" y="163"/>
                    <a:pt x="686" y="163"/>
                  </a:cubicBezTo>
                  <a:cubicBezTo>
                    <a:pt x="694" y="163"/>
                    <a:pt x="712" y="163"/>
                    <a:pt x="720" y="154"/>
                  </a:cubicBezTo>
                  <a:cubicBezTo>
                    <a:pt x="729" y="146"/>
                    <a:pt x="746" y="103"/>
                    <a:pt x="754" y="94"/>
                  </a:cubicBezTo>
                  <a:cubicBezTo>
                    <a:pt x="763" y="77"/>
                    <a:pt x="763" y="86"/>
                    <a:pt x="780" y="86"/>
                  </a:cubicBezTo>
                  <a:cubicBezTo>
                    <a:pt x="789" y="77"/>
                    <a:pt x="797" y="77"/>
                    <a:pt x="806" y="68"/>
                  </a:cubicBezTo>
                  <a:cubicBezTo>
                    <a:pt x="814" y="68"/>
                    <a:pt x="832" y="60"/>
                    <a:pt x="849" y="51"/>
                  </a:cubicBezTo>
                  <a:cubicBezTo>
                    <a:pt x="849" y="43"/>
                    <a:pt x="849" y="43"/>
                    <a:pt x="849" y="43"/>
                  </a:cubicBezTo>
                  <a:cubicBezTo>
                    <a:pt x="832" y="26"/>
                    <a:pt x="814" y="0"/>
                    <a:pt x="806" y="0"/>
                  </a:cubicBezTo>
                  <a:cubicBezTo>
                    <a:pt x="797" y="9"/>
                    <a:pt x="780" y="17"/>
                    <a:pt x="763" y="17"/>
                  </a:cubicBezTo>
                  <a:cubicBezTo>
                    <a:pt x="754" y="26"/>
                    <a:pt x="763" y="60"/>
                    <a:pt x="754" y="51"/>
                  </a:cubicBezTo>
                  <a:cubicBezTo>
                    <a:pt x="746" y="43"/>
                    <a:pt x="746" y="9"/>
                    <a:pt x="729" y="17"/>
                  </a:cubicBezTo>
                  <a:cubicBezTo>
                    <a:pt x="720" y="17"/>
                    <a:pt x="712" y="60"/>
                    <a:pt x="712" y="51"/>
                  </a:cubicBezTo>
                  <a:cubicBezTo>
                    <a:pt x="712" y="34"/>
                    <a:pt x="703" y="17"/>
                    <a:pt x="694" y="26"/>
                  </a:cubicBezTo>
                  <a:cubicBezTo>
                    <a:pt x="694" y="34"/>
                    <a:pt x="694" y="68"/>
                    <a:pt x="686" y="51"/>
                  </a:cubicBezTo>
                  <a:cubicBezTo>
                    <a:pt x="686" y="26"/>
                    <a:pt x="686" y="9"/>
                    <a:pt x="677" y="17"/>
                  </a:cubicBezTo>
                  <a:cubicBezTo>
                    <a:pt x="660" y="26"/>
                    <a:pt x="652" y="26"/>
                    <a:pt x="643" y="26"/>
                  </a:cubicBezTo>
                  <a:cubicBezTo>
                    <a:pt x="626" y="26"/>
                    <a:pt x="592" y="60"/>
                    <a:pt x="592" y="60"/>
                  </a:cubicBezTo>
                  <a:cubicBezTo>
                    <a:pt x="592" y="60"/>
                    <a:pt x="583" y="86"/>
                    <a:pt x="592" y="94"/>
                  </a:cubicBezTo>
                  <a:cubicBezTo>
                    <a:pt x="600" y="103"/>
                    <a:pt x="592" y="103"/>
                    <a:pt x="583" y="103"/>
                  </a:cubicBezTo>
                  <a:cubicBezTo>
                    <a:pt x="566" y="103"/>
                    <a:pt x="583" y="120"/>
                    <a:pt x="574" y="120"/>
                  </a:cubicBezTo>
                  <a:cubicBezTo>
                    <a:pt x="557" y="120"/>
                    <a:pt x="549" y="111"/>
                    <a:pt x="540" y="111"/>
                  </a:cubicBezTo>
                  <a:cubicBezTo>
                    <a:pt x="523" y="120"/>
                    <a:pt x="506" y="120"/>
                    <a:pt x="514" y="137"/>
                  </a:cubicBezTo>
                  <a:cubicBezTo>
                    <a:pt x="523" y="154"/>
                    <a:pt x="523" y="163"/>
                    <a:pt x="549" y="163"/>
                  </a:cubicBezTo>
                  <a:cubicBezTo>
                    <a:pt x="566" y="171"/>
                    <a:pt x="566" y="171"/>
                    <a:pt x="583" y="171"/>
                  </a:cubicBezTo>
                  <a:cubicBezTo>
                    <a:pt x="592" y="171"/>
                    <a:pt x="617" y="171"/>
                    <a:pt x="600" y="189"/>
                  </a:cubicBezTo>
                  <a:cubicBezTo>
                    <a:pt x="592" y="197"/>
                    <a:pt x="600" y="214"/>
                    <a:pt x="592" y="214"/>
                  </a:cubicBezTo>
                  <a:cubicBezTo>
                    <a:pt x="574" y="214"/>
                    <a:pt x="523" y="223"/>
                    <a:pt x="514" y="223"/>
                  </a:cubicBezTo>
                  <a:cubicBezTo>
                    <a:pt x="506" y="231"/>
                    <a:pt x="506" y="231"/>
                    <a:pt x="514" y="249"/>
                  </a:cubicBezTo>
                  <a:cubicBezTo>
                    <a:pt x="523" y="257"/>
                    <a:pt x="523" y="283"/>
                    <a:pt x="506" y="274"/>
                  </a:cubicBezTo>
                  <a:cubicBezTo>
                    <a:pt x="489" y="266"/>
                    <a:pt x="472" y="257"/>
                    <a:pt x="454" y="249"/>
                  </a:cubicBezTo>
                  <a:cubicBezTo>
                    <a:pt x="446" y="240"/>
                    <a:pt x="446" y="231"/>
                    <a:pt x="437" y="240"/>
                  </a:cubicBezTo>
                  <a:cubicBezTo>
                    <a:pt x="420" y="249"/>
                    <a:pt x="412" y="274"/>
                    <a:pt x="403" y="257"/>
                  </a:cubicBezTo>
                  <a:cubicBezTo>
                    <a:pt x="394" y="240"/>
                    <a:pt x="386" y="214"/>
                    <a:pt x="377" y="206"/>
                  </a:cubicBezTo>
                  <a:cubicBezTo>
                    <a:pt x="369" y="206"/>
                    <a:pt x="343" y="206"/>
                    <a:pt x="326" y="197"/>
                  </a:cubicBezTo>
                  <a:cubicBezTo>
                    <a:pt x="309" y="197"/>
                    <a:pt x="309" y="206"/>
                    <a:pt x="300" y="206"/>
                  </a:cubicBezTo>
                  <a:cubicBezTo>
                    <a:pt x="283" y="214"/>
                    <a:pt x="266" y="223"/>
                    <a:pt x="266" y="231"/>
                  </a:cubicBezTo>
                  <a:cubicBezTo>
                    <a:pt x="266" y="249"/>
                    <a:pt x="274" y="274"/>
                    <a:pt x="266" y="274"/>
                  </a:cubicBezTo>
                  <a:cubicBezTo>
                    <a:pt x="257" y="274"/>
                    <a:pt x="240" y="266"/>
                    <a:pt x="232" y="266"/>
                  </a:cubicBezTo>
                  <a:cubicBezTo>
                    <a:pt x="223" y="266"/>
                    <a:pt x="240" y="291"/>
                    <a:pt x="240" y="291"/>
                  </a:cubicBezTo>
                  <a:cubicBezTo>
                    <a:pt x="240" y="291"/>
                    <a:pt x="257" y="291"/>
                    <a:pt x="266" y="291"/>
                  </a:cubicBezTo>
                  <a:cubicBezTo>
                    <a:pt x="274" y="291"/>
                    <a:pt x="257" y="300"/>
                    <a:pt x="257" y="308"/>
                  </a:cubicBezTo>
                  <a:cubicBezTo>
                    <a:pt x="257" y="317"/>
                    <a:pt x="249" y="326"/>
                    <a:pt x="274" y="326"/>
                  </a:cubicBezTo>
                  <a:cubicBezTo>
                    <a:pt x="291" y="326"/>
                    <a:pt x="309" y="326"/>
                    <a:pt x="309" y="334"/>
                  </a:cubicBezTo>
                  <a:cubicBezTo>
                    <a:pt x="300" y="343"/>
                    <a:pt x="240" y="334"/>
                    <a:pt x="240" y="360"/>
                  </a:cubicBezTo>
                  <a:cubicBezTo>
                    <a:pt x="240" y="377"/>
                    <a:pt x="249" y="394"/>
                    <a:pt x="257" y="394"/>
                  </a:cubicBezTo>
                  <a:cubicBezTo>
                    <a:pt x="257" y="403"/>
                    <a:pt x="240" y="394"/>
                    <a:pt x="223" y="394"/>
                  </a:cubicBezTo>
                  <a:cubicBezTo>
                    <a:pt x="214" y="394"/>
                    <a:pt x="197" y="420"/>
                    <a:pt x="197" y="429"/>
                  </a:cubicBezTo>
                  <a:cubicBezTo>
                    <a:pt x="197" y="437"/>
                    <a:pt x="206" y="437"/>
                    <a:pt x="214" y="446"/>
                  </a:cubicBezTo>
                  <a:cubicBezTo>
                    <a:pt x="214" y="454"/>
                    <a:pt x="223" y="471"/>
                    <a:pt x="240" y="471"/>
                  </a:cubicBezTo>
                  <a:cubicBezTo>
                    <a:pt x="266" y="471"/>
                    <a:pt x="274" y="463"/>
                    <a:pt x="266" y="480"/>
                  </a:cubicBezTo>
                  <a:cubicBezTo>
                    <a:pt x="266" y="497"/>
                    <a:pt x="257" y="514"/>
                    <a:pt x="283" y="523"/>
                  </a:cubicBezTo>
                  <a:cubicBezTo>
                    <a:pt x="300" y="523"/>
                    <a:pt x="369" y="523"/>
                    <a:pt x="360" y="540"/>
                  </a:cubicBezTo>
                  <a:cubicBezTo>
                    <a:pt x="360" y="557"/>
                    <a:pt x="377" y="566"/>
                    <a:pt x="343" y="566"/>
                  </a:cubicBezTo>
                  <a:cubicBezTo>
                    <a:pt x="317" y="557"/>
                    <a:pt x="317" y="540"/>
                    <a:pt x="300" y="557"/>
                  </a:cubicBezTo>
                  <a:cubicBezTo>
                    <a:pt x="291" y="574"/>
                    <a:pt x="266" y="600"/>
                    <a:pt x="266" y="609"/>
                  </a:cubicBezTo>
                  <a:cubicBezTo>
                    <a:pt x="266" y="626"/>
                    <a:pt x="232" y="660"/>
                    <a:pt x="206" y="669"/>
                  </a:cubicBezTo>
                  <a:cubicBezTo>
                    <a:pt x="189" y="686"/>
                    <a:pt x="146" y="686"/>
                    <a:pt x="172" y="694"/>
                  </a:cubicBezTo>
                  <a:cubicBezTo>
                    <a:pt x="197" y="694"/>
                    <a:pt x="214" y="694"/>
                    <a:pt x="240" y="703"/>
                  </a:cubicBezTo>
                  <a:cubicBezTo>
                    <a:pt x="274" y="711"/>
                    <a:pt x="309" y="694"/>
                    <a:pt x="309" y="694"/>
                  </a:cubicBezTo>
                  <a:cubicBezTo>
                    <a:pt x="309" y="694"/>
                    <a:pt x="300" y="711"/>
                    <a:pt x="274" y="711"/>
                  </a:cubicBezTo>
                  <a:cubicBezTo>
                    <a:pt x="240" y="711"/>
                    <a:pt x="214" y="703"/>
                    <a:pt x="197" y="711"/>
                  </a:cubicBezTo>
                  <a:cubicBezTo>
                    <a:pt x="189" y="720"/>
                    <a:pt x="172" y="729"/>
                    <a:pt x="154" y="737"/>
                  </a:cubicBezTo>
                  <a:cubicBezTo>
                    <a:pt x="146" y="737"/>
                    <a:pt x="137" y="746"/>
                    <a:pt x="137" y="754"/>
                  </a:cubicBezTo>
                  <a:cubicBezTo>
                    <a:pt x="137" y="763"/>
                    <a:pt x="137" y="771"/>
                    <a:pt x="129" y="771"/>
                  </a:cubicBezTo>
                  <a:cubicBezTo>
                    <a:pt x="112" y="771"/>
                    <a:pt x="103" y="754"/>
                    <a:pt x="77" y="754"/>
                  </a:cubicBezTo>
                  <a:cubicBezTo>
                    <a:pt x="43" y="754"/>
                    <a:pt x="0" y="780"/>
                    <a:pt x="26" y="788"/>
                  </a:cubicBezTo>
                  <a:cubicBezTo>
                    <a:pt x="51" y="797"/>
                    <a:pt x="69" y="806"/>
                    <a:pt x="94" y="806"/>
                  </a:cubicBezTo>
                  <a:cubicBezTo>
                    <a:pt x="120" y="806"/>
                    <a:pt x="129" y="806"/>
                    <a:pt x="129" y="814"/>
                  </a:cubicBezTo>
                  <a:cubicBezTo>
                    <a:pt x="120" y="832"/>
                    <a:pt x="112" y="840"/>
                    <a:pt x="86" y="840"/>
                  </a:cubicBezTo>
                  <a:cubicBezTo>
                    <a:pt x="51" y="840"/>
                    <a:pt x="34" y="840"/>
                    <a:pt x="34" y="849"/>
                  </a:cubicBezTo>
                  <a:cubicBezTo>
                    <a:pt x="34" y="857"/>
                    <a:pt x="17" y="857"/>
                    <a:pt x="34" y="874"/>
                  </a:cubicBezTo>
                  <a:cubicBezTo>
                    <a:pt x="43" y="883"/>
                    <a:pt x="34" y="909"/>
                    <a:pt x="69" y="909"/>
                  </a:cubicBezTo>
                  <a:cubicBezTo>
                    <a:pt x="103" y="909"/>
                    <a:pt x="146" y="891"/>
                    <a:pt x="129" y="909"/>
                  </a:cubicBezTo>
                  <a:cubicBezTo>
                    <a:pt x="112" y="917"/>
                    <a:pt x="94" y="926"/>
                    <a:pt x="77" y="926"/>
                  </a:cubicBezTo>
                  <a:cubicBezTo>
                    <a:pt x="60" y="934"/>
                    <a:pt x="17" y="951"/>
                    <a:pt x="51" y="951"/>
                  </a:cubicBezTo>
                  <a:cubicBezTo>
                    <a:pt x="77" y="951"/>
                    <a:pt x="120" y="960"/>
                    <a:pt x="137" y="951"/>
                  </a:cubicBezTo>
                  <a:cubicBezTo>
                    <a:pt x="154" y="943"/>
                    <a:pt x="172" y="943"/>
                    <a:pt x="154" y="951"/>
                  </a:cubicBezTo>
                  <a:cubicBezTo>
                    <a:pt x="137" y="969"/>
                    <a:pt x="94" y="969"/>
                    <a:pt x="86" y="986"/>
                  </a:cubicBezTo>
                  <a:cubicBezTo>
                    <a:pt x="86" y="1003"/>
                    <a:pt x="112" y="1011"/>
                    <a:pt x="129" y="1003"/>
                  </a:cubicBezTo>
                  <a:cubicBezTo>
                    <a:pt x="146" y="1003"/>
                    <a:pt x="146" y="1011"/>
                    <a:pt x="180" y="1011"/>
                  </a:cubicBezTo>
                  <a:cubicBezTo>
                    <a:pt x="214" y="1020"/>
                    <a:pt x="266" y="1011"/>
                    <a:pt x="300" y="1011"/>
                  </a:cubicBezTo>
                  <a:cubicBezTo>
                    <a:pt x="334" y="1003"/>
                    <a:pt x="377" y="1011"/>
                    <a:pt x="377" y="994"/>
                  </a:cubicBezTo>
                  <a:cubicBezTo>
                    <a:pt x="377" y="977"/>
                    <a:pt x="377" y="960"/>
                    <a:pt x="386" y="960"/>
                  </a:cubicBezTo>
                  <a:cubicBezTo>
                    <a:pt x="394" y="969"/>
                    <a:pt x="377" y="986"/>
                    <a:pt x="403" y="986"/>
                  </a:cubicBezTo>
                  <a:cubicBezTo>
                    <a:pt x="437" y="986"/>
                    <a:pt x="463" y="969"/>
                    <a:pt x="497" y="960"/>
                  </a:cubicBezTo>
                  <a:cubicBezTo>
                    <a:pt x="531" y="951"/>
                    <a:pt x="523" y="926"/>
                    <a:pt x="557" y="926"/>
                  </a:cubicBezTo>
                  <a:cubicBezTo>
                    <a:pt x="583" y="934"/>
                    <a:pt x="626" y="951"/>
                    <a:pt x="634" y="943"/>
                  </a:cubicBezTo>
                  <a:cubicBezTo>
                    <a:pt x="652" y="934"/>
                    <a:pt x="677" y="917"/>
                    <a:pt x="694" y="934"/>
                  </a:cubicBezTo>
                  <a:cubicBezTo>
                    <a:pt x="712" y="951"/>
                    <a:pt x="746" y="969"/>
                    <a:pt x="754" y="951"/>
                  </a:cubicBezTo>
                  <a:cubicBezTo>
                    <a:pt x="754" y="934"/>
                    <a:pt x="729" y="917"/>
                    <a:pt x="746" y="900"/>
                  </a:cubicBezTo>
                  <a:cubicBezTo>
                    <a:pt x="763" y="891"/>
                    <a:pt x="797" y="866"/>
                    <a:pt x="806" y="840"/>
                  </a:cubicBezTo>
                  <a:cubicBezTo>
                    <a:pt x="814" y="823"/>
                    <a:pt x="806" y="814"/>
                    <a:pt x="832" y="797"/>
                  </a:cubicBezTo>
                  <a:cubicBezTo>
                    <a:pt x="849" y="788"/>
                    <a:pt x="866" y="763"/>
                    <a:pt x="866" y="729"/>
                  </a:cubicBezTo>
                  <a:cubicBezTo>
                    <a:pt x="874" y="703"/>
                    <a:pt x="866" y="617"/>
                    <a:pt x="874" y="609"/>
                  </a:cubicBezTo>
                  <a:cubicBezTo>
                    <a:pt x="883" y="591"/>
                    <a:pt x="883" y="574"/>
                    <a:pt x="883" y="548"/>
                  </a:cubicBezTo>
                  <a:cubicBezTo>
                    <a:pt x="874" y="531"/>
                    <a:pt x="883" y="489"/>
                    <a:pt x="874" y="471"/>
                  </a:cubicBezTo>
                  <a:cubicBezTo>
                    <a:pt x="866" y="454"/>
                    <a:pt x="857" y="420"/>
                    <a:pt x="883" y="429"/>
                  </a:cubicBezTo>
                  <a:cubicBezTo>
                    <a:pt x="892" y="429"/>
                    <a:pt x="909" y="429"/>
                    <a:pt x="917" y="429"/>
                  </a:cubicBezTo>
                  <a:cubicBezTo>
                    <a:pt x="909" y="420"/>
                    <a:pt x="900" y="403"/>
                    <a:pt x="892" y="40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6" name="Freeform 57"/>
            <p:cNvSpPr>
              <a:spLocks noChangeArrowheads="1"/>
            </p:cNvSpPr>
            <p:nvPr/>
          </p:nvSpPr>
          <p:spPr bwMode="auto">
            <a:xfrm>
              <a:off x="3698875" y="3771900"/>
              <a:ext cx="479425" cy="368300"/>
            </a:xfrm>
            <a:custGeom>
              <a:avLst/>
              <a:gdLst>
                <a:gd name="T0" fmla="*/ 2147483647 w 1330"/>
                <a:gd name="T1" fmla="*/ 2147483647 h 1021"/>
                <a:gd name="T2" fmla="*/ 2147483647 w 1330"/>
                <a:gd name="T3" fmla="*/ 2147483647 h 1021"/>
                <a:gd name="T4" fmla="*/ 2147483647 w 1330"/>
                <a:gd name="T5" fmla="*/ 2147483647 h 1021"/>
                <a:gd name="T6" fmla="*/ 2147483647 w 1330"/>
                <a:gd name="T7" fmla="*/ 2147483647 h 1021"/>
                <a:gd name="T8" fmla="*/ 2147483647 w 1330"/>
                <a:gd name="T9" fmla="*/ 2147483647 h 1021"/>
                <a:gd name="T10" fmla="*/ 2147483647 w 1330"/>
                <a:gd name="T11" fmla="*/ 2147483647 h 1021"/>
                <a:gd name="T12" fmla="*/ 2147483647 w 1330"/>
                <a:gd name="T13" fmla="*/ 2147483647 h 1021"/>
                <a:gd name="T14" fmla="*/ 2147483647 w 1330"/>
                <a:gd name="T15" fmla="*/ 2147483647 h 1021"/>
                <a:gd name="T16" fmla="*/ 2147483647 w 1330"/>
                <a:gd name="T17" fmla="*/ 2147483647 h 1021"/>
                <a:gd name="T18" fmla="*/ 2147483647 w 1330"/>
                <a:gd name="T19" fmla="*/ 2147483647 h 1021"/>
                <a:gd name="T20" fmla="*/ 2147483647 w 1330"/>
                <a:gd name="T21" fmla="*/ 2147483647 h 1021"/>
                <a:gd name="T22" fmla="*/ 2147483647 w 1330"/>
                <a:gd name="T23" fmla="*/ 2147483647 h 1021"/>
                <a:gd name="T24" fmla="*/ 2147483647 w 1330"/>
                <a:gd name="T25" fmla="*/ 2147483647 h 1021"/>
                <a:gd name="T26" fmla="*/ 2147483647 w 1330"/>
                <a:gd name="T27" fmla="*/ 2147483647 h 1021"/>
                <a:gd name="T28" fmla="*/ 2147483647 w 1330"/>
                <a:gd name="T29" fmla="*/ 2147483647 h 1021"/>
                <a:gd name="T30" fmla="*/ 2147483647 w 1330"/>
                <a:gd name="T31" fmla="*/ 2147483647 h 1021"/>
                <a:gd name="T32" fmla="*/ 2147483647 w 1330"/>
                <a:gd name="T33" fmla="*/ 2147483647 h 1021"/>
                <a:gd name="T34" fmla="*/ 2147483647 w 1330"/>
                <a:gd name="T35" fmla="*/ 2147483647 h 1021"/>
                <a:gd name="T36" fmla="*/ 2147483647 w 1330"/>
                <a:gd name="T37" fmla="*/ 2147483647 h 1021"/>
                <a:gd name="T38" fmla="*/ 2147483647 w 1330"/>
                <a:gd name="T39" fmla="*/ 2147483647 h 1021"/>
                <a:gd name="T40" fmla="*/ 2147483647 w 1330"/>
                <a:gd name="T41" fmla="*/ 2147483647 h 1021"/>
                <a:gd name="T42" fmla="*/ 2147483647 w 1330"/>
                <a:gd name="T43" fmla="*/ 2147483647 h 1021"/>
                <a:gd name="T44" fmla="*/ 2147483647 w 1330"/>
                <a:gd name="T45" fmla="*/ 2147483647 h 1021"/>
                <a:gd name="T46" fmla="*/ 2147483647 w 1330"/>
                <a:gd name="T47" fmla="*/ 2147483647 h 1021"/>
                <a:gd name="T48" fmla="*/ 2147483647 w 1330"/>
                <a:gd name="T49" fmla="*/ 2147483647 h 1021"/>
                <a:gd name="T50" fmla="*/ 2147483647 w 1330"/>
                <a:gd name="T51" fmla="*/ 2147483647 h 1021"/>
                <a:gd name="T52" fmla="*/ 2147483647 w 1330"/>
                <a:gd name="T53" fmla="*/ 2147483647 h 1021"/>
                <a:gd name="T54" fmla="*/ 2147483647 w 1330"/>
                <a:gd name="T55" fmla="*/ 2147483647 h 1021"/>
                <a:gd name="T56" fmla="*/ 2147483647 w 1330"/>
                <a:gd name="T57" fmla="*/ 2147483647 h 1021"/>
                <a:gd name="T58" fmla="*/ 2147483647 w 1330"/>
                <a:gd name="T59" fmla="*/ 2147483647 h 1021"/>
                <a:gd name="T60" fmla="*/ 2147483647 w 1330"/>
                <a:gd name="T61" fmla="*/ 2147483647 h 1021"/>
                <a:gd name="T62" fmla="*/ 2147483647 w 1330"/>
                <a:gd name="T63" fmla="*/ 2147483647 h 1021"/>
                <a:gd name="T64" fmla="*/ 2147483647 w 1330"/>
                <a:gd name="T65" fmla="*/ 2147483647 h 10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30"/>
                <a:gd name="T100" fmla="*/ 0 h 1021"/>
                <a:gd name="T101" fmla="*/ 1330 w 1330"/>
                <a:gd name="T102" fmla="*/ 1021 h 10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30" h="1021">
                  <a:moveTo>
                    <a:pt x="1252" y="171"/>
                  </a:moveTo>
                  <a:lnTo>
                    <a:pt x="1252" y="171"/>
                  </a:lnTo>
                  <a:cubicBezTo>
                    <a:pt x="1277" y="163"/>
                    <a:pt x="1295" y="154"/>
                    <a:pt x="1312" y="137"/>
                  </a:cubicBezTo>
                  <a:cubicBezTo>
                    <a:pt x="1329" y="129"/>
                    <a:pt x="1320" y="94"/>
                    <a:pt x="1312" y="77"/>
                  </a:cubicBezTo>
                  <a:cubicBezTo>
                    <a:pt x="1312" y="68"/>
                    <a:pt x="1303" y="60"/>
                    <a:pt x="1303" y="51"/>
                  </a:cubicBezTo>
                  <a:cubicBezTo>
                    <a:pt x="1269" y="51"/>
                    <a:pt x="1226" y="51"/>
                    <a:pt x="1209" y="51"/>
                  </a:cubicBezTo>
                  <a:cubicBezTo>
                    <a:pt x="1175" y="43"/>
                    <a:pt x="1166" y="34"/>
                    <a:pt x="1158" y="17"/>
                  </a:cubicBezTo>
                  <a:cubicBezTo>
                    <a:pt x="1149" y="0"/>
                    <a:pt x="1140" y="17"/>
                    <a:pt x="1123" y="26"/>
                  </a:cubicBezTo>
                  <a:cubicBezTo>
                    <a:pt x="1106" y="34"/>
                    <a:pt x="1097" y="8"/>
                    <a:pt x="1080" y="8"/>
                  </a:cubicBezTo>
                  <a:cubicBezTo>
                    <a:pt x="1054" y="8"/>
                    <a:pt x="1080" y="26"/>
                    <a:pt x="1046" y="17"/>
                  </a:cubicBezTo>
                  <a:cubicBezTo>
                    <a:pt x="1012" y="8"/>
                    <a:pt x="960" y="0"/>
                    <a:pt x="926" y="26"/>
                  </a:cubicBezTo>
                  <a:cubicBezTo>
                    <a:pt x="892" y="43"/>
                    <a:pt x="832" y="60"/>
                    <a:pt x="815" y="77"/>
                  </a:cubicBezTo>
                  <a:cubicBezTo>
                    <a:pt x="789" y="94"/>
                    <a:pt x="729" y="180"/>
                    <a:pt x="712" y="188"/>
                  </a:cubicBezTo>
                  <a:cubicBezTo>
                    <a:pt x="695" y="206"/>
                    <a:pt x="660" y="240"/>
                    <a:pt x="626" y="231"/>
                  </a:cubicBezTo>
                  <a:cubicBezTo>
                    <a:pt x="592" y="223"/>
                    <a:pt x="532" y="240"/>
                    <a:pt x="480" y="240"/>
                  </a:cubicBezTo>
                  <a:cubicBezTo>
                    <a:pt x="429" y="240"/>
                    <a:pt x="420" y="274"/>
                    <a:pt x="403" y="274"/>
                  </a:cubicBezTo>
                  <a:cubicBezTo>
                    <a:pt x="377" y="283"/>
                    <a:pt x="309" y="266"/>
                    <a:pt x="275" y="257"/>
                  </a:cubicBezTo>
                  <a:cubicBezTo>
                    <a:pt x="232" y="248"/>
                    <a:pt x="223" y="257"/>
                    <a:pt x="180" y="274"/>
                  </a:cubicBezTo>
                  <a:cubicBezTo>
                    <a:pt x="146" y="283"/>
                    <a:pt x="120" y="283"/>
                    <a:pt x="95" y="274"/>
                  </a:cubicBezTo>
                  <a:cubicBezTo>
                    <a:pt x="69" y="274"/>
                    <a:pt x="86" y="240"/>
                    <a:pt x="103" y="214"/>
                  </a:cubicBezTo>
                  <a:cubicBezTo>
                    <a:pt x="112" y="197"/>
                    <a:pt x="95" y="206"/>
                    <a:pt x="77" y="206"/>
                  </a:cubicBezTo>
                  <a:cubicBezTo>
                    <a:pt x="69" y="206"/>
                    <a:pt x="43" y="188"/>
                    <a:pt x="35" y="180"/>
                  </a:cubicBezTo>
                  <a:cubicBezTo>
                    <a:pt x="35" y="197"/>
                    <a:pt x="26" y="223"/>
                    <a:pt x="17" y="231"/>
                  </a:cubicBezTo>
                  <a:cubicBezTo>
                    <a:pt x="9" y="248"/>
                    <a:pt x="0" y="248"/>
                    <a:pt x="0" y="291"/>
                  </a:cubicBezTo>
                  <a:cubicBezTo>
                    <a:pt x="0" y="334"/>
                    <a:pt x="17" y="369"/>
                    <a:pt x="43" y="386"/>
                  </a:cubicBezTo>
                  <a:cubicBezTo>
                    <a:pt x="60" y="411"/>
                    <a:pt x="103" y="428"/>
                    <a:pt x="120" y="446"/>
                  </a:cubicBezTo>
                  <a:cubicBezTo>
                    <a:pt x="129" y="454"/>
                    <a:pt x="163" y="463"/>
                    <a:pt x="146" y="488"/>
                  </a:cubicBezTo>
                  <a:cubicBezTo>
                    <a:pt x="129" y="514"/>
                    <a:pt x="120" y="557"/>
                    <a:pt x="103" y="566"/>
                  </a:cubicBezTo>
                  <a:cubicBezTo>
                    <a:pt x="95" y="566"/>
                    <a:pt x="60" y="583"/>
                    <a:pt x="60" y="600"/>
                  </a:cubicBezTo>
                  <a:cubicBezTo>
                    <a:pt x="60" y="609"/>
                    <a:pt x="69" y="668"/>
                    <a:pt x="86" y="668"/>
                  </a:cubicBezTo>
                  <a:cubicBezTo>
                    <a:pt x="95" y="677"/>
                    <a:pt x="103" y="728"/>
                    <a:pt x="103" y="728"/>
                  </a:cubicBezTo>
                  <a:cubicBezTo>
                    <a:pt x="103" y="728"/>
                    <a:pt x="86" y="737"/>
                    <a:pt x="60" y="763"/>
                  </a:cubicBezTo>
                  <a:cubicBezTo>
                    <a:pt x="77" y="763"/>
                    <a:pt x="86" y="771"/>
                    <a:pt x="112" y="789"/>
                  </a:cubicBezTo>
                  <a:cubicBezTo>
                    <a:pt x="137" y="806"/>
                    <a:pt x="154" y="797"/>
                    <a:pt x="180" y="823"/>
                  </a:cubicBezTo>
                  <a:cubicBezTo>
                    <a:pt x="206" y="840"/>
                    <a:pt x="206" y="883"/>
                    <a:pt x="215" y="908"/>
                  </a:cubicBezTo>
                  <a:cubicBezTo>
                    <a:pt x="215" y="926"/>
                    <a:pt x="232" y="986"/>
                    <a:pt x="232" y="1020"/>
                  </a:cubicBezTo>
                  <a:cubicBezTo>
                    <a:pt x="257" y="1011"/>
                    <a:pt x="300" y="1011"/>
                    <a:pt x="326" y="994"/>
                  </a:cubicBezTo>
                  <a:cubicBezTo>
                    <a:pt x="352" y="977"/>
                    <a:pt x="403" y="968"/>
                    <a:pt x="438" y="951"/>
                  </a:cubicBezTo>
                  <a:cubicBezTo>
                    <a:pt x="472" y="934"/>
                    <a:pt x="480" y="926"/>
                    <a:pt x="489" y="908"/>
                  </a:cubicBezTo>
                  <a:cubicBezTo>
                    <a:pt x="506" y="900"/>
                    <a:pt x="532" y="900"/>
                    <a:pt x="549" y="891"/>
                  </a:cubicBezTo>
                  <a:cubicBezTo>
                    <a:pt x="566" y="883"/>
                    <a:pt x="566" y="874"/>
                    <a:pt x="583" y="883"/>
                  </a:cubicBezTo>
                  <a:cubicBezTo>
                    <a:pt x="609" y="891"/>
                    <a:pt x="617" y="917"/>
                    <a:pt x="643" y="917"/>
                  </a:cubicBezTo>
                  <a:cubicBezTo>
                    <a:pt x="660" y="926"/>
                    <a:pt x="643" y="917"/>
                    <a:pt x="686" y="917"/>
                  </a:cubicBezTo>
                  <a:cubicBezTo>
                    <a:pt x="720" y="917"/>
                    <a:pt x="763" y="951"/>
                    <a:pt x="780" y="943"/>
                  </a:cubicBezTo>
                  <a:cubicBezTo>
                    <a:pt x="797" y="926"/>
                    <a:pt x="840" y="908"/>
                    <a:pt x="874" y="891"/>
                  </a:cubicBezTo>
                  <a:cubicBezTo>
                    <a:pt x="909" y="866"/>
                    <a:pt x="943" y="883"/>
                    <a:pt x="943" y="849"/>
                  </a:cubicBezTo>
                  <a:cubicBezTo>
                    <a:pt x="943" y="823"/>
                    <a:pt x="926" y="797"/>
                    <a:pt x="918" y="780"/>
                  </a:cubicBezTo>
                  <a:cubicBezTo>
                    <a:pt x="918" y="763"/>
                    <a:pt x="900" y="754"/>
                    <a:pt x="918" y="754"/>
                  </a:cubicBezTo>
                  <a:cubicBezTo>
                    <a:pt x="935" y="754"/>
                    <a:pt x="935" y="754"/>
                    <a:pt x="960" y="754"/>
                  </a:cubicBezTo>
                  <a:cubicBezTo>
                    <a:pt x="969" y="737"/>
                    <a:pt x="977" y="720"/>
                    <a:pt x="977" y="720"/>
                  </a:cubicBezTo>
                  <a:cubicBezTo>
                    <a:pt x="986" y="711"/>
                    <a:pt x="1012" y="686"/>
                    <a:pt x="1012" y="686"/>
                  </a:cubicBezTo>
                  <a:cubicBezTo>
                    <a:pt x="1012" y="677"/>
                    <a:pt x="1029" y="668"/>
                    <a:pt x="1054" y="651"/>
                  </a:cubicBezTo>
                  <a:cubicBezTo>
                    <a:pt x="1072" y="643"/>
                    <a:pt x="1080" y="634"/>
                    <a:pt x="1106" y="617"/>
                  </a:cubicBezTo>
                  <a:cubicBezTo>
                    <a:pt x="1132" y="600"/>
                    <a:pt x="1158" y="600"/>
                    <a:pt x="1166" y="600"/>
                  </a:cubicBezTo>
                  <a:cubicBezTo>
                    <a:pt x="1175" y="600"/>
                    <a:pt x="1200" y="634"/>
                    <a:pt x="1217" y="626"/>
                  </a:cubicBezTo>
                  <a:cubicBezTo>
                    <a:pt x="1235" y="617"/>
                    <a:pt x="1269" y="600"/>
                    <a:pt x="1303" y="591"/>
                  </a:cubicBezTo>
                  <a:cubicBezTo>
                    <a:pt x="1303" y="583"/>
                    <a:pt x="1295" y="566"/>
                    <a:pt x="1286" y="557"/>
                  </a:cubicBezTo>
                  <a:cubicBezTo>
                    <a:pt x="1252" y="540"/>
                    <a:pt x="1252" y="523"/>
                    <a:pt x="1235" y="506"/>
                  </a:cubicBezTo>
                  <a:cubicBezTo>
                    <a:pt x="1217" y="488"/>
                    <a:pt x="1192" y="480"/>
                    <a:pt x="1183" y="488"/>
                  </a:cubicBezTo>
                  <a:cubicBezTo>
                    <a:pt x="1166" y="488"/>
                    <a:pt x="1149" y="497"/>
                    <a:pt x="1158" y="471"/>
                  </a:cubicBezTo>
                  <a:cubicBezTo>
                    <a:pt x="1166" y="446"/>
                    <a:pt x="1175" y="463"/>
                    <a:pt x="1183" y="446"/>
                  </a:cubicBezTo>
                  <a:cubicBezTo>
                    <a:pt x="1192" y="428"/>
                    <a:pt x="1200" y="403"/>
                    <a:pt x="1217" y="394"/>
                  </a:cubicBezTo>
                  <a:cubicBezTo>
                    <a:pt x="1235" y="377"/>
                    <a:pt x="1243" y="360"/>
                    <a:pt x="1226" y="343"/>
                  </a:cubicBezTo>
                  <a:cubicBezTo>
                    <a:pt x="1217" y="326"/>
                    <a:pt x="1209" y="257"/>
                    <a:pt x="1217" y="223"/>
                  </a:cubicBezTo>
                  <a:cubicBezTo>
                    <a:pt x="1226" y="188"/>
                    <a:pt x="1235" y="180"/>
                    <a:pt x="1252" y="171"/>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7" name="Freeform 58"/>
            <p:cNvSpPr>
              <a:spLocks noChangeArrowheads="1"/>
            </p:cNvSpPr>
            <p:nvPr/>
          </p:nvSpPr>
          <p:spPr bwMode="auto">
            <a:xfrm>
              <a:off x="4043363" y="3984625"/>
              <a:ext cx="234950" cy="238125"/>
            </a:xfrm>
            <a:custGeom>
              <a:avLst/>
              <a:gdLst>
                <a:gd name="T0" fmla="*/ 2147483647 w 653"/>
                <a:gd name="T1" fmla="*/ 2147483647 h 661"/>
                <a:gd name="T2" fmla="*/ 2147483647 w 653"/>
                <a:gd name="T3" fmla="*/ 2147483647 h 661"/>
                <a:gd name="T4" fmla="*/ 2147483647 w 653"/>
                <a:gd name="T5" fmla="*/ 2147483647 h 661"/>
                <a:gd name="T6" fmla="*/ 2147483647 w 653"/>
                <a:gd name="T7" fmla="*/ 2147483647 h 661"/>
                <a:gd name="T8" fmla="*/ 2147483647 w 653"/>
                <a:gd name="T9" fmla="*/ 2147483647 h 661"/>
                <a:gd name="T10" fmla="*/ 2147483647 w 653"/>
                <a:gd name="T11" fmla="*/ 0 h 661"/>
                <a:gd name="T12" fmla="*/ 2147483647 w 653"/>
                <a:gd name="T13" fmla="*/ 2147483647 h 661"/>
                <a:gd name="T14" fmla="*/ 2147483647 w 653"/>
                <a:gd name="T15" fmla="*/ 2147483647 h 661"/>
                <a:gd name="T16" fmla="*/ 2147483647 w 653"/>
                <a:gd name="T17" fmla="*/ 2147483647 h 661"/>
                <a:gd name="T18" fmla="*/ 2147483647 w 653"/>
                <a:gd name="T19" fmla="*/ 2147483647 h 661"/>
                <a:gd name="T20" fmla="*/ 2147483647 w 653"/>
                <a:gd name="T21" fmla="*/ 2147483647 h 661"/>
                <a:gd name="T22" fmla="*/ 2147483647 w 653"/>
                <a:gd name="T23" fmla="*/ 2147483647 h 661"/>
                <a:gd name="T24" fmla="*/ 0 w 653"/>
                <a:gd name="T25" fmla="*/ 2147483647 h 661"/>
                <a:gd name="T26" fmla="*/ 2147483647 w 653"/>
                <a:gd name="T27" fmla="*/ 2147483647 h 661"/>
                <a:gd name="T28" fmla="*/ 2147483647 w 653"/>
                <a:gd name="T29" fmla="*/ 2147483647 h 661"/>
                <a:gd name="T30" fmla="*/ 2147483647 w 653"/>
                <a:gd name="T31" fmla="*/ 2147483647 h 661"/>
                <a:gd name="T32" fmla="*/ 2147483647 w 653"/>
                <a:gd name="T33" fmla="*/ 2147483647 h 661"/>
                <a:gd name="T34" fmla="*/ 2147483647 w 653"/>
                <a:gd name="T35" fmla="*/ 2147483647 h 661"/>
                <a:gd name="T36" fmla="*/ 2147483647 w 653"/>
                <a:gd name="T37" fmla="*/ 2147483647 h 661"/>
                <a:gd name="T38" fmla="*/ 2147483647 w 653"/>
                <a:gd name="T39" fmla="*/ 2147483647 h 661"/>
                <a:gd name="T40" fmla="*/ 2147483647 w 653"/>
                <a:gd name="T41" fmla="*/ 2147483647 h 661"/>
                <a:gd name="T42" fmla="*/ 2147483647 w 653"/>
                <a:gd name="T43" fmla="*/ 2147483647 h 661"/>
                <a:gd name="T44" fmla="*/ 2147483647 w 653"/>
                <a:gd name="T45" fmla="*/ 2147483647 h 661"/>
                <a:gd name="T46" fmla="*/ 2147483647 w 653"/>
                <a:gd name="T47" fmla="*/ 2147483647 h 661"/>
                <a:gd name="T48" fmla="*/ 2147483647 w 653"/>
                <a:gd name="T49" fmla="*/ 2147483647 h 661"/>
                <a:gd name="T50" fmla="*/ 2147483647 w 653"/>
                <a:gd name="T51" fmla="*/ 2147483647 h 661"/>
                <a:gd name="T52" fmla="*/ 2147483647 w 653"/>
                <a:gd name="T53" fmla="*/ 2147483647 h 661"/>
                <a:gd name="T54" fmla="*/ 2147483647 w 653"/>
                <a:gd name="T55" fmla="*/ 2147483647 h 661"/>
                <a:gd name="T56" fmla="*/ 2147483647 w 653"/>
                <a:gd name="T57" fmla="*/ 2147483647 h 661"/>
                <a:gd name="T58" fmla="*/ 2147483647 w 653"/>
                <a:gd name="T59" fmla="*/ 2147483647 h 661"/>
                <a:gd name="T60" fmla="*/ 2147483647 w 653"/>
                <a:gd name="T61" fmla="*/ 2147483647 h 661"/>
                <a:gd name="T62" fmla="*/ 2147483647 w 653"/>
                <a:gd name="T63" fmla="*/ 2147483647 h 661"/>
                <a:gd name="T64" fmla="*/ 2147483647 w 653"/>
                <a:gd name="T65" fmla="*/ 2147483647 h 661"/>
                <a:gd name="T66" fmla="*/ 2147483647 w 653"/>
                <a:gd name="T67" fmla="*/ 2147483647 h 6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53"/>
                <a:gd name="T103" fmla="*/ 0 h 661"/>
                <a:gd name="T104" fmla="*/ 653 w 653"/>
                <a:gd name="T105" fmla="*/ 661 h 66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53" h="661">
                  <a:moveTo>
                    <a:pt x="643" y="163"/>
                  </a:moveTo>
                  <a:lnTo>
                    <a:pt x="643" y="163"/>
                  </a:lnTo>
                  <a:cubicBezTo>
                    <a:pt x="634" y="155"/>
                    <a:pt x="566" y="146"/>
                    <a:pt x="540" y="146"/>
                  </a:cubicBezTo>
                  <a:cubicBezTo>
                    <a:pt x="515" y="146"/>
                    <a:pt x="429" y="137"/>
                    <a:pt x="403" y="103"/>
                  </a:cubicBezTo>
                  <a:cubicBezTo>
                    <a:pt x="377" y="69"/>
                    <a:pt x="343" y="52"/>
                    <a:pt x="343" y="35"/>
                  </a:cubicBezTo>
                  <a:cubicBezTo>
                    <a:pt x="343" y="35"/>
                    <a:pt x="343" y="18"/>
                    <a:pt x="343" y="0"/>
                  </a:cubicBezTo>
                  <a:cubicBezTo>
                    <a:pt x="309" y="9"/>
                    <a:pt x="275" y="26"/>
                    <a:pt x="257" y="35"/>
                  </a:cubicBezTo>
                  <a:cubicBezTo>
                    <a:pt x="240" y="43"/>
                    <a:pt x="215" y="9"/>
                    <a:pt x="206" y="9"/>
                  </a:cubicBezTo>
                  <a:cubicBezTo>
                    <a:pt x="198" y="9"/>
                    <a:pt x="172" y="9"/>
                    <a:pt x="146" y="26"/>
                  </a:cubicBezTo>
                  <a:cubicBezTo>
                    <a:pt x="120" y="43"/>
                    <a:pt x="112" y="52"/>
                    <a:pt x="94" y="60"/>
                  </a:cubicBezTo>
                  <a:cubicBezTo>
                    <a:pt x="69" y="77"/>
                    <a:pt x="52" y="86"/>
                    <a:pt x="52" y="95"/>
                  </a:cubicBezTo>
                  <a:cubicBezTo>
                    <a:pt x="52" y="95"/>
                    <a:pt x="26" y="120"/>
                    <a:pt x="17" y="129"/>
                  </a:cubicBezTo>
                  <a:cubicBezTo>
                    <a:pt x="17" y="129"/>
                    <a:pt x="9" y="146"/>
                    <a:pt x="0" y="163"/>
                  </a:cubicBezTo>
                  <a:cubicBezTo>
                    <a:pt x="9" y="163"/>
                    <a:pt x="9" y="163"/>
                    <a:pt x="9" y="163"/>
                  </a:cubicBezTo>
                  <a:cubicBezTo>
                    <a:pt x="43" y="172"/>
                    <a:pt x="69" y="163"/>
                    <a:pt x="77" y="198"/>
                  </a:cubicBezTo>
                  <a:cubicBezTo>
                    <a:pt x="86" y="223"/>
                    <a:pt x="103" y="240"/>
                    <a:pt x="86" y="258"/>
                  </a:cubicBezTo>
                  <a:cubicBezTo>
                    <a:pt x="60" y="266"/>
                    <a:pt x="43" y="292"/>
                    <a:pt x="43" y="309"/>
                  </a:cubicBezTo>
                  <a:cubicBezTo>
                    <a:pt x="43" y="326"/>
                    <a:pt x="52" y="369"/>
                    <a:pt x="43" y="386"/>
                  </a:cubicBezTo>
                  <a:cubicBezTo>
                    <a:pt x="43" y="403"/>
                    <a:pt x="26" y="446"/>
                    <a:pt x="9" y="480"/>
                  </a:cubicBezTo>
                  <a:cubicBezTo>
                    <a:pt x="17" y="489"/>
                    <a:pt x="26" y="498"/>
                    <a:pt x="52" y="498"/>
                  </a:cubicBezTo>
                  <a:cubicBezTo>
                    <a:pt x="77" y="489"/>
                    <a:pt x="198" y="438"/>
                    <a:pt x="189" y="463"/>
                  </a:cubicBezTo>
                  <a:cubicBezTo>
                    <a:pt x="172" y="489"/>
                    <a:pt x="129" y="515"/>
                    <a:pt x="103" y="532"/>
                  </a:cubicBezTo>
                  <a:cubicBezTo>
                    <a:pt x="86" y="557"/>
                    <a:pt x="86" y="575"/>
                    <a:pt x="86" y="583"/>
                  </a:cubicBezTo>
                  <a:cubicBezTo>
                    <a:pt x="86" y="592"/>
                    <a:pt x="94" y="618"/>
                    <a:pt x="86" y="635"/>
                  </a:cubicBezTo>
                  <a:cubicBezTo>
                    <a:pt x="69" y="660"/>
                    <a:pt x="112" y="618"/>
                    <a:pt x="112" y="601"/>
                  </a:cubicBezTo>
                  <a:cubicBezTo>
                    <a:pt x="112" y="592"/>
                    <a:pt x="163" y="557"/>
                    <a:pt x="163" y="540"/>
                  </a:cubicBezTo>
                  <a:cubicBezTo>
                    <a:pt x="172" y="515"/>
                    <a:pt x="189" y="489"/>
                    <a:pt x="206" y="480"/>
                  </a:cubicBezTo>
                  <a:cubicBezTo>
                    <a:pt x="232" y="472"/>
                    <a:pt x="309" y="403"/>
                    <a:pt x="309" y="377"/>
                  </a:cubicBezTo>
                  <a:cubicBezTo>
                    <a:pt x="309" y="352"/>
                    <a:pt x="292" y="343"/>
                    <a:pt x="317" y="326"/>
                  </a:cubicBezTo>
                  <a:cubicBezTo>
                    <a:pt x="343" y="300"/>
                    <a:pt x="360" y="300"/>
                    <a:pt x="386" y="292"/>
                  </a:cubicBezTo>
                  <a:cubicBezTo>
                    <a:pt x="403" y="283"/>
                    <a:pt x="446" y="249"/>
                    <a:pt x="480" y="249"/>
                  </a:cubicBezTo>
                  <a:cubicBezTo>
                    <a:pt x="523" y="240"/>
                    <a:pt x="523" y="240"/>
                    <a:pt x="549" y="240"/>
                  </a:cubicBezTo>
                  <a:cubicBezTo>
                    <a:pt x="575" y="249"/>
                    <a:pt x="634" y="258"/>
                    <a:pt x="643" y="215"/>
                  </a:cubicBezTo>
                  <a:cubicBezTo>
                    <a:pt x="643" y="172"/>
                    <a:pt x="652" y="172"/>
                    <a:pt x="643" y="16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8" name="Freeform 59"/>
            <p:cNvSpPr>
              <a:spLocks noChangeArrowheads="1"/>
            </p:cNvSpPr>
            <p:nvPr/>
          </p:nvSpPr>
          <p:spPr bwMode="auto">
            <a:xfrm>
              <a:off x="3581400" y="4037013"/>
              <a:ext cx="201613" cy="182562"/>
            </a:xfrm>
            <a:custGeom>
              <a:avLst/>
              <a:gdLst>
                <a:gd name="T0" fmla="*/ 2147483647 w 559"/>
                <a:gd name="T1" fmla="*/ 2147483647 h 507"/>
                <a:gd name="T2" fmla="*/ 2147483647 w 559"/>
                <a:gd name="T3" fmla="*/ 2147483647 h 507"/>
                <a:gd name="T4" fmla="*/ 2147483647 w 559"/>
                <a:gd name="T5" fmla="*/ 2147483647 h 507"/>
                <a:gd name="T6" fmla="*/ 2147483647 w 559"/>
                <a:gd name="T7" fmla="*/ 2147483647 h 507"/>
                <a:gd name="T8" fmla="*/ 2147483647 w 559"/>
                <a:gd name="T9" fmla="*/ 2147483647 h 507"/>
                <a:gd name="T10" fmla="*/ 2147483647 w 559"/>
                <a:gd name="T11" fmla="*/ 2147483647 h 507"/>
                <a:gd name="T12" fmla="*/ 2147483647 w 559"/>
                <a:gd name="T13" fmla="*/ 2147483647 h 507"/>
                <a:gd name="T14" fmla="*/ 2147483647 w 559"/>
                <a:gd name="T15" fmla="*/ 2147483647 h 507"/>
                <a:gd name="T16" fmla="*/ 2147483647 w 559"/>
                <a:gd name="T17" fmla="*/ 2147483647 h 507"/>
                <a:gd name="T18" fmla="*/ 2147483647 w 559"/>
                <a:gd name="T19" fmla="*/ 2147483647 h 507"/>
                <a:gd name="T20" fmla="*/ 2147483647 w 559"/>
                <a:gd name="T21" fmla="*/ 2147483647 h 507"/>
                <a:gd name="T22" fmla="*/ 2147483647 w 559"/>
                <a:gd name="T23" fmla="*/ 2147483647 h 507"/>
                <a:gd name="T24" fmla="*/ 2147483647 w 559"/>
                <a:gd name="T25" fmla="*/ 2147483647 h 507"/>
                <a:gd name="T26" fmla="*/ 2147483647 w 559"/>
                <a:gd name="T27" fmla="*/ 2147483647 h 507"/>
                <a:gd name="T28" fmla="*/ 2147483647 w 559"/>
                <a:gd name="T29" fmla="*/ 2147483647 h 507"/>
                <a:gd name="T30" fmla="*/ 2147483647 w 559"/>
                <a:gd name="T31" fmla="*/ 2147483647 h 507"/>
                <a:gd name="T32" fmla="*/ 2147483647 w 559"/>
                <a:gd name="T33" fmla="*/ 2147483647 h 507"/>
                <a:gd name="T34" fmla="*/ 2147483647 w 559"/>
                <a:gd name="T35" fmla="*/ 2147483647 h 507"/>
                <a:gd name="T36" fmla="*/ 2147483647 w 559"/>
                <a:gd name="T37" fmla="*/ 2147483647 h 507"/>
                <a:gd name="T38" fmla="*/ 2147483647 w 559"/>
                <a:gd name="T39" fmla="*/ 2147483647 h 507"/>
                <a:gd name="T40" fmla="*/ 2147483647 w 559"/>
                <a:gd name="T41" fmla="*/ 2147483647 h 507"/>
                <a:gd name="T42" fmla="*/ 2147483647 w 559"/>
                <a:gd name="T43" fmla="*/ 2147483647 h 507"/>
                <a:gd name="T44" fmla="*/ 2147483647 w 559"/>
                <a:gd name="T45" fmla="*/ 2147483647 h 507"/>
                <a:gd name="T46" fmla="*/ 2147483647 w 559"/>
                <a:gd name="T47" fmla="*/ 2147483647 h 507"/>
                <a:gd name="T48" fmla="*/ 2147483647 w 559"/>
                <a:gd name="T49" fmla="*/ 2147483647 h 507"/>
                <a:gd name="T50" fmla="*/ 2147483647 w 559"/>
                <a:gd name="T51" fmla="*/ 2147483647 h 507"/>
                <a:gd name="T52" fmla="*/ 2147483647 w 559"/>
                <a:gd name="T53" fmla="*/ 2147483647 h 507"/>
                <a:gd name="T54" fmla="*/ 2147483647 w 559"/>
                <a:gd name="T55" fmla="*/ 2147483647 h 507"/>
                <a:gd name="T56" fmla="*/ 2147483647 w 559"/>
                <a:gd name="T57" fmla="*/ 2147483647 h 5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59"/>
                <a:gd name="T88" fmla="*/ 0 h 507"/>
                <a:gd name="T89" fmla="*/ 559 w 559"/>
                <a:gd name="T90" fmla="*/ 507 h 5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59" h="507">
                  <a:moveTo>
                    <a:pt x="541" y="171"/>
                  </a:moveTo>
                  <a:lnTo>
                    <a:pt x="541" y="171"/>
                  </a:lnTo>
                  <a:cubicBezTo>
                    <a:pt x="532" y="146"/>
                    <a:pt x="532" y="103"/>
                    <a:pt x="506" y="86"/>
                  </a:cubicBezTo>
                  <a:cubicBezTo>
                    <a:pt x="480" y="60"/>
                    <a:pt x="463" y="69"/>
                    <a:pt x="438" y="52"/>
                  </a:cubicBezTo>
                  <a:cubicBezTo>
                    <a:pt x="403" y="26"/>
                    <a:pt x="395" y="26"/>
                    <a:pt x="369" y="9"/>
                  </a:cubicBezTo>
                  <a:cubicBezTo>
                    <a:pt x="335" y="0"/>
                    <a:pt x="335" y="26"/>
                    <a:pt x="309" y="26"/>
                  </a:cubicBezTo>
                  <a:cubicBezTo>
                    <a:pt x="284" y="34"/>
                    <a:pt x="275" y="43"/>
                    <a:pt x="258" y="52"/>
                  </a:cubicBezTo>
                  <a:cubicBezTo>
                    <a:pt x="240" y="69"/>
                    <a:pt x="223" y="60"/>
                    <a:pt x="198" y="69"/>
                  </a:cubicBezTo>
                  <a:cubicBezTo>
                    <a:pt x="172" y="69"/>
                    <a:pt x="172" y="103"/>
                    <a:pt x="172" y="112"/>
                  </a:cubicBezTo>
                  <a:cubicBezTo>
                    <a:pt x="172" y="129"/>
                    <a:pt x="155" y="112"/>
                    <a:pt x="129" y="94"/>
                  </a:cubicBezTo>
                  <a:cubicBezTo>
                    <a:pt x="112" y="86"/>
                    <a:pt x="69" y="129"/>
                    <a:pt x="61" y="146"/>
                  </a:cubicBezTo>
                  <a:cubicBezTo>
                    <a:pt x="61" y="163"/>
                    <a:pt x="69" y="180"/>
                    <a:pt x="61" y="197"/>
                  </a:cubicBezTo>
                  <a:cubicBezTo>
                    <a:pt x="52" y="206"/>
                    <a:pt x="44" y="206"/>
                    <a:pt x="18" y="206"/>
                  </a:cubicBezTo>
                  <a:cubicBezTo>
                    <a:pt x="18" y="214"/>
                    <a:pt x="9" y="231"/>
                    <a:pt x="9" y="240"/>
                  </a:cubicBezTo>
                  <a:cubicBezTo>
                    <a:pt x="9" y="274"/>
                    <a:pt x="18" y="283"/>
                    <a:pt x="9" y="292"/>
                  </a:cubicBezTo>
                  <a:cubicBezTo>
                    <a:pt x="0" y="300"/>
                    <a:pt x="9" y="317"/>
                    <a:pt x="18" y="334"/>
                  </a:cubicBezTo>
                  <a:cubicBezTo>
                    <a:pt x="35" y="352"/>
                    <a:pt x="26" y="352"/>
                    <a:pt x="35" y="377"/>
                  </a:cubicBezTo>
                  <a:cubicBezTo>
                    <a:pt x="35" y="411"/>
                    <a:pt x="78" y="463"/>
                    <a:pt x="95" y="489"/>
                  </a:cubicBezTo>
                  <a:cubicBezTo>
                    <a:pt x="112" y="506"/>
                    <a:pt x="121" y="489"/>
                    <a:pt x="138" y="489"/>
                  </a:cubicBezTo>
                  <a:cubicBezTo>
                    <a:pt x="155" y="489"/>
                    <a:pt x="155" y="489"/>
                    <a:pt x="155" y="506"/>
                  </a:cubicBezTo>
                  <a:cubicBezTo>
                    <a:pt x="155" y="506"/>
                    <a:pt x="198" y="489"/>
                    <a:pt x="206" y="480"/>
                  </a:cubicBezTo>
                  <a:cubicBezTo>
                    <a:pt x="223" y="463"/>
                    <a:pt x="249" y="455"/>
                    <a:pt x="275" y="455"/>
                  </a:cubicBezTo>
                  <a:cubicBezTo>
                    <a:pt x="292" y="463"/>
                    <a:pt x="318" y="455"/>
                    <a:pt x="335" y="437"/>
                  </a:cubicBezTo>
                  <a:cubicBezTo>
                    <a:pt x="343" y="429"/>
                    <a:pt x="352" y="377"/>
                    <a:pt x="369" y="369"/>
                  </a:cubicBezTo>
                  <a:cubicBezTo>
                    <a:pt x="395" y="360"/>
                    <a:pt x="412" y="360"/>
                    <a:pt x="429" y="360"/>
                  </a:cubicBezTo>
                  <a:cubicBezTo>
                    <a:pt x="446" y="360"/>
                    <a:pt x="498" y="360"/>
                    <a:pt x="515" y="343"/>
                  </a:cubicBezTo>
                  <a:cubicBezTo>
                    <a:pt x="532" y="326"/>
                    <a:pt x="532" y="292"/>
                    <a:pt x="558" y="283"/>
                  </a:cubicBezTo>
                  <a:cubicBezTo>
                    <a:pt x="558" y="249"/>
                    <a:pt x="541" y="189"/>
                    <a:pt x="541" y="171"/>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59" name="Freeform 60"/>
            <p:cNvSpPr>
              <a:spLocks noChangeArrowheads="1"/>
            </p:cNvSpPr>
            <p:nvPr/>
          </p:nvSpPr>
          <p:spPr bwMode="auto">
            <a:xfrm>
              <a:off x="3587750" y="4041775"/>
              <a:ext cx="493713" cy="630238"/>
            </a:xfrm>
            <a:custGeom>
              <a:avLst/>
              <a:gdLst>
                <a:gd name="T0" fmla="*/ 2147483647 w 1372"/>
                <a:gd name="T1" fmla="*/ 2147483647 h 1749"/>
                <a:gd name="T2" fmla="*/ 2147483647 w 1372"/>
                <a:gd name="T3" fmla="*/ 2147483647 h 1749"/>
                <a:gd name="T4" fmla="*/ 2147483647 w 1372"/>
                <a:gd name="T5" fmla="*/ 2147483647 h 1749"/>
                <a:gd name="T6" fmla="*/ 2147483647 w 1372"/>
                <a:gd name="T7" fmla="*/ 2147483647 h 1749"/>
                <a:gd name="T8" fmla="*/ 2147483647 w 1372"/>
                <a:gd name="T9" fmla="*/ 2147483647 h 1749"/>
                <a:gd name="T10" fmla="*/ 2147483647 w 1372"/>
                <a:gd name="T11" fmla="*/ 2147483647 h 1749"/>
                <a:gd name="T12" fmla="*/ 2147483647 w 1372"/>
                <a:gd name="T13" fmla="*/ 2147483647 h 1749"/>
                <a:gd name="T14" fmla="*/ 2147483647 w 1372"/>
                <a:gd name="T15" fmla="*/ 2147483647 h 1749"/>
                <a:gd name="T16" fmla="*/ 2147483647 w 1372"/>
                <a:gd name="T17" fmla="*/ 2147483647 h 1749"/>
                <a:gd name="T18" fmla="*/ 2147483647 w 1372"/>
                <a:gd name="T19" fmla="*/ 2147483647 h 1749"/>
                <a:gd name="T20" fmla="*/ 0 w 1372"/>
                <a:gd name="T21" fmla="*/ 2147483647 h 1749"/>
                <a:gd name="T22" fmla="*/ 2147483647 w 1372"/>
                <a:gd name="T23" fmla="*/ 2147483647 h 1749"/>
                <a:gd name="T24" fmla="*/ 2147483647 w 1372"/>
                <a:gd name="T25" fmla="*/ 2147483647 h 1749"/>
                <a:gd name="T26" fmla="*/ 2147483647 w 1372"/>
                <a:gd name="T27" fmla="*/ 2147483647 h 1749"/>
                <a:gd name="T28" fmla="*/ 2147483647 w 1372"/>
                <a:gd name="T29" fmla="*/ 2147483647 h 1749"/>
                <a:gd name="T30" fmla="*/ 2147483647 w 1372"/>
                <a:gd name="T31" fmla="*/ 2147483647 h 1749"/>
                <a:gd name="T32" fmla="*/ 2147483647 w 1372"/>
                <a:gd name="T33" fmla="*/ 2147483647 h 1749"/>
                <a:gd name="T34" fmla="*/ 2147483647 w 1372"/>
                <a:gd name="T35" fmla="*/ 2147483647 h 1749"/>
                <a:gd name="T36" fmla="*/ 2147483647 w 1372"/>
                <a:gd name="T37" fmla="*/ 2147483647 h 1749"/>
                <a:gd name="T38" fmla="*/ 2147483647 w 1372"/>
                <a:gd name="T39" fmla="*/ 2147483647 h 1749"/>
                <a:gd name="T40" fmla="*/ 2147483647 w 1372"/>
                <a:gd name="T41" fmla="*/ 2147483647 h 1749"/>
                <a:gd name="T42" fmla="*/ 2147483647 w 1372"/>
                <a:gd name="T43" fmla="*/ 2147483647 h 1749"/>
                <a:gd name="T44" fmla="*/ 2147483647 w 1372"/>
                <a:gd name="T45" fmla="*/ 2147483647 h 1749"/>
                <a:gd name="T46" fmla="*/ 2147483647 w 1372"/>
                <a:gd name="T47" fmla="*/ 2147483647 h 1749"/>
                <a:gd name="T48" fmla="*/ 2147483647 w 1372"/>
                <a:gd name="T49" fmla="*/ 2147483647 h 1749"/>
                <a:gd name="T50" fmla="*/ 2147483647 w 1372"/>
                <a:gd name="T51" fmla="*/ 2147483647 h 1749"/>
                <a:gd name="T52" fmla="*/ 2147483647 w 1372"/>
                <a:gd name="T53" fmla="*/ 2147483647 h 1749"/>
                <a:gd name="T54" fmla="*/ 2147483647 w 1372"/>
                <a:gd name="T55" fmla="*/ 2147483647 h 1749"/>
                <a:gd name="T56" fmla="*/ 2147483647 w 1372"/>
                <a:gd name="T57" fmla="*/ 2147483647 h 1749"/>
                <a:gd name="T58" fmla="*/ 2147483647 w 1372"/>
                <a:gd name="T59" fmla="*/ 2147483647 h 1749"/>
                <a:gd name="T60" fmla="*/ 2147483647 w 1372"/>
                <a:gd name="T61" fmla="*/ 2147483647 h 1749"/>
                <a:gd name="T62" fmla="*/ 2147483647 w 1372"/>
                <a:gd name="T63" fmla="*/ 2147483647 h 1749"/>
                <a:gd name="T64" fmla="*/ 2147483647 w 1372"/>
                <a:gd name="T65" fmla="*/ 2147483647 h 1749"/>
                <a:gd name="T66" fmla="*/ 2147483647 w 1372"/>
                <a:gd name="T67" fmla="*/ 2147483647 h 1749"/>
                <a:gd name="T68" fmla="*/ 2147483647 w 1372"/>
                <a:gd name="T69" fmla="*/ 2147483647 h 1749"/>
                <a:gd name="T70" fmla="*/ 2147483647 w 1372"/>
                <a:gd name="T71" fmla="*/ 2147483647 h 1749"/>
                <a:gd name="T72" fmla="*/ 2147483647 w 1372"/>
                <a:gd name="T73" fmla="*/ 2147483647 h 1749"/>
                <a:gd name="T74" fmla="*/ 2147483647 w 1372"/>
                <a:gd name="T75" fmla="*/ 2147483647 h 1749"/>
                <a:gd name="T76" fmla="*/ 2147483647 w 1372"/>
                <a:gd name="T77" fmla="*/ 2147483647 h 1749"/>
                <a:gd name="T78" fmla="*/ 2147483647 w 1372"/>
                <a:gd name="T79" fmla="*/ 2147483647 h 1749"/>
                <a:gd name="T80" fmla="*/ 2147483647 w 1372"/>
                <a:gd name="T81" fmla="*/ 2147483647 h 1749"/>
                <a:gd name="T82" fmla="*/ 2147483647 w 1372"/>
                <a:gd name="T83" fmla="*/ 2147483647 h 1749"/>
                <a:gd name="T84" fmla="*/ 2147483647 w 1372"/>
                <a:gd name="T85" fmla="*/ 2147483647 h 1749"/>
                <a:gd name="T86" fmla="*/ 2147483647 w 1372"/>
                <a:gd name="T87" fmla="*/ 2147483647 h 1749"/>
                <a:gd name="T88" fmla="*/ 2147483647 w 1372"/>
                <a:gd name="T89" fmla="*/ 2147483647 h 1749"/>
                <a:gd name="T90" fmla="*/ 2147483647 w 1372"/>
                <a:gd name="T91" fmla="*/ 2147483647 h 1749"/>
                <a:gd name="T92" fmla="*/ 2147483647 w 1372"/>
                <a:gd name="T93" fmla="*/ 2147483647 h 1749"/>
                <a:gd name="T94" fmla="*/ 2147483647 w 1372"/>
                <a:gd name="T95" fmla="*/ 2147483647 h 17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72"/>
                <a:gd name="T145" fmla="*/ 0 h 1749"/>
                <a:gd name="T146" fmla="*/ 1372 w 1372"/>
                <a:gd name="T147" fmla="*/ 1749 h 17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72" h="1749">
                  <a:moveTo>
                    <a:pt x="1311" y="154"/>
                  </a:moveTo>
                  <a:lnTo>
                    <a:pt x="1311" y="154"/>
                  </a:lnTo>
                  <a:cubicBezTo>
                    <a:pt x="1311" y="137"/>
                    <a:pt x="1328" y="111"/>
                    <a:pt x="1354" y="103"/>
                  </a:cubicBezTo>
                  <a:cubicBezTo>
                    <a:pt x="1371" y="85"/>
                    <a:pt x="1354" y="68"/>
                    <a:pt x="1345" y="43"/>
                  </a:cubicBezTo>
                  <a:cubicBezTo>
                    <a:pt x="1337" y="8"/>
                    <a:pt x="1311" y="17"/>
                    <a:pt x="1277" y="8"/>
                  </a:cubicBezTo>
                  <a:cubicBezTo>
                    <a:pt x="1251" y="0"/>
                    <a:pt x="1243" y="8"/>
                    <a:pt x="1226" y="8"/>
                  </a:cubicBezTo>
                  <a:cubicBezTo>
                    <a:pt x="1208" y="8"/>
                    <a:pt x="1226" y="17"/>
                    <a:pt x="1226" y="34"/>
                  </a:cubicBezTo>
                  <a:cubicBezTo>
                    <a:pt x="1234" y="51"/>
                    <a:pt x="1251" y="77"/>
                    <a:pt x="1251" y="103"/>
                  </a:cubicBezTo>
                  <a:cubicBezTo>
                    <a:pt x="1251" y="137"/>
                    <a:pt x="1217" y="120"/>
                    <a:pt x="1182" y="145"/>
                  </a:cubicBezTo>
                  <a:cubicBezTo>
                    <a:pt x="1148" y="162"/>
                    <a:pt x="1105" y="180"/>
                    <a:pt x="1088" y="197"/>
                  </a:cubicBezTo>
                  <a:cubicBezTo>
                    <a:pt x="1071" y="205"/>
                    <a:pt x="1028" y="171"/>
                    <a:pt x="994" y="171"/>
                  </a:cubicBezTo>
                  <a:cubicBezTo>
                    <a:pt x="951" y="171"/>
                    <a:pt x="968" y="180"/>
                    <a:pt x="951" y="171"/>
                  </a:cubicBezTo>
                  <a:cubicBezTo>
                    <a:pt x="925" y="171"/>
                    <a:pt x="917" y="145"/>
                    <a:pt x="891" y="137"/>
                  </a:cubicBezTo>
                  <a:cubicBezTo>
                    <a:pt x="874" y="128"/>
                    <a:pt x="874" y="137"/>
                    <a:pt x="857" y="145"/>
                  </a:cubicBezTo>
                  <a:cubicBezTo>
                    <a:pt x="840" y="154"/>
                    <a:pt x="814" y="154"/>
                    <a:pt x="797" y="162"/>
                  </a:cubicBezTo>
                  <a:cubicBezTo>
                    <a:pt x="788" y="180"/>
                    <a:pt x="780" y="188"/>
                    <a:pt x="746" y="205"/>
                  </a:cubicBezTo>
                  <a:cubicBezTo>
                    <a:pt x="711" y="222"/>
                    <a:pt x="660" y="231"/>
                    <a:pt x="634" y="248"/>
                  </a:cubicBezTo>
                  <a:cubicBezTo>
                    <a:pt x="608" y="265"/>
                    <a:pt x="565" y="265"/>
                    <a:pt x="540" y="274"/>
                  </a:cubicBezTo>
                  <a:cubicBezTo>
                    <a:pt x="514" y="283"/>
                    <a:pt x="514" y="317"/>
                    <a:pt x="497" y="334"/>
                  </a:cubicBezTo>
                  <a:cubicBezTo>
                    <a:pt x="480" y="351"/>
                    <a:pt x="428" y="351"/>
                    <a:pt x="411" y="351"/>
                  </a:cubicBezTo>
                  <a:cubicBezTo>
                    <a:pt x="394" y="351"/>
                    <a:pt x="377" y="351"/>
                    <a:pt x="351" y="360"/>
                  </a:cubicBezTo>
                  <a:cubicBezTo>
                    <a:pt x="334" y="368"/>
                    <a:pt x="325" y="420"/>
                    <a:pt x="317" y="428"/>
                  </a:cubicBezTo>
                  <a:cubicBezTo>
                    <a:pt x="300" y="446"/>
                    <a:pt x="274" y="454"/>
                    <a:pt x="257" y="446"/>
                  </a:cubicBezTo>
                  <a:cubicBezTo>
                    <a:pt x="231" y="446"/>
                    <a:pt x="205" y="454"/>
                    <a:pt x="188" y="471"/>
                  </a:cubicBezTo>
                  <a:cubicBezTo>
                    <a:pt x="180" y="480"/>
                    <a:pt x="137" y="497"/>
                    <a:pt x="137" y="497"/>
                  </a:cubicBezTo>
                  <a:cubicBezTo>
                    <a:pt x="137" y="514"/>
                    <a:pt x="154" y="548"/>
                    <a:pt x="154" y="565"/>
                  </a:cubicBezTo>
                  <a:cubicBezTo>
                    <a:pt x="154" y="583"/>
                    <a:pt x="145" y="591"/>
                    <a:pt x="111" y="608"/>
                  </a:cubicBezTo>
                  <a:cubicBezTo>
                    <a:pt x="85" y="634"/>
                    <a:pt x="103" y="677"/>
                    <a:pt x="94" y="711"/>
                  </a:cubicBezTo>
                  <a:cubicBezTo>
                    <a:pt x="94" y="745"/>
                    <a:pt x="68" y="728"/>
                    <a:pt x="51" y="737"/>
                  </a:cubicBezTo>
                  <a:cubicBezTo>
                    <a:pt x="34" y="737"/>
                    <a:pt x="26" y="754"/>
                    <a:pt x="34" y="771"/>
                  </a:cubicBezTo>
                  <a:cubicBezTo>
                    <a:pt x="34" y="797"/>
                    <a:pt x="51" y="814"/>
                    <a:pt x="43" y="814"/>
                  </a:cubicBezTo>
                  <a:cubicBezTo>
                    <a:pt x="26" y="823"/>
                    <a:pt x="26" y="823"/>
                    <a:pt x="26" y="848"/>
                  </a:cubicBezTo>
                  <a:cubicBezTo>
                    <a:pt x="26" y="865"/>
                    <a:pt x="17" y="874"/>
                    <a:pt x="0" y="874"/>
                  </a:cubicBezTo>
                  <a:cubicBezTo>
                    <a:pt x="0" y="882"/>
                    <a:pt x="8" y="900"/>
                    <a:pt x="8" y="908"/>
                  </a:cubicBezTo>
                  <a:cubicBezTo>
                    <a:pt x="17" y="934"/>
                    <a:pt x="60" y="968"/>
                    <a:pt x="77" y="977"/>
                  </a:cubicBezTo>
                  <a:cubicBezTo>
                    <a:pt x="103" y="985"/>
                    <a:pt x="137" y="1020"/>
                    <a:pt x="145" y="1037"/>
                  </a:cubicBezTo>
                  <a:cubicBezTo>
                    <a:pt x="163" y="1045"/>
                    <a:pt x="171" y="1054"/>
                    <a:pt x="171" y="1037"/>
                  </a:cubicBezTo>
                  <a:cubicBezTo>
                    <a:pt x="180" y="1028"/>
                    <a:pt x="171" y="1003"/>
                    <a:pt x="188" y="1020"/>
                  </a:cubicBezTo>
                  <a:cubicBezTo>
                    <a:pt x="205" y="1028"/>
                    <a:pt x="214" y="1028"/>
                    <a:pt x="231" y="1028"/>
                  </a:cubicBezTo>
                  <a:cubicBezTo>
                    <a:pt x="248" y="1037"/>
                    <a:pt x="266" y="1054"/>
                    <a:pt x="248" y="1054"/>
                  </a:cubicBezTo>
                  <a:cubicBezTo>
                    <a:pt x="240" y="1054"/>
                    <a:pt x="222" y="1045"/>
                    <a:pt x="205" y="1045"/>
                  </a:cubicBezTo>
                  <a:cubicBezTo>
                    <a:pt x="197" y="1054"/>
                    <a:pt x="188" y="1071"/>
                    <a:pt x="180" y="1080"/>
                  </a:cubicBezTo>
                  <a:cubicBezTo>
                    <a:pt x="171" y="1088"/>
                    <a:pt x="171" y="1114"/>
                    <a:pt x="188" y="1114"/>
                  </a:cubicBezTo>
                  <a:cubicBezTo>
                    <a:pt x="197" y="1114"/>
                    <a:pt x="197" y="1105"/>
                    <a:pt x="222" y="1131"/>
                  </a:cubicBezTo>
                  <a:cubicBezTo>
                    <a:pt x="240" y="1148"/>
                    <a:pt x="240" y="1148"/>
                    <a:pt x="248" y="1166"/>
                  </a:cubicBezTo>
                  <a:cubicBezTo>
                    <a:pt x="266" y="1183"/>
                    <a:pt x="283" y="1225"/>
                    <a:pt x="300" y="1225"/>
                  </a:cubicBezTo>
                  <a:cubicBezTo>
                    <a:pt x="317" y="1217"/>
                    <a:pt x="300" y="1174"/>
                    <a:pt x="334" y="1191"/>
                  </a:cubicBezTo>
                  <a:cubicBezTo>
                    <a:pt x="360" y="1217"/>
                    <a:pt x="368" y="1225"/>
                    <a:pt x="394" y="1225"/>
                  </a:cubicBezTo>
                  <a:cubicBezTo>
                    <a:pt x="411" y="1217"/>
                    <a:pt x="471" y="1191"/>
                    <a:pt x="471" y="1183"/>
                  </a:cubicBezTo>
                  <a:cubicBezTo>
                    <a:pt x="480" y="1166"/>
                    <a:pt x="531" y="1191"/>
                    <a:pt x="540" y="1191"/>
                  </a:cubicBezTo>
                  <a:cubicBezTo>
                    <a:pt x="548" y="1191"/>
                    <a:pt x="591" y="1148"/>
                    <a:pt x="608" y="1157"/>
                  </a:cubicBezTo>
                  <a:cubicBezTo>
                    <a:pt x="625" y="1166"/>
                    <a:pt x="617" y="1183"/>
                    <a:pt x="625" y="1183"/>
                  </a:cubicBezTo>
                  <a:cubicBezTo>
                    <a:pt x="634" y="1183"/>
                    <a:pt x="643" y="1174"/>
                    <a:pt x="668" y="1183"/>
                  </a:cubicBezTo>
                  <a:cubicBezTo>
                    <a:pt x="685" y="1191"/>
                    <a:pt x="702" y="1183"/>
                    <a:pt x="728" y="1191"/>
                  </a:cubicBezTo>
                  <a:cubicBezTo>
                    <a:pt x="754" y="1191"/>
                    <a:pt x="805" y="1191"/>
                    <a:pt x="797" y="1200"/>
                  </a:cubicBezTo>
                  <a:cubicBezTo>
                    <a:pt x="788" y="1208"/>
                    <a:pt x="771" y="1217"/>
                    <a:pt x="754" y="1225"/>
                  </a:cubicBezTo>
                  <a:cubicBezTo>
                    <a:pt x="737" y="1234"/>
                    <a:pt x="720" y="1234"/>
                    <a:pt x="720" y="1243"/>
                  </a:cubicBezTo>
                  <a:cubicBezTo>
                    <a:pt x="720" y="1251"/>
                    <a:pt x="746" y="1260"/>
                    <a:pt x="728" y="1268"/>
                  </a:cubicBezTo>
                  <a:cubicBezTo>
                    <a:pt x="720" y="1268"/>
                    <a:pt x="702" y="1277"/>
                    <a:pt x="685" y="1260"/>
                  </a:cubicBezTo>
                  <a:cubicBezTo>
                    <a:pt x="668" y="1243"/>
                    <a:pt x="608" y="1234"/>
                    <a:pt x="591" y="1234"/>
                  </a:cubicBezTo>
                  <a:cubicBezTo>
                    <a:pt x="583" y="1234"/>
                    <a:pt x="557" y="1234"/>
                    <a:pt x="514" y="1225"/>
                  </a:cubicBezTo>
                  <a:cubicBezTo>
                    <a:pt x="480" y="1208"/>
                    <a:pt x="480" y="1191"/>
                    <a:pt x="471" y="1200"/>
                  </a:cubicBezTo>
                  <a:cubicBezTo>
                    <a:pt x="454" y="1217"/>
                    <a:pt x="428" y="1217"/>
                    <a:pt x="420" y="1225"/>
                  </a:cubicBezTo>
                  <a:cubicBezTo>
                    <a:pt x="420" y="1234"/>
                    <a:pt x="428" y="1268"/>
                    <a:pt x="411" y="1268"/>
                  </a:cubicBezTo>
                  <a:cubicBezTo>
                    <a:pt x="385" y="1268"/>
                    <a:pt x="360" y="1251"/>
                    <a:pt x="351" y="1260"/>
                  </a:cubicBezTo>
                  <a:cubicBezTo>
                    <a:pt x="351" y="1277"/>
                    <a:pt x="334" y="1320"/>
                    <a:pt x="325" y="1328"/>
                  </a:cubicBezTo>
                  <a:cubicBezTo>
                    <a:pt x="308" y="1337"/>
                    <a:pt x="300" y="1363"/>
                    <a:pt x="308" y="1371"/>
                  </a:cubicBezTo>
                  <a:cubicBezTo>
                    <a:pt x="308" y="1380"/>
                    <a:pt x="308" y="1363"/>
                    <a:pt x="343" y="1388"/>
                  </a:cubicBezTo>
                  <a:cubicBezTo>
                    <a:pt x="368" y="1414"/>
                    <a:pt x="403" y="1448"/>
                    <a:pt x="420" y="1457"/>
                  </a:cubicBezTo>
                  <a:cubicBezTo>
                    <a:pt x="437" y="1465"/>
                    <a:pt x="462" y="1491"/>
                    <a:pt x="462" y="1517"/>
                  </a:cubicBezTo>
                  <a:cubicBezTo>
                    <a:pt x="462" y="1534"/>
                    <a:pt x="445" y="1551"/>
                    <a:pt x="454" y="1568"/>
                  </a:cubicBezTo>
                  <a:cubicBezTo>
                    <a:pt x="454" y="1586"/>
                    <a:pt x="480" y="1628"/>
                    <a:pt x="480" y="1646"/>
                  </a:cubicBezTo>
                  <a:cubicBezTo>
                    <a:pt x="488" y="1654"/>
                    <a:pt x="488" y="1663"/>
                    <a:pt x="514" y="1663"/>
                  </a:cubicBezTo>
                  <a:cubicBezTo>
                    <a:pt x="540" y="1671"/>
                    <a:pt x="548" y="1688"/>
                    <a:pt x="548" y="1663"/>
                  </a:cubicBezTo>
                  <a:cubicBezTo>
                    <a:pt x="548" y="1646"/>
                    <a:pt x="531" y="1628"/>
                    <a:pt x="548" y="1611"/>
                  </a:cubicBezTo>
                  <a:cubicBezTo>
                    <a:pt x="557" y="1603"/>
                    <a:pt x="565" y="1577"/>
                    <a:pt x="583" y="1603"/>
                  </a:cubicBezTo>
                  <a:cubicBezTo>
                    <a:pt x="591" y="1620"/>
                    <a:pt x="617" y="1620"/>
                    <a:pt x="634" y="1646"/>
                  </a:cubicBezTo>
                  <a:cubicBezTo>
                    <a:pt x="651" y="1663"/>
                    <a:pt x="668" y="1688"/>
                    <a:pt x="677" y="1705"/>
                  </a:cubicBezTo>
                  <a:cubicBezTo>
                    <a:pt x="677" y="1723"/>
                    <a:pt x="702" y="1748"/>
                    <a:pt x="702" y="1731"/>
                  </a:cubicBezTo>
                  <a:cubicBezTo>
                    <a:pt x="702" y="1723"/>
                    <a:pt x="694" y="1671"/>
                    <a:pt x="711" y="1654"/>
                  </a:cubicBezTo>
                  <a:cubicBezTo>
                    <a:pt x="720" y="1637"/>
                    <a:pt x="746" y="1620"/>
                    <a:pt x="754" y="1637"/>
                  </a:cubicBezTo>
                  <a:cubicBezTo>
                    <a:pt x="763" y="1646"/>
                    <a:pt x="805" y="1671"/>
                    <a:pt x="823" y="1688"/>
                  </a:cubicBezTo>
                  <a:cubicBezTo>
                    <a:pt x="840" y="1697"/>
                    <a:pt x="865" y="1723"/>
                    <a:pt x="865" y="1705"/>
                  </a:cubicBezTo>
                  <a:cubicBezTo>
                    <a:pt x="865" y="1688"/>
                    <a:pt x="823" y="1663"/>
                    <a:pt x="823" y="1646"/>
                  </a:cubicBezTo>
                  <a:cubicBezTo>
                    <a:pt x="831" y="1628"/>
                    <a:pt x="840" y="1628"/>
                    <a:pt x="831" y="1603"/>
                  </a:cubicBezTo>
                  <a:cubicBezTo>
                    <a:pt x="814" y="1586"/>
                    <a:pt x="805" y="1543"/>
                    <a:pt x="788" y="1525"/>
                  </a:cubicBezTo>
                  <a:cubicBezTo>
                    <a:pt x="771" y="1508"/>
                    <a:pt x="754" y="1491"/>
                    <a:pt x="737" y="1465"/>
                  </a:cubicBezTo>
                  <a:cubicBezTo>
                    <a:pt x="720" y="1440"/>
                    <a:pt x="694" y="1406"/>
                    <a:pt x="711" y="1397"/>
                  </a:cubicBezTo>
                  <a:cubicBezTo>
                    <a:pt x="728" y="1397"/>
                    <a:pt x="746" y="1397"/>
                    <a:pt x="771" y="1406"/>
                  </a:cubicBezTo>
                  <a:cubicBezTo>
                    <a:pt x="788" y="1414"/>
                    <a:pt x="797" y="1423"/>
                    <a:pt x="797" y="1431"/>
                  </a:cubicBezTo>
                  <a:cubicBezTo>
                    <a:pt x="805" y="1448"/>
                    <a:pt x="780" y="1474"/>
                    <a:pt x="814" y="1457"/>
                  </a:cubicBezTo>
                  <a:cubicBezTo>
                    <a:pt x="840" y="1440"/>
                    <a:pt x="857" y="1423"/>
                    <a:pt x="874" y="1414"/>
                  </a:cubicBezTo>
                  <a:cubicBezTo>
                    <a:pt x="891" y="1406"/>
                    <a:pt x="900" y="1397"/>
                    <a:pt x="891" y="1388"/>
                  </a:cubicBezTo>
                  <a:cubicBezTo>
                    <a:pt x="883" y="1380"/>
                    <a:pt x="883" y="1371"/>
                    <a:pt x="857" y="1371"/>
                  </a:cubicBezTo>
                  <a:cubicBezTo>
                    <a:pt x="840" y="1371"/>
                    <a:pt x="823" y="1371"/>
                    <a:pt x="814" y="1354"/>
                  </a:cubicBezTo>
                  <a:cubicBezTo>
                    <a:pt x="797" y="1328"/>
                    <a:pt x="797" y="1311"/>
                    <a:pt x="780" y="1303"/>
                  </a:cubicBezTo>
                  <a:cubicBezTo>
                    <a:pt x="771" y="1294"/>
                    <a:pt x="754" y="1303"/>
                    <a:pt x="763" y="1285"/>
                  </a:cubicBezTo>
                  <a:cubicBezTo>
                    <a:pt x="763" y="1277"/>
                    <a:pt x="814" y="1251"/>
                    <a:pt x="823" y="1243"/>
                  </a:cubicBezTo>
                  <a:cubicBezTo>
                    <a:pt x="831" y="1234"/>
                    <a:pt x="840" y="1225"/>
                    <a:pt x="840" y="1243"/>
                  </a:cubicBezTo>
                  <a:cubicBezTo>
                    <a:pt x="840" y="1260"/>
                    <a:pt x="848" y="1260"/>
                    <a:pt x="857" y="1251"/>
                  </a:cubicBezTo>
                  <a:cubicBezTo>
                    <a:pt x="874" y="1234"/>
                    <a:pt x="891" y="1225"/>
                    <a:pt x="917" y="1251"/>
                  </a:cubicBezTo>
                  <a:cubicBezTo>
                    <a:pt x="942" y="1268"/>
                    <a:pt x="977" y="1285"/>
                    <a:pt x="986" y="1294"/>
                  </a:cubicBezTo>
                  <a:cubicBezTo>
                    <a:pt x="994" y="1303"/>
                    <a:pt x="1003" y="1311"/>
                    <a:pt x="1003" y="1294"/>
                  </a:cubicBezTo>
                  <a:cubicBezTo>
                    <a:pt x="1011" y="1277"/>
                    <a:pt x="1020" y="1285"/>
                    <a:pt x="1003" y="1260"/>
                  </a:cubicBezTo>
                  <a:cubicBezTo>
                    <a:pt x="994" y="1243"/>
                    <a:pt x="977" y="1208"/>
                    <a:pt x="977" y="1191"/>
                  </a:cubicBezTo>
                  <a:cubicBezTo>
                    <a:pt x="977" y="1174"/>
                    <a:pt x="994" y="1166"/>
                    <a:pt x="968" y="1148"/>
                  </a:cubicBezTo>
                  <a:cubicBezTo>
                    <a:pt x="942" y="1122"/>
                    <a:pt x="925" y="1131"/>
                    <a:pt x="900" y="1122"/>
                  </a:cubicBezTo>
                  <a:cubicBezTo>
                    <a:pt x="883" y="1114"/>
                    <a:pt x="891" y="1114"/>
                    <a:pt x="857" y="1088"/>
                  </a:cubicBezTo>
                  <a:cubicBezTo>
                    <a:pt x="814" y="1063"/>
                    <a:pt x="823" y="1105"/>
                    <a:pt x="797" y="1080"/>
                  </a:cubicBezTo>
                  <a:cubicBezTo>
                    <a:pt x="780" y="1054"/>
                    <a:pt x="788" y="1054"/>
                    <a:pt x="771" y="1054"/>
                  </a:cubicBezTo>
                  <a:cubicBezTo>
                    <a:pt x="746" y="1054"/>
                    <a:pt x="728" y="1054"/>
                    <a:pt x="720" y="1045"/>
                  </a:cubicBezTo>
                  <a:cubicBezTo>
                    <a:pt x="720" y="1045"/>
                    <a:pt x="711" y="1028"/>
                    <a:pt x="694" y="1028"/>
                  </a:cubicBezTo>
                  <a:cubicBezTo>
                    <a:pt x="677" y="1028"/>
                    <a:pt x="591" y="1020"/>
                    <a:pt x="608" y="1011"/>
                  </a:cubicBezTo>
                  <a:cubicBezTo>
                    <a:pt x="625" y="1003"/>
                    <a:pt x="643" y="994"/>
                    <a:pt x="660" y="994"/>
                  </a:cubicBezTo>
                  <a:cubicBezTo>
                    <a:pt x="677" y="1003"/>
                    <a:pt x="685" y="1011"/>
                    <a:pt x="685" y="994"/>
                  </a:cubicBezTo>
                  <a:cubicBezTo>
                    <a:pt x="685" y="985"/>
                    <a:pt x="685" y="943"/>
                    <a:pt x="685" y="943"/>
                  </a:cubicBezTo>
                  <a:cubicBezTo>
                    <a:pt x="685" y="943"/>
                    <a:pt x="702" y="908"/>
                    <a:pt x="720" y="908"/>
                  </a:cubicBezTo>
                  <a:cubicBezTo>
                    <a:pt x="737" y="900"/>
                    <a:pt x="763" y="900"/>
                    <a:pt x="754" y="882"/>
                  </a:cubicBezTo>
                  <a:cubicBezTo>
                    <a:pt x="754" y="865"/>
                    <a:pt x="711" y="823"/>
                    <a:pt x="685" y="805"/>
                  </a:cubicBezTo>
                  <a:cubicBezTo>
                    <a:pt x="651" y="788"/>
                    <a:pt x="634" y="780"/>
                    <a:pt x="625" y="763"/>
                  </a:cubicBezTo>
                  <a:cubicBezTo>
                    <a:pt x="625" y="745"/>
                    <a:pt x="557" y="677"/>
                    <a:pt x="540" y="660"/>
                  </a:cubicBezTo>
                  <a:cubicBezTo>
                    <a:pt x="523" y="642"/>
                    <a:pt x="531" y="634"/>
                    <a:pt x="531" y="608"/>
                  </a:cubicBezTo>
                  <a:cubicBezTo>
                    <a:pt x="531" y="583"/>
                    <a:pt x="506" y="548"/>
                    <a:pt x="523" y="531"/>
                  </a:cubicBezTo>
                  <a:cubicBezTo>
                    <a:pt x="540" y="523"/>
                    <a:pt x="565" y="471"/>
                    <a:pt x="583" y="488"/>
                  </a:cubicBezTo>
                  <a:cubicBezTo>
                    <a:pt x="591" y="505"/>
                    <a:pt x="583" y="505"/>
                    <a:pt x="583" y="514"/>
                  </a:cubicBezTo>
                  <a:cubicBezTo>
                    <a:pt x="574" y="523"/>
                    <a:pt x="583" y="548"/>
                    <a:pt x="608" y="557"/>
                  </a:cubicBezTo>
                  <a:cubicBezTo>
                    <a:pt x="643" y="565"/>
                    <a:pt x="677" y="574"/>
                    <a:pt x="685" y="574"/>
                  </a:cubicBezTo>
                  <a:cubicBezTo>
                    <a:pt x="694" y="574"/>
                    <a:pt x="685" y="557"/>
                    <a:pt x="720" y="565"/>
                  </a:cubicBezTo>
                  <a:cubicBezTo>
                    <a:pt x="763" y="565"/>
                    <a:pt x="771" y="565"/>
                    <a:pt x="788" y="583"/>
                  </a:cubicBezTo>
                  <a:cubicBezTo>
                    <a:pt x="805" y="608"/>
                    <a:pt x="823" y="642"/>
                    <a:pt x="848" y="634"/>
                  </a:cubicBezTo>
                  <a:cubicBezTo>
                    <a:pt x="874" y="625"/>
                    <a:pt x="857" y="574"/>
                    <a:pt x="848" y="574"/>
                  </a:cubicBezTo>
                  <a:cubicBezTo>
                    <a:pt x="840" y="574"/>
                    <a:pt x="814" y="583"/>
                    <a:pt x="797" y="565"/>
                  </a:cubicBezTo>
                  <a:cubicBezTo>
                    <a:pt x="780" y="540"/>
                    <a:pt x="771" y="523"/>
                    <a:pt x="788" y="531"/>
                  </a:cubicBezTo>
                  <a:cubicBezTo>
                    <a:pt x="814" y="531"/>
                    <a:pt x="814" y="514"/>
                    <a:pt x="805" y="497"/>
                  </a:cubicBezTo>
                  <a:cubicBezTo>
                    <a:pt x="788" y="471"/>
                    <a:pt x="805" y="480"/>
                    <a:pt x="805" y="463"/>
                  </a:cubicBezTo>
                  <a:cubicBezTo>
                    <a:pt x="805" y="437"/>
                    <a:pt x="805" y="428"/>
                    <a:pt x="823" y="411"/>
                  </a:cubicBezTo>
                  <a:cubicBezTo>
                    <a:pt x="840" y="402"/>
                    <a:pt x="865" y="402"/>
                    <a:pt x="883" y="377"/>
                  </a:cubicBezTo>
                  <a:cubicBezTo>
                    <a:pt x="900" y="343"/>
                    <a:pt x="891" y="325"/>
                    <a:pt x="908" y="325"/>
                  </a:cubicBezTo>
                  <a:cubicBezTo>
                    <a:pt x="925" y="325"/>
                    <a:pt x="942" y="334"/>
                    <a:pt x="968" y="334"/>
                  </a:cubicBezTo>
                  <a:cubicBezTo>
                    <a:pt x="994" y="325"/>
                    <a:pt x="1037" y="265"/>
                    <a:pt x="1054" y="274"/>
                  </a:cubicBezTo>
                  <a:cubicBezTo>
                    <a:pt x="1080" y="291"/>
                    <a:pt x="1071" y="291"/>
                    <a:pt x="1123" y="291"/>
                  </a:cubicBezTo>
                  <a:cubicBezTo>
                    <a:pt x="1165" y="291"/>
                    <a:pt x="1268" y="283"/>
                    <a:pt x="1268" y="300"/>
                  </a:cubicBezTo>
                  <a:cubicBezTo>
                    <a:pt x="1268" y="308"/>
                    <a:pt x="1277" y="317"/>
                    <a:pt x="1277" y="325"/>
                  </a:cubicBezTo>
                  <a:cubicBezTo>
                    <a:pt x="1294" y="291"/>
                    <a:pt x="1311" y="248"/>
                    <a:pt x="1311" y="231"/>
                  </a:cubicBezTo>
                  <a:cubicBezTo>
                    <a:pt x="1320" y="214"/>
                    <a:pt x="1311" y="171"/>
                    <a:pt x="1311" y="15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60" name="Freeform 61"/>
            <p:cNvSpPr>
              <a:spLocks noChangeArrowheads="1"/>
            </p:cNvSpPr>
            <p:nvPr/>
          </p:nvSpPr>
          <p:spPr bwMode="auto">
            <a:xfrm>
              <a:off x="3482975" y="4037013"/>
              <a:ext cx="160338" cy="317500"/>
            </a:xfrm>
            <a:custGeom>
              <a:avLst/>
              <a:gdLst>
                <a:gd name="T0" fmla="*/ 2147483647 w 447"/>
                <a:gd name="T1" fmla="*/ 2147483647 h 884"/>
                <a:gd name="T2" fmla="*/ 2147483647 w 447"/>
                <a:gd name="T3" fmla="*/ 2147483647 h 884"/>
                <a:gd name="T4" fmla="*/ 2147483647 w 447"/>
                <a:gd name="T5" fmla="*/ 2147483647 h 884"/>
                <a:gd name="T6" fmla="*/ 2147483647 w 447"/>
                <a:gd name="T7" fmla="*/ 2147483647 h 884"/>
                <a:gd name="T8" fmla="*/ 2147483647 w 447"/>
                <a:gd name="T9" fmla="*/ 2147483647 h 884"/>
                <a:gd name="T10" fmla="*/ 2147483647 w 447"/>
                <a:gd name="T11" fmla="*/ 2147483647 h 884"/>
                <a:gd name="T12" fmla="*/ 2147483647 w 447"/>
                <a:gd name="T13" fmla="*/ 2147483647 h 884"/>
                <a:gd name="T14" fmla="*/ 2147483647 w 447"/>
                <a:gd name="T15" fmla="*/ 2147483647 h 884"/>
                <a:gd name="T16" fmla="*/ 2147483647 w 447"/>
                <a:gd name="T17" fmla="*/ 2147483647 h 884"/>
                <a:gd name="T18" fmla="*/ 2147483647 w 447"/>
                <a:gd name="T19" fmla="*/ 2147483647 h 884"/>
                <a:gd name="T20" fmla="*/ 2147483647 w 447"/>
                <a:gd name="T21" fmla="*/ 2147483647 h 884"/>
                <a:gd name="T22" fmla="*/ 2147483647 w 447"/>
                <a:gd name="T23" fmla="*/ 2147483647 h 884"/>
                <a:gd name="T24" fmla="*/ 2147483647 w 447"/>
                <a:gd name="T25" fmla="*/ 2147483647 h 884"/>
                <a:gd name="T26" fmla="*/ 2147483647 w 447"/>
                <a:gd name="T27" fmla="*/ 2147483647 h 884"/>
                <a:gd name="T28" fmla="*/ 2147483647 w 447"/>
                <a:gd name="T29" fmla="*/ 2147483647 h 884"/>
                <a:gd name="T30" fmla="*/ 2147483647 w 447"/>
                <a:gd name="T31" fmla="*/ 2147483647 h 884"/>
                <a:gd name="T32" fmla="*/ 2147483647 w 447"/>
                <a:gd name="T33" fmla="*/ 2147483647 h 884"/>
                <a:gd name="T34" fmla="*/ 2147483647 w 447"/>
                <a:gd name="T35" fmla="*/ 2147483647 h 884"/>
                <a:gd name="T36" fmla="*/ 2147483647 w 447"/>
                <a:gd name="T37" fmla="*/ 2147483647 h 884"/>
                <a:gd name="T38" fmla="*/ 2147483647 w 447"/>
                <a:gd name="T39" fmla="*/ 2147483647 h 884"/>
                <a:gd name="T40" fmla="*/ 2147483647 w 447"/>
                <a:gd name="T41" fmla="*/ 2147483647 h 884"/>
                <a:gd name="T42" fmla="*/ 2147483647 w 447"/>
                <a:gd name="T43" fmla="*/ 2147483647 h 884"/>
                <a:gd name="T44" fmla="*/ 2147483647 w 447"/>
                <a:gd name="T45" fmla="*/ 2147483647 h 884"/>
                <a:gd name="T46" fmla="*/ 0 w 447"/>
                <a:gd name="T47" fmla="*/ 2147483647 h 884"/>
                <a:gd name="T48" fmla="*/ 2147483647 w 447"/>
                <a:gd name="T49" fmla="*/ 2147483647 h 884"/>
                <a:gd name="T50" fmla="*/ 2147483647 w 447"/>
                <a:gd name="T51" fmla="*/ 2147483647 h 884"/>
                <a:gd name="T52" fmla="*/ 2147483647 w 447"/>
                <a:gd name="T53" fmla="*/ 2147483647 h 884"/>
                <a:gd name="T54" fmla="*/ 2147483647 w 447"/>
                <a:gd name="T55" fmla="*/ 2147483647 h 884"/>
                <a:gd name="T56" fmla="*/ 2147483647 w 447"/>
                <a:gd name="T57" fmla="*/ 2147483647 h 884"/>
                <a:gd name="T58" fmla="*/ 2147483647 w 447"/>
                <a:gd name="T59" fmla="*/ 2147483647 h 884"/>
                <a:gd name="T60" fmla="*/ 2147483647 w 447"/>
                <a:gd name="T61" fmla="*/ 2147483647 h 884"/>
                <a:gd name="T62" fmla="*/ 2147483647 w 447"/>
                <a:gd name="T63" fmla="*/ 2147483647 h 884"/>
                <a:gd name="T64" fmla="*/ 2147483647 w 447"/>
                <a:gd name="T65" fmla="*/ 2147483647 h 884"/>
                <a:gd name="T66" fmla="*/ 2147483647 w 447"/>
                <a:gd name="T67" fmla="*/ 2147483647 h 884"/>
                <a:gd name="T68" fmla="*/ 2147483647 w 447"/>
                <a:gd name="T69" fmla="*/ 2147483647 h 884"/>
                <a:gd name="T70" fmla="*/ 2147483647 w 447"/>
                <a:gd name="T71" fmla="*/ 2147483647 h 884"/>
                <a:gd name="T72" fmla="*/ 2147483647 w 447"/>
                <a:gd name="T73" fmla="*/ 2147483647 h 884"/>
                <a:gd name="T74" fmla="*/ 2147483647 w 447"/>
                <a:gd name="T75" fmla="*/ 2147483647 h 884"/>
                <a:gd name="T76" fmla="*/ 2147483647 w 447"/>
                <a:gd name="T77" fmla="*/ 2147483647 h 884"/>
                <a:gd name="T78" fmla="*/ 2147483647 w 447"/>
                <a:gd name="T79" fmla="*/ 2147483647 h 884"/>
                <a:gd name="T80" fmla="*/ 2147483647 w 447"/>
                <a:gd name="T81" fmla="*/ 2147483647 h 884"/>
                <a:gd name="T82" fmla="*/ 2147483647 w 447"/>
                <a:gd name="T83" fmla="*/ 2147483647 h 884"/>
                <a:gd name="T84" fmla="*/ 2147483647 w 447"/>
                <a:gd name="T85" fmla="*/ 2147483647 h 8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47"/>
                <a:gd name="T130" fmla="*/ 0 h 884"/>
                <a:gd name="T131" fmla="*/ 447 w 447"/>
                <a:gd name="T132" fmla="*/ 884 h 8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47" h="884">
                  <a:moveTo>
                    <a:pt x="318" y="857"/>
                  </a:moveTo>
                  <a:lnTo>
                    <a:pt x="318" y="857"/>
                  </a:lnTo>
                  <a:cubicBezTo>
                    <a:pt x="318" y="832"/>
                    <a:pt x="318" y="832"/>
                    <a:pt x="335" y="823"/>
                  </a:cubicBezTo>
                  <a:cubicBezTo>
                    <a:pt x="343" y="823"/>
                    <a:pt x="326" y="806"/>
                    <a:pt x="326" y="780"/>
                  </a:cubicBezTo>
                  <a:cubicBezTo>
                    <a:pt x="318" y="763"/>
                    <a:pt x="326" y="746"/>
                    <a:pt x="343" y="746"/>
                  </a:cubicBezTo>
                  <a:cubicBezTo>
                    <a:pt x="360" y="737"/>
                    <a:pt x="386" y="754"/>
                    <a:pt x="386" y="720"/>
                  </a:cubicBezTo>
                  <a:cubicBezTo>
                    <a:pt x="395" y="686"/>
                    <a:pt x="377" y="643"/>
                    <a:pt x="403" y="617"/>
                  </a:cubicBezTo>
                  <a:cubicBezTo>
                    <a:pt x="437" y="600"/>
                    <a:pt x="446" y="592"/>
                    <a:pt x="446" y="574"/>
                  </a:cubicBezTo>
                  <a:cubicBezTo>
                    <a:pt x="446" y="557"/>
                    <a:pt x="429" y="523"/>
                    <a:pt x="429" y="506"/>
                  </a:cubicBezTo>
                  <a:cubicBezTo>
                    <a:pt x="429" y="489"/>
                    <a:pt x="429" y="489"/>
                    <a:pt x="412" y="489"/>
                  </a:cubicBezTo>
                  <a:cubicBezTo>
                    <a:pt x="395" y="489"/>
                    <a:pt x="386" y="506"/>
                    <a:pt x="369" y="489"/>
                  </a:cubicBezTo>
                  <a:cubicBezTo>
                    <a:pt x="352" y="463"/>
                    <a:pt x="309" y="411"/>
                    <a:pt x="309" y="377"/>
                  </a:cubicBezTo>
                  <a:cubicBezTo>
                    <a:pt x="300" y="352"/>
                    <a:pt x="309" y="352"/>
                    <a:pt x="292" y="334"/>
                  </a:cubicBezTo>
                  <a:cubicBezTo>
                    <a:pt x="283" y="317"/>
                    <a:pt x="274" y="300"/>
                    <a:pt x="283" y="292"/>
                  </a:cubicBezTo>
                  <a:cubicBezTo>
                    <a:pt x="292" y="283"/>
                    <a:pt x="283" y="274"/>
                    <a:pt x="283" y="240"/>
                  </a:cubicBezTo>
                  <a:cubicBezTo>
                    <a:pt x="283" y="214"/>
                    <a:pt x="309" y="197"/>
                    <a:pt x="292" y="171"/>
                  </a:cubicBezTo>
                  <a:cubicBezTo>
                    <a:pt x="283" y="146"/>
                    <a:pt x="292" y="146"/>
                    <a:pt x="266" y="120"/>
                  </a:cubicBezTo>
                  <a:cubicBezTo>
                    <a:pt x="249" y="94"/>
                    <a:pt x="249" y="94"/>
                    <a:pt x="223" y="86"/>
                  </a:cubicBezTo>
                  <a:cubicBezTo>
                    <a:pt x="197" y="77"/>
                    <a:pt x="197" y="86"/>
                    <a:pt x="189" y="60"/>
                  </a:cubicBezTo>
                  <a:cubicBezTo>
                    <a:pt x="180" y="43"/>
                    <a:pt x="172" y="26"/>
                    <a:pt x="155" y="34"/>
                  </a:cubicBezTo>
                  <a:cubicBezTo>
                    <a:pt x="146" y="34"/>
                    <a:pt x="112" y="69"/>
                    <a:pt x="95" y="52"/>
                  </a:cubicBezTo>
                  <a:cubicBezTo>
                    <a:pt x="86" y="26"/>
                    <a:pt x="78" y="0"/>
                    <a:pt x="69" y="9"/>
                  </a:cubicBezTo>
                  <a:cubicBezTo>
                    <a:pt x="60" y="17"/>
                    <a:pt x="60" y="26"/>
                    <a:pt x="34" y="60"/>
                  </a:cubicBezTo>
                  <a:cubicBezTo>
                    <a:pt x="9" y="86"/>
                    <a:pt x="0" y="137"/>
                    <a:pt x="0" y="154"/>
                  </a:cubicBezTo>
                  <a:cubicBezTo>
                    <a:pt x="0" y="171"/>
                    <a:pt x="26" y="154"/>
                    <a:pt x="17" y="240"/>
                  </a:cubicBezTo>
                  <a:cubicBezTo>
                    <a:pt x="52" y="249"/>
                    <a:pt x="86" y="249"/>
                    <a:pt x="78" y="274"/>
                  </a:cubicBezTo>
                  <a:cubicBezTo>
                    <a:pt x="78" y="300"/>
                    <a:pt x="86" y="326"/>
                    <a:pt x="78" y="326"/>
                  </a:cubicBezTo>
                  <a:cubicBezTo>
                    <a:pt x="60" y="343"/>
                    <a:pt x="60" y="343"/>
                    <a:pt x="60" y="343"/>
                  </a:cubicBezTo>
                  <a:cubicBezTo>
                    <a:pt x="60" y="343"/>
                    <a:pt x="43" y="386"/>
                    <a:pt x="52" y="394"/>
                  </a:cubicBezTo>
                  <a:cubicBezTo>
                    <a:pt x="60" y="403"/>
                    <a:pt x="60" y="403"/>
                    <a:pt x="78" y="420"/>
                  </a:cubicBezTo>
                  <a:cubicBezTo>
                    <a:pt x="95" y="429"/>
                    <a:pt x="95" y="437"/>
                    <a:pt x="86" y="455"/>
                  </a:cubicBezTo>
                  <a:cubicBezTo>
                    <a:pt x="86" y="480"/>
                    <a:pt x="86" y="506"/>
                    <a:pt x="86" y="514"/>
                  </a:cubicBezTo>
                  <a:cubicBezTo>
                    <a:pt x="86" y="523"/>
                    <a:pt x="60" y="532"/>
                    <a:pt x="60" y="549"/>
                  </a:cubicBezTo>
                  <a:cubicBezTo>
                    <a:pt x="60" y="574"/>
                    <a:pt x="69" y="626"/>
                    <a:pt x="69" y="626"/>
                  </a:cubicBezTo>
                  <a:cubicBezTo>
                    <a:pt x="69" y="626"/>
                    <a:pt x="86" y="643"/>
                    <a:pt x="86" y="651"/>
                  </a:cubicBezTo>
                  <a:cubicBezTo>
                    <a:pt x="95" y="660"/>
                    <a:pt x="112" y="669"/>
                    <a:pt x="103" y="677"/>
                  </a:cubicBezTo>
                  <a:cubicBezTo>
                    <a:pt x="95" y="686"/>
                    <a:pt x="60" y="660"/>
                    <a:pt x="60" y="677"/>
                  </a:cubicBezTo>
                  <a:cubicBezTo>
                    <a:pt x="69" y="695"/>
                    <a:pt x="95" y="729"/>
                    <a:pt x="120" y="737"/>
                  </a:cubicBezTo>
                  <a:cubicBezTo>
                    <a:pt x="137" y="746"/>
                    <a:pt x="189" y="772"/>
                    <a:pt x="197" y="780"/>
                  </a:cubicBezTo>
                  <a:cubicBezTo>
                    <a:pt x="215" y="797"/>
                    <a:pt x="249" y="823"/>
                    <a:pt x="249" y="840"/>
                  </a:cubicBezTo>
                  <a:cubicBezTo>
                    <a:pt x="257" y="857"/>
                    <a:pt x="292" y="883"/>
                    <a:pt x="292" y="883"/>
                  </a:cubicBezTo>
                  <a:cubicBezTo>
                    <a:pt x="309" y="883"/>
                    <a:pt x="318" y="874"/>
                    <a:pt x="318" y="85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61" name="Freeform 62"/>
            <p:cNvSpPr>
              <a:spLocks noChangeArrowheads="1"/>
            </p:cNvSpPr>
            <p:nvPr/>
          </p:nvSpPr>
          <p:spPr bwMode="auto">
            <a:xfrm>
              <a:off x="3173413" y="3781425"/>
              <a:ext cx="306387" cy="280988"/>
            </a:xfrm>
            <a:custGeom>
              <a:avLst/>
              <a:gdLst>
                <a:gd name="T0" fmla="*/ 2147483647 w 850"/>
                <a:gd name="T1" fmla="*/ 2147483647 h 781"/>
                <a:gd name="T2" fmla="*/ 2147483647 w 850"/>
                <a:gd name="T3" fmla="*/ 2147483647 h 781"/>
                <a:gd name="T4" fmla="*/ 2147483647 w 850"/>
                <a:gd name="T5" fmla="*/ 2147483647 h 781"/>
                <a:gd name="T6" fmla="*/ 2147483647 w 850"/>
                <a:gd name="T7" fmla="*/ 2147483647 h 781"/>
                <a:gd name="T8" fmla="*/ 2147483647 w 850"/>
                <a:gd name="T9" fmla="*/ 2147483647 h 781"/>
                <a:gd name="T10" fmla="*/ 2147483647 w 850"/>
                <a:gd name="T11" fmla="*/ 2147483647 h 781"/>
                <a:gd name="T12" fmla="*/ 2147483647 w 850"/>
                <a:gd name="T13" fmla="*/ 2147483647 h 781"/>
                <a:gd name="T14" fmla="*/ 2147483647 w 850"/>
                <a:gd name="T15" fmla="*/ 2147483647 h 781"/>
                <a:gd name="T16" fmla="*/ 2147483647 w 850"/>
                <a:gd name="T17" fmla="*/ 2147483647 h 781"/>
                <a:gd name="T18" fmla="*/ 2147483647 w 850"/>
                <a:gd name="T19" fmla="*/ 2147483647 h 781"/>
                <a:gd name="T20" fmla="*/ 2147483647 w 850"/>
                <a:gd name="T21" fmla="*/ 2147483647 h 781"/>
                <a:gd name="T22" fmla="*/ 2147483647 w 850"/>
                <a:gd name="T23" fmla="*/ 2147483647 h 781"/>
                <a:gd name="T24" fmla="*/ 2147483647 w 850"/>
                <a:gd name="T25" fmla="*/ 2147483647 h 781"/>
                <a:gd name="T26" fmla="*/ 2147483647 w 850"/>
                <a:gd name="T27" fmla="*/ 2147483647 h 781"/>
                <a:gd name="T28" fmla="*/ 2147483647 w 850"/>
                <a:gd name="T29" fmla="*/ 2147483647 h 781"/>
                <a:gd name="T30" fmla="*/ 2147483647 w 850"/>
                <a:gd name="T31" fmla="*/ 2147483647 h 781"/>
                <a:gd name="T32" fmla="*/ 2147483647 w 850"/>
                <a:gd name="T33" fmla="*/ 2147483647 h 781"/>
                <a:gd name="T34" fmla="*/ 2147483647 w 850"/>
                <a:gd name="T35" fmla="*/ 2147483647 h 781"/>
                <a:gd name="T36" fmla="*/ 2147483647 w 850"/>
                <a:gd name="T37" fmla="*/ 2147483647 h 781"/>
                <a:gd name="T38" fmla="*/ 2147483647 w 850"/>
                <a:gd name="T39" fmla="*/ 2147483647 h 781"/>
                <a:gd name="T40" fmla="*/ 2147483647 w 850"/>
                <a:gd name="T41" fmla="*/ 2147483647 h 781"/>
                <a:gd name="T42" fmla="*/ 2147483647 w 850"/>
                <a:gd name="T43" fmla="*/ 2147483647 h 781"/>
                <a:gd name="T44" fmla="*/ 2147483647 w 850"/>
                <a:gd name="T45" fmla="*/ 2147483647 h 781"/>
                <a:gd name="T46" fmla="*/ 2147483647 w 850"/>
                <a:gd name="T47" fmla="*/ 2147483647 h 781"/>
                <a:gd name="T48" fmla="*/ 2147483647 w 850"/>
                <a:gd name="T49" fmla="*/ 2147483647 h 781"/>
                <a:gd name="T50" fmla="*/ 2147483647 w 850"/>
                <a:gd name="T51" fmla="*/ 2147483647 h 781"/>
                <a:gd name="T52" fmla="*/ 2147483647 w 850"/>
                <a:gd name="T53" fmla="*/ 2147483647 h 781"/>
                <a:gd name="T54" fmla="*/ 2147483647 w 850"/>
                <a:gd name="T55" fmla="*/ 2147483647 h 781"/>
                <a:gd name="T56" fmla="*/ 2147483647 w 850"/>
                <a:gd name="T57" fmla="*/ 2147483647 h 781"/>
                <a:gd name="T58" fmla="*/ 2147483647 w 850"/>
                <a:gd name="T59" fmla="*/ 2147483647 h 781"/>
                <a:gd name="T60" fmla="*/ 2147483647 w 850"/>
                <a:gd name="T61" fmla="*/ 2147483647 h 781"/>
                <a:gd name="T62" fmla="*/ 2147483647 w 850"/>
                <a:gd name="T63" fmla="*/ 2147483647 h 781"/>
                <a:gd name="T64" fmla="*/ 2147483647 w 850"/>
                <a:gd name="T65" fmla="*/ 2147483647 h 781"/>
                <a:gd name="T66" fmla="*/ 2147483647 w 850"/>
                <a:gd name="T67" fmla="*/ 2147483647 h 781"/>
                <a:gd name="T68" fmla="*/ 2147483647 w 850"/>
                <a:gd name="T69" fmla="*/ 2147483647 h 781"/>
                <a:gd name="T70" fmla="*/ 2147483647 w 850"/>
                <a:gd name="T71" fmla="*/ 2147483647 h 781"/>
                <a:gd name="T72" fmla="*/ 2147483647 w 850"/>
                <a:gd name="T73" fmla="*/ 2147483647 h 781"/>
                <a:gd name="T74" fmla="*/ 2147483647 w 850"/>
                <a:gd name="T75" fmla="*/ 2147483647 h 781"/>
                <a:gd name="T76" fmla="*/ 2147483647 w 850"/>
                <a:gd name="T77" fmla="*/ 2147483647 h 781"/>
                <a:gd name="T78" fmla="*/ 2147483647 w 850"/>
                <a:gd name="T79" fmla="*/ 2147483647 h 781"/>
                <a:gd name="T80" fmla="*/ 2147483647 w 850"/>
                <a:gd name="T81" fmla="*/ 2147483647 h 781"/>
                <a:gd name="T82" fmla="*/ 2147483647 w 850"/>
                <a:gd name="T83" fmla="*/ 2147483647 h 781"/>
                <a:gd name="T84" fmla="*/ 2147483647 w 850"/>
                <a:gd name="T85" fmla="*/ 2147483647 h 781"/>
                <a:gd name="T86" fmla="*/ 2147483647 w 850"/>
                <a:gd name="T87" fmla="*/ 2147483647 h 781"/>
                <a:gd name="T88" fmla="*/ 2147483647 w 850"/>
                <a:gd name="T89" fmla="*/ 2147483647 h 781"/>
                <a:gd name="T90" fmla="*/ 2147483647 w 850"/>
                <a:gd name="T91" fmla="*/ 2147483647 h 781"/>
                <a:gd name="T92" fmla="*/ 2147483647 w 850"/>
                <a:gd name="T93" fmla="*/ 2147483647 h 781"/>
                <a:gd name="T94" fmla="*/ 2147483647 w 850"/>
                <a:gd name="T95" fmla="*/ 2147483647 h 781"/>
                <a:gd name="T96" fmla="*/ 2147483647 w 850"/>
                <a:gd name="T97" fmla="*/ 2147483647 h 7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50"/>
                <a:gd name="T148" fmla="*/ 0 h 781"/>
                <a:gd name="T149" fmla="*/ 850 w 850"/>
                <a:gd name="T150" fmla="*/ 781 h 78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50" h="781">
                  <a:moveTo>
                    <a:pt x="789" y="334"/>
                  </a:moveTo>
                  <a:lnTo>
                    <a:pt x="789" y="334"/>
                  </a:lnTo>
                  <a:cubicBezTo>
                    <a:pt x="823" y="334"/>
                    <a:pt x="849" y="343"/>
                    <a:pt x="849" y="325"/>
                  </a:cubicBezTo>
                  <a:cubicBezTo>
                    <a:pt x="849" y="308"/>
                    <a:pt x="823" y="300"/>
                    <a:pt x="806" y="274"/>
                  </a:cubicBezTo>
                  <a:cubicBezTo>
                    <a:pt x="789" y="248"/>
                    <a:pt x="780" y="257"/>
                    <a:pt x="754" y="240"/>
                  </a:cubicBezTo>
                  <a:cubicBezTo>
                    <a:pt x="737" y="222"/>
                    <a:pt x="729" y="222"/>
                    <a:pt x="729" y="197"/>
                  </a:cubicBezTo>
                  <a:cubicBezTo>
                    <a:pt x="737" y="171"/>
                    <a:pt x="772" y="128"/>
                    <a:pt x="772" y="94"/>
                  </a:cubicBezTo>
                  <a:cubicBezTo>
                    <a:pt x="772" y="68"/>
                    <a:pt x="780" y="59"/>
                    <a:pt x="746" y="59"/>
                  </a:cubicBezTo>
                  <a:cubicBezTo>
                    <a:pt x="712" y="59"/>
                    <a:pt x="712" y="85"/>
                    <a:pt x="703" y="59"/>
                  </a:cubicBezTo>
                  <a:cubicBezTo>
                    <a:pt x="703" y="68"/>
                    <a:pt x="695" y="77"/>
                    <a:pt x="686" y="77"/>
                  </a:cubicBezTo>
                  <a:cubicBezTo>
                    <a:pt x="669" y="85"/>
                    <a:pt x="651" y="77"/>
                    <a:pt x="634" y="68"/>
                  </a:cubicBezTo>
                  <a:cubicBezTo>
                    <a:pt x="626" y="51"/>
                    <a:pt x="617" y="34"/>
                    <a:pt x="600" y="34"/>
                  </a:cubicBezTo>
                  <a:cubicBezTo>
                    <a:pt x="583" y="34"/>
                    <a:pt x="574" y="42"/>
                    <a:pt x="549" y="34"/>
                  </a:cubicBezTo>
                  <a:cubicBezTo>
                    <a:pt x="514" y="17"/>
                    <a:pt x="497" y="25"/>
                    <a:pt x="497" y="25"/>
                  </a:cubicBezTo>
                  <a:cubicBezTo>
                    <a:pt x="497" y="25"/>
                    <a:pt x="472" y="17"/>
                    <a:pt x="455" y="34"/>
                  </a:cubicBezTo>
                  <a:cubicBezTo>
                    <a:pt x="446" y="42"/>
                    <a:pt x="429" y="51"/>
                    <a:pt x="403" y="42"/>
                  </a:cubicBezTo>
                  <a:cubicBezTo>
                    <a:pt x="377" y="42"/>
                    <a:pt x="309" y="34"/>
                    <a:pt x="309" y="34"/>
                  </a:cubicBezTo>
                  <a:cubicBezTo>
                    <a:pt x="309" y="34"/>
                    <a:pt x="300" y="42"/>
                    <a:pt x="274" y="17"/>
                  </a:cubicBezTo>
                  <a:cubicBezTo>
                    <a:pt x="249" y="0"/>
                    <a:pt x="232" y="0"/>
                    <a:pt x="215" y="8"/>
                  </a:cubicBezTo>
                  <a:cubicBezTo>
                    <a:pt x="206" y="25"/>
                    <a:pt x="197" y="34"/>
                    <a:pt x="180" y="34"/>
                  </a:cubicBezTo>
                  <a:cubicBezTo>
                    <a:pt x="163" y="34"/>
                    <a:pt x="154" y="17"/>
                    <a:pt x="146" y="34"/>
                  </a:cubicBezTo>
                  <a:cubicBezTo>
                    <a:pt x="137" y="59"/>
                    <a:pt x="154" y="111"/>
                    <a:pt x="120" y="94"/>
                  </a:cubicBezTo>
                  <a:cubicBezTo>
                    <a:pt x="94" y="85"/>
                    <a:pt x="86" y="51"/>
                    <a:pt x="60" y="51"/>
                  </a:cubicBezTo>
                  <a:cubicBezTo>
                    <a:pt x="43" y="51"/>
                    <a:pt x="17" y="25"/>
                    <a:pt x="17" y="59"/>
                  </a:cubicBezTo>
                  <a:cubicBezTo>
                    <a:pt x="9" y="94"/>
                    <a:pt x="0" y="171"/>
                    <a:pt x="17" y="188"/>
                  </a:cubicBezTo>
                  <a:cubicBezTo>
                    <a:pt x="43" y="197"/>
                    <a:pt x="69" y="231"/>
                    <a:pt x="94" y="265"/>
                  </a:cubicBezTo>
                  <a:cubicBezTo>
                    <a:pt x="120" y="300"/>
                    <a:pt x="103" y="325"/>
                    <a:pt x="137" y="360"/>
                  </a:cubicBezTo>
                  <a:cubicBezTo>
                    <a:pt x="171" y="385"/>
                    <a:pt x="171" y="385"/>
                    <a:pt x="197" y="411"/>
                  </a:cubicBezTo>
                  <a:cubicBezTo>
                    <a:pt x="223" y="428"/>
                    <a:pt x="283" y="462"/>
                    <a:pt x="317" y="488"/>
                  </a:cubicBezTo>
                  <a:cubicBezTo>
                    <a:pt x="352" y="514"/>
                    <a:pt x="360" y="523"/>
                    <a:pt x="360" y="540"/>
                  </a:cubicBezTo>
                  <a:cubicBezTo>
                    <a:pt x="369" y="557"/>
                    <a:pt x="360" y="574"/>
                    <a:pt x="386" y="600"/>
                  </a:cubicBezTo>
                  <a:cubicBezTo>
                    <a:pt x="420" y="617"/>
                    <a:pt x="446" y="634"/>
                    <a:pt x="455" y="660"/>
                  </a:cubicBezTo>
                  <a:cubicBezTo>
                    <a:pt x="463" y="685"/>
                    <a:pt x="489" y="694"/>
                    <a:pt x="506" y="702"/>
                  </a:cubicBezTo>
                  <a:cubicBezTo>
                    <a:pt x="532" y="702"/>
                    <a:pt x="600" y="754"/>
                    <a:pt x="609" y="754"/>
                  </a:cubicBezTo>
                  <a:cubicBezTo>
                    <a:pt x="617" y="763"/>
                    <a:pt x="643" y="771"/>
                    <a:pt x="660" y="780"/>
                  </a:cubicBezTo>
                  <a:cubicBezTo>
                    <a:pt x="669" y="771"/>
                    <a:pt x="669" y="754"/>
                    <a:pt x="669" y="745"/>
                  </a:cubicBezTo>
                  <a:cubicBezTo>
                    <a:pt x="660" y="728"/>
                    <a:pt x="651" y="694"/>
                    <a:pt x="651" y="677"/>
                  </a:cubicBezTo>
                  <a:cubicBezTo>
                    <a:pt x="651" y="660"/>
                    <a:pt x="651" y="651"/>
                    <a:pt x="660" y="634"/>
                  </a:cubicBezTo>
                  <a:cubicBezTo>
                    <a:pt x="677" y="625"/>
                    <a:pt x="677" y="583"/>
                    <a:pt x="686" y="574"/>
                  </a:cubicBezTo>
                  <a:cubicBezTo>
                    <a:pt x="695" y="557"/>
                    <a:pt x="720" y="531"/>
                    <a:pt x="729" y="531"/>
                  </a:cubicBezTo>
                  <a:cubicBezTo>
                    <a:pt x="737" y="540"/>
                    <a:pt x="763" y="565"/>
                    <a:pt x="763" y="540"/>
                  </a:cubicBezTo>
                  <a:cubicBezTo>
                    <a:pt x="763" y="523"/>
                    <a:pt x="720" y="488"/>
                    <a:pt x="737" y="480"/>
                  </a:cubicBezTo>
                  <a:cubicBezTo>
                    <a:pt x="754" y="462"/>
                    <a:pt x="746" y="480"/>
                    <a:pt x="772" y="462"/>
                  </a:cubicBezTo>
                  <a:cubicBezTo>
                    <a:pt x="806" y="445"/>
                    <a:pt x="814" y="420"/>
                    <a:pt x="814" y="437"/>
                  </a:cubicBezTo>
                  <a:cubicBezTo>
                    <a:pt x="823" y="454"/>
                    <a:pt x="840" y="462"/>
                    <a:pt x="840" y="437"/>
                  </a:cubicBezTo>
                  <a:cubicBezTo>
                    <a:pt x="849" y="420"/>
                    <a:pt x="840" y="394"/>
                    <a:pt x="823" y="377"/>
                  </a:cubicBezTo>
                  <a:cubicBezTo>
                    <a:pt x="806" y="360"/>
                    <a:pt x="754" y="334"/>
                    <a:pt x="789" y="33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62" name="Freeform 63"/>
            <p:cNvSpPr>
              <a:spLocks noChangeArrowheads="1"/>
            </p:cNvSpPr>
            <p:nvPr/>
          </p:nvSpPr>
          <p:spPr bwMode="auto">
            <a:xfrm>
              <a:off x="3003550" y="3652838"/>
              <a:ext cx="444500" cy="425450"/>
            </a:xfrm>
            <a:custGeom>
              <a:avLst/>
              <a:gdLst>
                <a:gd name="T0" fmla="*/ 2147483647 w 1235"/>
                <a:gd name="T1" fmla="*/ 2147483647 h 1184"/>
                <a:gd name="T2" fmla="*/ 2147483647 w 1235"/>
                <a:gd name="T3" fmla="*/ 2147483647 h 1184"/>
                <a:gd name="T4" fmla="*/ 2147483647 w 1235"/>
                <a:gd name="T5" fmla="*/ 2147483647 h 1184"/>
                <a:gd name="T6" fmla="*/ 2147483647 w 1235"/>
                <a:gd name="T7" fmla="*/ 2147483647 h 1184"/>
                <a:gd name="T8" fmla="*/ 2147483647 w 1235"/>
                <a:gd name="T9" fmla="*/ 2147483647 h 1184"/>
                <a:gd name="T10" fmla="*/ 2147483647 w 1235"/>
                <a:gd name="T11" fmla="*/ 2147483647 h 1184"/>
                <a:gd name="T12" fmla="*/ 2147483647 w 1235"/>
                <a:gd name="T13" fmla="*/ 2147483647 h 1184"/>
                <a:gd name="T14" fmla="*/ 2147483647 w 1235"/>
                <a:gd name="T15" fmla="*/ 2147483647 h 1184"/>
                <a:gd name="T16" fmla="*/ 2147483647 w 1235"/>
                <a:gd name="T17" fmla="*/ 2147483647 h 1184"/>
                <a:gd name="T18" fmla="*/ 2147483647 w 1235"/>
                <a:gd name="T19" fmla="*/ 2147483647 h 1184"/>
                <a:gd name="T20" fmla="*/ 2147483647 w 1235"/>
                <a:gd name="T21" fmla="*/ 2147483647 h 1184"/>
                <a:gd name="T22" fmla="*/ 2147483647 w 1235"/>
                <a:gd name="T23" fmla="*/ 2147483647 h 1184"/>
                <a:gd name="T24" fmla="*/ 2147483647 w 1235"/>
                <a:gd name="T25" fmla="*/ 2147483647 h 1184"/>
                <a:gd name="T26" fmla="*/ 2147483647 w 1235"/>
                <a:gd name="T27" fmla="*/ 2147483647 h 1184"/>
                <a:gd name="T28" fmla="*/ 2147483647 w 1235"/>
                <a:gd name="T29" fmla="*/ 2147483647 h 1184"/>
                <a:gd name="T30" fmla="*/ 2147483647 w 1235"/>
                <a:gd name="T31" fmla="*/ 2147483647 h 1184"/>
                <a:gd name="T32" fmla="*/ 2147483647 w 1235"/>
                <a:gd name="T33" fmla="*/ 2147483647 h 1184"/>
                <a:gd name="T34" fmla="*/ 2147483647 w 1235"/>
                <a:gd name="T35" fmla="*/ 2147483647 h 1184"/>
                <a:gd name="T36" fmla="*/ 2147483647 w 1235"/>
                <a:gd name="T37" fmla="*/ 2147483647 h 1184"/>
                <a:gd name="T38" fmla="*/ 2147483647 w 1235"/>
                <a:gd name="T39" fmla="*/ 2147483647 h 1184"/>
                <a:gd name="T40" fmla="*/ 2147483647 w 1235"/>
                <a:gd name="T41" fmla="*/ 2147483647 h 1184"/>
                <a:gd name="T42" fmla="*/ 2147483647 w 1235"/>
                <a:gd name="T43" fmla="*/ 0 h 1184"/>
                <a:gd name="T44" fmla="*/ 2147483647 w 1235"/>
                <a:gd name="T45" fmla="*/ 2147483647 h 1184"/>
                <a:gd name="T46" fmla="*/ 2147483647 w 1235"/>
                <a:gd name="T47" fmla="*/ 2147483647 h 1184"/>
                <a:gd name="T48" fmla="*/ 2147483647 w 1235"/>
                <a:gd name="T49" fmla="*/ 2147483647 h 1184"/>
                <a:gd name="T50" fmla="*/ 2147483647 w 1235"/>
                <a:gd name="T51" fmla="*/ 2147483647 h 1184"/>
                <a:gd name="T52" fmla="*/ 2147483647 w 1235"/>
                <a:gd name="T53" fmla="*/ 2147483647 h 1184"/>
                <a:gd name="T54" fmla="*/ 2147483647 w 1235"/>
                <a:gd name="T55" fmla="*/ 2147483647 h 1184"/>
                <a:gd name="T56" fmla="*/ 2147483647 w 1235"/>
                <a:gd name="T57" fmla="*/ 2147483647 h 1184"/>
                <a:gd name="T58" fmla="*/ 2147483647 w 1235"/>
                <a:gd name="T59" fmla="*/ 2147483647 h 1184"/>
                <a:gd name="T60" fmla="*/ 2147483647 w 1235"/>
                <a:gd name="T61" fmla="*/ 2147483647 h 1184"/>
                <a:gd name="T62" fmla="*/ 2147483647 w 1235"/>
                <a:gd name="T63" fmla="*/ 2147483647 h 1184"/>
                <a:gd name="T64" fmla="*/ 2147483647 w 1235"/>
                <a:gd name="T65" fmla="*/ 2147483647 h 1184"/>
                <a:gd name="T66" fmla="*/ 2147483647 w 1235"/>
                <a:gd name="T67" fmla="*/ 2147483647 h 1184"/>
                <a:gd name="T68" fmla="*/ 2147483647 w 1235"/>
                <a:gd name="T69" fmla="*/ 2147483647 h 1184"/>
                <a:gd name="T70" fmla="*/ 2147483647 w 1235"/>
                <a:gd name="T71" fmla="*/ 2147483647 h 1184"/>
                <a:gd name="T72" fmla="*/ 2147483647 w 1235"/>
                <a:gd name="T73" fmla="*/ 2147483647 h 1184"/>
                <a:gd name="T74" fmla="*/ 2147483647 w 1235"/>
                <a:gd name="T75" fmla="*/ 2147483647 h 1184"/>
                <a:gd name="T76" fmla="*/ 2147483647 w 1235"/>
                <a:gd name="T77" fmla="*/ 2147483647 h 1184"/>
                <a:gd name="T78" fmla="*/ 2147483647 w 1235"/>
                <a:gd name="T79" fmla="*/ 2147483647 h 1184"/>
                <a:gd name="T80" fmla="*/ 2147483647 w 1235"/>
                <a:gd name="T81" fmla="*/ 2147483647 h 1184"/>
                <a:gd name="T82" fmla="*/ 2147483647 w 1235"/>
                <a:gd name="T83" fmla="*/ 2147483647 h 1184"/>
                <a:gd name="T84" fmla="*/ 2147483647 w 1235"/>
                <a:gd name="T85" fmla="*/ 2147483647 h 1184"/>
                <a:gd name="T86" fmla="*/ 2147483647 w 1235"/>
                <a:gd name="T87" fmla="*/ 2147483647 h 1184"/>
                <a:gd name="T88" fmla="*/ 2147483647 w 1235"/>
                <a:gd name="T89" fmla="*/ 2147483647 h 1184"/>
                <a:gd name="T90" fmla="*/ 2147483647 w 1235"/>
                <a:gd name="T91" fmla="*/ 2147483647 h 11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35"/>
                <a:gd name="T139" fmla="*/ 0 h 1184"/>
                <a:gd name="T140" fmla="*/ 1235 w 1235"/>
                <a:gd name="T141" fmla="*/ 1184 h 11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35" h="1184">
                  <a:moveTo>
                    <a:pt x="1080" y="1114"/>
                  </a:moveTo>
                  <a:lnTo>
                    <a:pt x="1080" y="1114"/>
                  </a:lnTo>
                  <a:cubicBezTo>
                    <a:pt x="1071" y="1114"/>
                    <a:pt x="1003" y="1062"/>
                    <a:pt x="977" y="1062"/>
                  </a:cubicBezTo>
                  <a:cubicBezTo>
                    <a:pt x="960" y="1054"/>
                    <a:pt x="934" y="1045"/>
                    <a:pt x="926" y="1020"/>
                  </a:cubicBezTo>
                  <a:cubicBezTo>
                    <a:pt x="917" y="994"/>
                    <a:pt x="891" y="977"/>
                    <a:pt x="857" y="960"/>
                  </a:cubicBezTo>
                  <a:cubicBezTo>
                    <a:pt x="831" y="934"/>
                    <a:pt x="840" y="917"/>
                    <a:pt x="831" y="900"/>
                  </a:cubicBezTo>
                  <a:cubicBezTo>
                    <a:pt x="831" y="883"/>
                    <a:pt x="823" y="874"/>
                    <a:pt x="788" y="848"/>
                  </a:cubicBezTo>
                  <a:cubicBezTo>
                    <a:pt x="754" y="822"/>
                    <a:pt x="694" y="788"/>
                    <a:pt x="668" y="771"/>
                  </a:cubicBezTo>
                  <a:cubicBezTo>
                    <a:pt x="642" y="745"/>
                    <a:pt x="642" y="745"/>
                    <a:pt x="608" y="720"/>
                  </a:cubicBezTo>
                  <a:cubicBezTo>
                    <a:pt x="574" y="685"/>
                    <a:pt x="591" y="660"/>
                    <a:pt x="565" y="625"/>
                  </a:cubicBezTo>
                  <a:cubicBezTo>
                    <a:pt x="540" y="591"/>
                    <a:pt x="514" y="557"/>
                    <a:pt x="488" y="548"/>
                  </a:cubicBezTo>
                  <a:cubicBezTo>
                    <a:pt x="471" y="531"/>
                    <a:pt x="480" y="454"/>
                    <a:pt x="488" y="419"/>
                  </a:cubicBezTo>
                  <a:cubicBezTo>
                    <a:pt x="488" y="385"/>
                    <a:pt x="514" y="411"/>
                    <a:pt x="531" y="411"/>
                  </a:cubicBezTo>
                  <a:cubicBezTo>
                    <a:pt x="557" y="411"/>
                    <a:pt x="565" y="445"/>
                    <a:pt x="591" y="454"/>
                  </a:cubicBezTo>
                  <a:cubicBezTo>
                    <a:pt x="625" y="471"/>
                    <a:pt x="608" y="419"/>
                    <a:pt x="617" y="394"/>
                  </a:cubicBezTo>
                  <a:cubicBezTo>
                    <a:pt x="625" y="377"/>
                    <a:pt x="634" y="394"/>
                    <a:pt x="651" y="394"/>
                  </a:cubicBezTo>
                  <a:cubicBezTo>
                    <a:pt x="668" y="394"/>
                    <a:pt x="677" y="385"/>
                    <a:pt x="686" y="368"/>
                  </a:cubicBezTo>
                  <a:cubicBezTo>
                    <a:pt x="703" y="360"/>
                    <a:pt x="720" y="360"/>
                    <a:pt x="745" y="377"/>
                  </a:cubicBezTo>
                  <a:cubicBezTo>
                    <a:pt x="771" y="402"/>
                    <a:pt x="780" y="394"/>
                    <a:pt x="780" y="394"/>
                  </a:cubicBezTo>
                  <a:cubicBezTo>
                    <a:pt x="780" y="394"/>
                    <a:pt x="848" y="402"/>
                    <a:pt x="874" y="402"/>
                  </a:cubicBezTo>
                  <a:cubicBezTo>
                    <a:pt x="900" y="411"/>
                    <a:pt x="917" y="402"/>
                    <a:pt x="926" y="394"/>
                  </a:cubicBezTo>
                  <a:cubicBezTo>
                    <a:pt x="943" y="377"/>
                    <a:pt x="968" y="385"/>
                    <a:pt x="968" y="385"/>
                  </a:cubicBezTo>
                  <a:cubicBezTo>
                    <a:pt x="968" y="385"/>
                    <a:pt x="985" y="377"/>
                    <a:pt x="1020" y="394"/>
                  </a:cubicBezTo>
                  <a:cubicBezTo>
                    <a:pt x="1045" y="402"/>
                    <a:pt x="1054" y="394"/>
                    <a:pt x="1071" y="394"/>
                  </a:cubicBezTo>
                  <a:cubicBezTo>
                    <a:pt x="1088" y="394"/>
                    <a:pt x="1097" y="411"/>
                    <a:pt x="1105" y="428"/>
                  </a:cubicBezTo>
                  <a:cubicBezTo>
                    <a:pt x="1122" y="437"/>
                    <a:pt x="1140" y="445"/>
                    <a:pt x="1157" y="437"/>
                  </a:cubicBezTo>
                  <a:cubicBezTo>
                    <a:pt x="1166" y="437"/>
                    <a:pt x="1174" y="428"/>
                    <a:pt x="1174" y="419"/>
                  </a:cubicBezTo>
                  <a:cubicBezTo>
                    <a:pt x="1174" y="419"/>
                    <a:pt x="1174" y="419"/>
                    <a:pt x="1174" y="411"/>
                  </a:cubicBezTo>
                  <a:cubicBezTo>
                    <a:pt x="1174" y="377"/>
                    <a:pt x="1140" y="394"/>
                    <a:pt x="1174" y="368"/>
                  </a:cubicBezTo>
                  <a:cubicBezTo>
                    <a:pt x="1208" y="342"/>
                    <a:pt x="1234" y="342"/>
                    <a:pt x="1225" y="325"/>
                  </a:cubicBezTo>
                  <a:cubicBezTo>
                    <a:pt x="1225" y="308"/>
                    <a:pt x="1148" y="317"/>
                    <a:pt x="1140" y="282"/>
                  </a:cubicBezTo>
                  <a:cubicBezTo>
                    <a:pt x="1140" y="257"/>
                    <a:pt x="1157" y="248"/>
                    <a:pt x="1140" y="248"/>
                  </a:cubicBezTo>
                  <a:cubicBezTo>
                    <a:pt x="1131" y="240"/>
                    <a:pt x="1122" y="257"/>
                    <a:pt x="1114" y="240"/>
                  </a:cubicBezTo>
                  <a:cubicBezTo>
                    <a:pt x="1105" y="223"/>
                    <a:pt x="1097" y="171"/>
                    <a:pt x="1080" y="137"/>
                  </a:cubicBezTo>
                  <a:cubicBezTo>
                    <a:pt x="1071" y="145"/>
                    <a:pt x="1063" y="145"/>
                    <a:pt x="1054" y="154"/>
                  </a:cubicBezTo>
                  <a:cubicBezTo>
                    <a:pt x="1037" y="162"/>
                    <a:pt x="1028" y="179"/>
                    <a:pt x="1011" y="188"/>
                  </a:cubicBezTo>
                  <a:cubicBezTo>
                    <a:pt x="985" y="197"/>
                    <a:pt x="934" y="197"/>
                    <a:pt x="908" y="197"/>
                  </a:cubicBezTo>
                  <a:cubicBezTo>
                    <a:pt x="874" y="205"/>
                    <a:pt x="848" y="179"/>
                    <a:pt x="831" y="171"/>
                  </a:cubicBezTo>
                  <a:cubicBezTo>
                    <a:pt x="805" y="162"/>
                    <a:pt x="788" y="162"/>
                    <a:pt x="780" y="154"/>
                  </a:cubicBezTo>
                  <a:cubicBezTo>
                    <a:pt x="763" y="154"/>
                    <a:pt x="754" y="120"/>
                    <a:pt x="728" y="102"/>
                  </a:cubicBezTo>
                  <a:cubicBezTo>
                    <a:pt x="703" y="85"/>
                    <a:pt x="703" y="85"/>
                    <a:pt x="660" y="51"/>
                  </a:cubicBezTo>
                  <a:cubicBezTo>
                    <a:pt x="617" y="8"/>
                    <a:pt x="617" y="25"/>
                    <a:pt x="608" y="25"/>
                  </a:cubicBezTo>
                  <a:cubicBezTo>
                    <a:pt x="608" y="17"/>
                    <a:pt x="600" y="8"/>
                    <a:pt x="591" y="0"/>
                  </a:cubicBezTo>
                  <a:cubicBezTo>
                    <a:pt x="574" y="0"/>
                    <a:pt x="557" y="0"/>
                    <a:pt x="557" y="8"/>
                  </a:cubicBezTo>
                  <a:cubicBezTo>
                    <a:pt x="540" y="42"/>
                    <a:pt x="540" y="42"/>
                    <a:pt x="540" y="42"/>
                  </a:cubicBezTo>
                  <a:cubicBezTo>
                    <a:pt x="540" y="42"/>
                    <a:pt x="505" y="51"/>
                    <a:pt x="497" y="60"/>
                  </a:cubicBezTo>
                  <a:cubicBezTo>
                    <a:pt x="497" y="68"/>
                    <a:pt x="471" y="120"/>
                    <a:pt x="463" y="128"/>
                  </a:cubicBezTo>
                  <a:cubicBezTo>
                    <a:pt x="454" y="128"/>
                    <a:pt x="446" y="154"/>
                    <a:pt x="446" y="179"/>
                  </a:cubicBezTo>
                  <a:cubicBezTo>
                    <a:pt x="446" y="197"/>
                    <a:pt x="446" y="223"/>
                    <a:pt x="437" y="223"/>
                  </a:cubicBezTo>
                  <a:cubicBezTo>
                    <a:pt x="420" y="223"/>
                    <a:pt x="402" y="231"/>
                    <a:pt x="385" y="240"/>
                  </a:cubicBezTo>
                  <a:cubicBezTo>
                    <a:pt x="360" y="248"/>
                    <a:pt x="325" y="257"/>
                    <a:pt x="351" y="265"/>
                  </a:cubicBezTo>
                  <a:cubicBezTo>
                    <a:pt x="368" y="274"/>
                    <a:pt x="385" y="265"/>
                    <a:pt x="377" y="282"/>
                  </a:cubicBezTo>
                  <a:cubicBezTo>
                    <a:pt x="360" y="300"/>
                    <a:pt x="377" y="334"/>
                    <a:pt x="368" y="342"/>
                  </a:cubicBezTo>
                  <a:cubicBezTo>
                    <a:pt x="360" y="360"/>
                    <a:pt x="351" y="360"/>
                    <a:pt x="334" y="342"/>
                  </a:cubicBezTo>
                  <a:cubicBezTo>
                    <a:pt x="317" y="334"/>
                    <a:pt x="317" y="334"/>
                    <a:pt x="300" y="334"/>
                  </a:cubicBezTo>
                  <a:cubicBezTo>
                    <a:pt x="291" y="342"/>
                    <a:pt x="291" y="368"/>
                    <a:pt x="274" y="351"/>
                  </a:cubicBezTo>
                  <a:cubicBezTo>
                    <a:pt x="248" y="325"/>
                    <a:pt x="214" y="282"/>
                    <a:pt x="214" y="291"/>
                  </a:cubicBezTo>
                  <a:cubicBezTo>
                    <a:pt x="206" y="308"/>
                    <a:pt x="214" y="334"/>
                    <a:pt x="180" y="334"/>
                  </a:cubicBezTo>
                  <a:cubicBezTo>
                    <a:pt x="154" y="342"/>
                    <a:pt x="137" y="351"/>
                    <a:pt x="120" y="351"/>
                  </a:cubicBezTo>
                  <a:cubicBezTo>
                    <a:pt x="103" y="351"/>
                    <a:pt x="103" y="342"/>
                    <a:pt x="94" y="360"/>
                  </a:cubicBezTo>
                  <a:cubicBezTo>
                    <a:pt x="85" y="368"/>
                    <a:pt x="94" y="394"/>
                    <a:pt x="68" y="377"/>
                  </a:cubicBezTo>
                  <a:cubicBezTo>
                    <a:pt x="51" y="368"/>
                    <a:pt x="25" y="360"/>
                    <a:pt x="0" y="351"/>
                  </a:cubicBezTo>
                  <a:cubicBezTo>
                    <a:pt x="0" y="360"/>
                    <a:pt x="0" y="368"/>
                    <a:pt x="8" y="385"/>
                  </a:cubicBezTo>
                  <a:cubicBezTo>
                    <a:pt x="34" y="428"/>
                    <a:pt x="17" y="419"/>
                    <a:pt x="17" y="437"/>
                  </a:cubicBezTo>
                  <a:cubicBezTo>
                    <a:pt x="17" y="454"/>
                    <a:pt x="43" y="488"/>
                    <a:pt x="51" y="505"/>
                  </a:cubicBezTo>
                  <a:cubicBezTo>
                    <a:pt x="68" y="514"/>
                    <a:pt x="85" y="565"/>
                    <a:pt x="94" y="557"/>
                  </a:cubicBezTo>
                  <a:cubicBezTo>
                    <a:pt x="111" y="548"/>
                    <a:pt x="111" y="471"/>
                    <a:pt x="120" y="488"/>
                  </a:cubicBezTo>
                  <a:cubicBezTo>
                    <a:pt x="120" y="497"/>
                    <a:pt x="137" y="522"/>
                    <a:pt x="137" y="497"/>
                  </a:cubicBezTo>
                  <a:cubicBezTo>
                    <a:pt x="137" y="480"/>
                    <a:pt x="145" y="454"/>
                    <a:pt x="154" y="437"/>
                  </a:cubicBezTo>
                  <a:cubicBezTo>
                    <a:pt x="162" y="419"/>
                    <a:pt x="154" y="385"/>
                    <a:pt x="206" y="402"/>
                  </a:cubicBezTo>
                  <a:cubicBezTo>
                    <a:pt x="265" y="428"/>
                    <a:pt x="248" y="445"/>
                    <a:pt x="265" y="454"/>
                  </a:cubicBezTo>
                  <a:cubicBezTo>
                    <a:pt x="291" y="463"/>
                    <a:pt x="300" y="505"/>
                    <a:pt x="300" y="531"/>
                  </a:cubicBezTo>
                  <a:cubicBezTo>
                    <a:pt x="300" y="548"/>
                    <a:pt x="308" y="582"/>
                    <a:pt x="300" y="574"/>
                  </a:cubicBezTo>
                  <a:cubicBezTo>
                    <a:pt x="291" y="557"/>
                    <a:pt x="265" y="531"/>
                    <a:pt x="265" y="540"/>
                  </a:cubicBezTo>
                  <a:cubicBezTo>
                    <a:pt x="265" y="557"/>
                    <a:pt x="300" y="600"/>
                    <a:pt x="317" y="608"/>
                  </a:cubicBezTo>
                  <a:cubicBezTo>
                    <a:pt x="334" y="625"/>
                    <a:pt x="368" y="651"/>
                    <a:pt x="394" y="668"/>
                  </a:cubicBezTo>
                  <a:cubicBezTo>
                    <a:pt x="428" y="694"/>
                    <a:pt x="471" y="745"/>
                    <a:pt x="463" y="728"/>
                  </a:cubicBezTo>
                  <a:cubicBezTo>
                    <a:pt x="446" y="711"/>
                    <a:pt x="394" y="694"/>
                    <a:pt x="385" y="703"/>
                  </a:cubicBezTo>
                  <a:cubicBezTo>
                    <a:pt x="377" y="703"/>
                    <a:pt x="360" y="720"/>
                    <a:pt x="368" y="737"/>
                  </a:cubicBezTo>
                  <a:cubicBezTo>
                    <a:pt x="385" y="754"/>
                    <a:pt x="446" y="805"/>
                    <a:pt x="471" y="822"/>
                  </a:cubicBezTo>
                  <a:cubicBezTo>
                    <a:pt x="505" y="840"/>
                    <a:pt x="548" y="857"/>
                    <a:pt x="557" y="865"/>
                  </a:cubicBezTo>
                  <a:cubicBezTo>
                    <a:pt x="557" y="874"/>
                    <a:pt x="531" y="900"/>
                    <a:pt x="565" y="908"/>
                  </a:cubicBezTo>
                  <a:cubicBezTo>
                    <a:pt x="591" y="917"/>
                    <a:pt x="608" y="900"/>
                    <a:pt x="651" y="908"/>
                  </a:cubicBezTo>
                  <a:cubicBezTo>
                    <a:pt x="694" y="917"/>
                    <a:pt x="737" y="908"/>
                    <a:pt x="771" y="934"/>
                  </a:cubicBezTo>
                  <a:cubicBezTo>
                    <a:pt x="797" y="951"/>
                    <a:pt x="857" y="994"/>
                    <a:pt x="874" y="1011"/>
                  </a:cubicBezTo>
                  <a:cubicBezTo>
                    <a:pt x="900" y="1037"/>
                    <a:pt x="951" y="1071"/>
                    <a:pt x="985" y="1088"/>
                  </a:cubicBezTo>
                  <a:cubicBezTo>
                    <a:pt x="1011" y="1105"/>
                    <a:pt x="1054" y="1123"/>
                    <a:pt x="1097" y="1157"/>
                  </a:cubicBezTo>
                  <a:cubicBezTo>
                    <a:pt x="1105" y="1165"/>
                    <a:pt x="1122" y="1174"/>
                    <a:pt x="1140" y="1183"/>
                  </a:cubicBezTo>
                  <a:cubicBezTo>
                    <a:pt x="1131" y="1174"/>
                    <a:pt x="1131" y="1157"/>
                    <a:pt x="1131" y="1148"/>
                  </a:cubicBezTo>
                  <a:cubicBezTo>
                    <a:pt x="1131" y="1140"/>
                    <a:pt x="1131" y="1140"/>
                    <a:pt x="1131" y="1140"/>
                  </a:cubicBezTo>
                  <a:cubicBezTo>
                    <a:pt x="1114" y="1131"/>
                    <a:pt x="1088" y="1123"/>
                    <a:pt x="1080" y="111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63" name="Freeform 64"/>
            <p:cNvSpPr>
              <a:spLocks noChangeArrowheads="1"/>
            </p:cNvSpPr>
            <p:nvPr/>
          </p:nvSpPr>
          <p:spPr bwMode="auto">
            <a:xfrm>
              <a:off x="3500438" y="3355975"/>
              <a:ext cx="712787" cy="519113"/>
            </a:xfrm>
            <a:custGeom>
              <a:avLst/>
              <a:gdLst>
                <a:gd name="T0" fmla="*/ 2147483647 w 1981"/>
                <a:gd name="T1" fmla="*/ 2147483647 h 1441"/>
                <a:gd name="T2" fmla="*/ 2147483647 w 1981"/>
                <a:gd name="T3" fmla="*/ 2147483647 h 1441"/>
                <a:gd name="T4" fmla="*/ 2147483647 w 1981"/>
                <a:gd name="T5" fmla="*/ 2147483647 h 1441"/>
                <a:gd name="T6" fmla="*/ 2147483647 w 1981"/>
                <a:gd name="T7" fmla="*/ 2147483647 h 1441"/>
                <a:gd name="T8" fmla="*/ 2147483647 w 1981"/>
                <a:gd name="T9" fmla="*/ 2147483647 h 1441"/>
                <a:gd name="T10" fmla="*/ 2147483647 w 1981"/>
                <a:gd name="T11" fmla="*/ 2147483647 h 1441"/>
                <a:gd name="T12" fmla="*/ 2147483647 w 1981"/>
                <a:gd name="T13" fmla="*/ 2147483647 h 1441"/>
                <a:gd name="T14" fmla="*/ 2147483647 w 1981"/>
                <a:gd name="T15" fmla="*/ 2147483647 h 1441"/>
                <a:gd name="T16" fmla="*/ 2147483647 w 1981"/>
                <a:gd name="T17" fmla="*/ 2147483647 h 1441"/>
                <a:gd name="T18" fmla="*/ 2147483647 w 1981"/>
                <a:gd name="T19" fmla="*/ 2147483647 h 1441"/>
                <a:gd name="T20" fmla="*/ 2147483647 w 1981"/>
                <a:gd name="T21" fmla="*/ 2147483647 h 1441"/>
                <a:gd name="T22" fmla="*/ 2147483647 w 1981"/>
                <a:gd name="T23" fmla="*/ 2147483647 h 1441"/>
                <a:gd name="T24" fmla="*/ 2147483647 w 1981"/>
                <a:gd name="T25" fmla="*/ 2147483647 h 1441"/>
                <a:gd name="T26" fmla="*/ 2147483647 w 1981"/>
                <a:gd name="T27" fmla="*/ 2147483647 h 1441"/>
                <a:gd name="T28" fmla="*/ 2147483647 w 1981"/>
                <a:gd name="T29" fmla="*/ 2147483647 h 1441"/>
                <a:gd name="T30" fmla="*/ 2147483647 w 1981"/>
                <a:gd name="T31" fmla="*/ 2147483647 h 1441"/>
                <a:gd name="T32" fmla="*/ 2147483647 w 1981"/>
                <a:gd name="T33" fmla="*/ 2147483647 h 1441"/>
                <a:gd name="T34" fmla="*/ 2147483647 w 1981"/>
                <a:gd name="T35" fmla="*/ 2147483647 h 1441"/>
                <a:gd name="T36" fmla="*/ 2147483647 w 1981"/>
                <a:gd name="T37" fmla="*/ 2147483647 h 1441"/>
                <a:gd name="T38" fmla="*/ 2147483647 w 1981"/>
                <a:gd name="T39" fmla="*/ 2147483647 h 1441"/>
                <a:gd name="T40" fmla="*/ 2147483647 w 1981"/>
                <a:gd name="T41" fmla="*/ 2147483647 h 1441"/>
                <a:gd name="T42" fmla="*/ 2147483647 w 1981"/>
                <a:gd name="T43" fmla="*/ 2147483647 h 1441"/>
                <a:gd name="T44" fmla="*/ 2147483647 w 1981"/>
                <a:gd name="T45" fmla="*/ 2147483647 h 1441"/>
                <a:gd name="T46" fmla="*/ 2147483647 w 1981"/>
                <a:gd name="T47" fmla="*/ 2147483647 h 1441"/>
                <a:gd name="T48" fmla="*/ 2147483647 w 1981"/>
                <a:gd name="T49" fmla="*/ 2147483647 h 1441"/>
                <a:gd name="T50" fmla="*/ 2147483647 w 1981"/>
                <a:gd name="T51" fmla="*/ 2147483647 h 1441"/>
                <a:gd name="T52" fmla="*/ 2147483647 w 1981"/>
                <a:gd name="T53" fmla="*/ 2147483647 h 1441"/>
                <a:gd name="T54" fmla="*/ 2147483647 w 1981"/>
                <a:gd name="T55" fmla="*/ 2147483647 h 1441"/>
                <a:gd name="T56" fmla="*/ 2147483647 w 1981"/>
                <a:gd name="T57" fmla="*/ 2147483647 h 1441"/>
                <a:gd name="T58" fmla="*/ 2147483647 w 1981"/>
                <a:gd name="T59" fmla="*/ 2147483647 h 1441"/>
                <a:gd name="T60" fmla="*/ 2147483647 w 1981"/>
                <a:gd name="T61" fmla="*/ 2147483647 h 1441"/>
                <a:gd name="T62" fmla="*/ 2147483647 w 1981"/>
                <a:gd name="T63" fmla="*/ 2147483647 h 1441"/>
                <a:gd name="T64" fmla="*/ 2147483647 w 1981"/>
                <a:gd name="T65" fmla="*/ 2147483647 h 1441"/>
                <a:gd name="T66" fmla="*/ 2147483647 w 1981"/>
                <a:gd name="T67" fmla="*/ 2147483647 h 1441"/>
                <a:gd name="T68" fmla="*/ 2147483647 w 1981"/>
                <a:gd name="T69" fmla="*/ 2147483647 h 1441"/>
                <a:gd name="T70" fmla="*/ 2147483647 w 1981"/>
                <a:gd name="T71" fmla="*/ 2147483647 h 1441"/>
                <a:gd name="T72" fmla="*/ 2147483647 w 1981"/>
                <a:gd name="T73" fmla="*/ 2147483647 h 1441"/>
                <a:gd name="T74" fmla="*/ 2147483647 w 1981"/>
                <a:gd name="T75" fmla="*/ 2147483647 h 1441"/>
                <a:gd name="T76" fmla="*/ 2147483647 w 1981"/>
                <a:gd name="T77" fmla="*/ 2147483647 h 1441"/>
                <a:gd name="T78" fmla="*/ 2147483647 w 1981"/>
                <a:gd name="T79" fmla="*/ 2147483647 h 1441"/>
                <a:gd name="T80" fmla="*/ 2147483647 w 1981"/>
                <a:gd name="T81" fmla="*/ 2147483647 h 1441"/>
                <a:gd name="T82" fmla="*/ 2147483647 w 1981"/>
                <a:gd name="T83" fmla="*/ 2147483647 h 1441"/>
                <a:gd name="T84" fmla="*/ 2147483647 w 1981"/>
                <a:gd name="T85" fmla="*/ 2147483647 h 1441"/>
                <a:gd name="T86" fmla="*/ 0 w 1981"/>
                <a:gd name="T87" fmla="*/ 2147483647 h 144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81"/>
                <a:gd name="T133" fmla="*/ 0 h 1441"/>
                <a:gd name="T134" fmla="*/ 1981 w 1981"/>
                <a:gd name="T135" fmla="*/ 1441 h 144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81" h="1441">
                  <a:moveTo>
                    <a:pt x="26" y="900"/>
                  </a:moveTo>
                  <a:lnTo>
                    <a:pt x="26" y="900"/>
                  </a:lnTo>
                  <a:cubicBezTo>
                    <a:pt x="43" y="917"/>
                    <a:pt x="51" y="917"/>
                    <a:pt x="77" y="934"/>
                  </a:cubicBezTo>
                  <a:cubicBezTo>
                    <a:pt x="94" y="951"/>
                    <a:pt x="111" y="943"/>
                    <a:pt x="111" y="968"/>
                  </a:cubicBezTo>
                  <a:cubicBezTo>
                    <a:pt x="111" y="994"/>
                    <a:pt x="120" y="1020"/>
                    <a:pt x="145" y="1037"/>
                  </a:cubicBezTo>
                  <a:cubicBezTo>
                    <a:pt x="163" y="1046"/>
                    <a:pt x="180" y="1071"/>
                    <a:pt x="222" y="1080"/>
                  </a:cubicBezTo>
                  <a:cubicBezTo>
                    <a:pt x="266" y="1088"/>
                    <a:pt x="308" y="1097"/>
                    <a:pt x="300" y="1105"/>
                  </a:cubicBezTo>
                  <a:cubicBezTo>
                    <a:pt x="291" y="1123"/>
                    <a:pt x="257" y="1123"/>
                    <a:pt x="266" y="1140"/>
                  </a:cubicBezTo>
                  <a:cubicBezTo>
                    <a:pt x="266" y="1157"/>
                    <a:pt x="325" y="1157"/>
                    <a:pt x="300" y="1183"/>
                  </a:cubicBezTo>
                  <a:cubicBezTo>
                    <a:pt x="283" y="1200"/>
                    <a:pt x="257" y="1217"/>
                    <a:pt x="283" y="1217"/>
                  </a:cubicBezTo>
                  <a:cubicBezTo>
                    <a:pt x="300" y="1217"/>
                    <a:pt x="317" y="1217"/>
                    <a:pt x="334" y="1234"/>
                  </a:cubicBezTo>
                  <a:cubicBezTo>
                    <a:pt x="360" y="1251"/>
                    <a:pt x="394" y="1234"/>
                    <a:pt x="411" y="1242"/>
                  </a:cubicBezTo>
                  <a:cubicBezTo>
                    <a:pt x="437" y="1260"/>
                    <a:pt x="445" y="1294"/>
                    <a:pt x="454" y="1277"/>
                  </a:cubicBezTo>
                  <a:cubicBezTo>
                    <a:pt x="462" y="1260"/>
                    <a:pt x="480" y="1225"/>
                    <a:pt x="497" y="1217"/>
                  </a:cubicBezTo>
                  <a:cubicBezTo>
                    <a:pt x="523" y="1208"/>
                    <a:pt x="557" y="1234"/>
                    <a:pt x="574" y="1234"/>
                  </a:cubicBezTo>
                  <a:cubicBezTo>
                    <a:pt x="591" y="1234"/>
                    <a:pt x="557" y="1242"/>
                    <a:pt x="548" y="1251"/>
                  </a:cubicBezTo>
                  <a:cubicBezTo>
                    <a:pt x="540" y="1251"/>
                    <a:pt x="514" y="1268"/>
                    <a:pt x="531" y="1286"/>
                  </a:cubicBezTo>
                  <a:cubicBezTo>
                    <a:pt x="548" y="1303"/>
                    <a:pt x="557" y="1311"/>
                    <a:pt x="565" y="1328"/>
                  </a:cubicBezTo>
                  <a:cubicBezTo>
                    <a:pt x="583" y="1337"/>
                    <a:pt x="617" y="1363"/>
                    <a:pt x="625" y="1363"/>
                  </a:cubicBezTo>
                  <a:cubicBezTo>
                    <a:pt x="643" y="1363"/>
                    <a:pt x="660" y="1354"/>
                    <a:pt x="651" y="1371"/>
                  </a:cubicBezTo>
                  <a:cubicBezTo>
                    <a:pt x="634" y="1397"/>
                    <a:pt x="617" y="1431"/>
                    <a:pt x="643" y="1431"/>
                  </a:cubicBezTo>
                  <a:cubicBezTo>
                    <a:pt x="668" y="1440"/>
                    <a:pt x="694" y="1440"/>
                    <a:pt x="728" y="1431"/>
                  </a:cubicBezTo>
                  <a:cubicBezTo>
                    <a:pt x="771" y="1414"/>
                    <a:pt x="780" y="1405"/>
                    <a:pt x="823" y="1414"/>
                  </a:cubicBezTo>
                  <a:cubicBezTo>
                    <a:pt x="857" y="1423"/>
                    <a:pt x="925" y="1440"/>
                    <a:pt x="951" y="1431"/>
                  </a:cubicBezTo>
                  <a:cubicBezTo>
                    <a:pt x="968" y="1431"/>
                    <a:pt x="977" y="1397"/>
                    <a:pt x="1028" y="1397"/>
                  </a:cubicBezTo>
                  <a:cubicBezTo>
                    <a:pt x="1080" y="1397"/>
                    <a:pt x="1140" y="1380"/>
                    <a:pt x="1174" y="1388"/>
                  </a:cubicBezTo>
                  <a:cubicBezTo>
                    <a:pt x="1208" y="1397"/>
                    <a:pt x="1243" y="1363"/>
                    <a:pt x="1260" y="1345"/>
                  </a:cubicBezTo>
                  <a:cubicBezTo>
                    <a:pt x="1277" y="1337"/>
                    <a:pt x="1337" y="1251"/>
                    <a:pt x="1363" y="1234"/>
                  </a:cubicBezTo>
                  <a:cubicBezTo>
                    <a:pt x="1380" y="1217"/>
                    <a:pt x="1440" y="1200"/>
                    <a:pt x="1474" y="1183"/>
                  </a:cubicBezTo>
                  <a:cubicBezTo>
                    <a:pt x="1508" y="1157"/>
                    <a:pt x="1560" y="1165"/>
                    <a:pt x="1594" y="1174"/>
                  </a:cubicBezTo>
                  <a:cubicBezTo>
                    <a:pt x="1628" y="1183"/>
                    <a:pt x="1602" y="1165"/>
                    <a:pt x="1628" y="1165"/>
                  </a:cubicBezTo>
                  <a:cubicBezTo>
                    <a:pt x="1645" y="1165"/>
                    <a:pt x="1654" y="1191"/>
                    <a:pt x="1671" y="1183"/>
                  </a:cubicBezTo>
                  <a:cubicBezTo>
                    <a:pt x="1688" y="1174"/>
                    <a:pt x="1697" y="1157"/>
                    <a:pt x="1706" y="1174"/>
                  </a:cubicBezTo>
                  <a:cubicBezTo>
                    <a:pt x="1714" y="1191"/>
                    <a:pt x="1723" y="1200"/>
                    <a:pt x="1757" y="1208"/>
                  </a:cubicBezTo>
                  <a:cubicBezTo>
                    <a:pt x="1774" y="1208"/>
                    <a:pt x="1817" y="1208"/>
                    <a:pt x="1851" y="1208"/>
                  </a:cubicBezTo>
                  <a:cubicBezTo>
                    <a:pt x="1851" y="1191"/>
                    <a:pt x="1843" y="1183"/>
                    <a:pt x="1843" y="1174"/>
                  </a:cubicBezTo>
                  <a:cubicBezTo>
                    <a:pt x="1851" y="1148"/>
                    <a:pt x="1851" y="1148"/>
                    <a:pt x="1843" y="1131"/>
                  </a:cubicBezTo>
                  <a:cubicBezTo>
                    <a:pt x="1834" y="1114"/>
                    <a:pt x="1800" y="1063"/>
                    <a:pt x="1817" y="1028"/>
                  </a:cubicBezTo>
                  <a:cubicBezTo>
                    <a:pt x="1843" y="985"/>
                    <a:pt x="1868" y="960"/>
                    <a:pt x="1851" y="960"/>
                  </a:cubicBezTo>
                  <a:cubicBezTo>
                    <a:pt x="1843" y="960"/>
                    <a:pt x="1817" y="977"/>
                    <a:pt x="1825" y="960"/>
                  </a:cubicBezTo>
                  <a:cubicBezTo>
                    <a:pt x="1825" y="943"/>
                    <a:pt x="1885" y="883"/>
                    <a:pt x="1877" y="883"/>
                  </a:cubicBezTo>
                  <a:cubicBezTo>
                    <a:pt x="1877" y="891"/>
                    <a:pt x="1808" y="951"/>
                    <a:pt x="1817" y="917"/>
                  </a:cubicBezTo>
                  <a:cubicBezTo>
                    <a:pt x="1834" y="883"/>
                    <a:pt x="1843" y="891"/>
                    <a:pt x="1843" y="883"/>
                  </a:cubicBezTo>
                  <a:cubicBezTo>
                    <a:pt x="1834" y="865"/>
                    <a:pt x="1817" y="840"/>
                    <a:pt x="1834" y="823"/>
                  </a:cubicBezTo>
                  <a:cubicBezTo>
                    <a:pt x="1851" y="814"/>
                    <a:pt x="1843" y="797"/>
                    <a:pt x="1851" y="814"/>
                  </a:cubicBezTo>
                  <a:cubicBezTo>
                    <a:pt x="1860" y="831"/>
                    <a:pt x="1843" y="857"/>
                    <a:pt x="1860" y="857"/>
                  </a:cubicBezTo>
                  <a:cubicBezTo>
                    <a:pt x="1877" y="857"/>
                    <a:pt x="1885" y="883"/>
                    <a:pt x="1902" y="874"/>
                  </a:cubicBezTo>
                  <a:cubicBezTo>
                    <a:pt x="1920" y="865"/>
                    <a:pt x="1971" y="857"/>
                    <a:pt x="1980" y="823"/>
                  </a:cubicBezTo>
                  <a:cubicBezTo>
                    <a:pt x="1980" y="797"/>
                    <a:pt x="1963" y="745"/>
                    <a:pt x="1971" y="720"/>
                  </a:cubicBezTo>
                  <a:cubicBezTo>
                    <a:pt x="1971" y="720"/>
                    <a:pt x="1971" y="711"/>
                    <a:pt x="1971" y="703"/>
                  </a:cubicBezTo>
                  <a:cubicBezTo>
                    <a:pt x="1946" y="685"/>
                    <a:pt x="1902" y="668"/>
                    <a:pt x="1868" y="677"/>
                  </a:cubicBezTo>
                  <a:cubicBezTo>
                    <a:pt x="1834" y="694"/>
                    <a:pt x="1817" y="720"/>
                    <a:pt x="1783" y="737"/>
                  </a:cubicBezTo>
                  <a:cubicBezTo>
                    <a:pt x="1748" y="745"/>
                    <a:pt x="1774" y="771"/>
                    <a:pt x="1757" y="771"/>
                  </a:cubicBezTo>
                  <a:cubicBezTo>
                    <a:pt x="1731" y="771"/>
                    <a:pt x="1671" y="754"/>
                    <a:pt x="1645" y="728"/>
                  </a:cubicBezTo>
                  <a:cubicBezTo>
                    <a:pt x="1620" y="711"/>
                    <a:pt x="1611" y="703"/>
                    <a:pt x="1611" y="668"/>
                  </a:cubicBezTo>
                  <a:cubicBezTo>
                    <a:pt x="1611" y="634"/>
                    <a:pt x="1577" y="591"/>
                    <a:pt x="1577" y="557"/>
                  </a:cubicBezTo>
                  <a:cubicBezTo>
                    <a:pt x="1577" y="522"/>
                    <a:pt x="1585" y="463"/>
                    <a:pt x="1577" y="428"/>
                  </a:cubicBezTo>
                  <a:cubicBezTo>
                    <a:pt x="1568" y="385"/>
                    <a:pt x="1508" y="308"/>
                    <a:pt x="1483" y="282"/>
                  </a:cubicBezTo>
                  <a:cubicBezTo>
                    <a:pt x="1457" y="257"/>
                    <a:pt x="1448" y="274"/>
                    <a:pt x="1448" y="257"/>
                  </a:cubicBezTo>
                  <a:cubicBezTo>
                    <a:pt x="1448" y="248"/>
                    <a:pt x="1388" y="231"/>
                    <a:pt x="1380" y="214"/>
                  </a:cubicBezTo>
                  <a:cubicBezTo>
                    <a:pt x="1371" y="197"/>
                    <a:pt x="1354" y="180"/>
                    <a:pt x="1320" y="154"/>
                  </a:cubicBezTo>
                  <a:cubicBezTo>
                    <a:pt x="1285" y="128"/>
                    <a:pt x="1294" y="102"/>
                    <a:pt x="1260" y="68"/>
                  </a:cubicBezTo>
                  <a:cubicBezTo>
                    <a:pt x="1234" y="34"/>
                    <a:pt x="1191" y="8"/>
                    <a:pt x="1165" y="8"/>
                  </a:cubicBezTo>
                  <a:cubicBezTo>
                    <a:pt x="1140" y="0"/>
                    <a:pt x="1123" y="17"/>
                    <a:pt x="1097" y="34"/>
                  </a:cubicBezTo>
                  <a:cubicBezTo>
                    <a:pt x="1071" y="51"/>
                    <a:pt x="1080" y="77"/>
                    <a:pt x="1080" y="85"/>
                  </a:cubicBezTo>
                  <a:cubicBezTo>
                    <a:pt x="1071" y="102"/>
                    <a:pt x="942" y="145"/>
                    <a:pt x="900" y="163"/>
                  </a:cubicBezTo>
                  <a:cubicBezTo>
                    <a:pt x="865" y="188"/>
                    <a:pt x="874" y="214"/>
                    <a:pt x="865" y="231"/>
                  </a:cubicBezTo>
                  <a:cubicBezTo>
                    <a:pt x="848" y="240"/>
                    <a:pt x="831" y="223"/>
                    <a:pt x="814" y="205"/>
                  </a:cubicBezTo>
                  <a:cubicBezTo>
                    <a:pt x="805" y="197"/>
                    <a:pt x="780" y="188"/>
                    <a:pt x="763" y="171"/>
                  </a:cubicBezTo>
                  <a:cubicBezTo>
                    <a:pt x="737" y="163"/>
                    <a:pt x="728" y="180"/>
                    <a:pt x="711" y="197"/>
                  </a:cubicBezTo>
                  <a:cubicBezTo>
                    <a:pt x="702" y="205"/>
                    <a:pt x="677" y="214"/>
                    <a:pt x="634" y="214"/>
                  </a:cubicBezTo>
                  <a:cubicBezTo>
                    <a:pt x="591" y="214"/>
                    <a:pt x="523" y="197"/>
                    <a:pt x="488" y="197"/>
                  </a:cubicBezTo>
                  <a:cubicBezTo>
                    <a:pt x="454" y="197"/>
                    <a:pt x="480" y="205"/>
                    <a:pt x="454" y="223"/>
                  </a:cubicBezTo>
                  <a:cubicBezTo>
                    <a:pt x="445" y="223"/>
                    <a:pt x="445" y="231"/>
                    <a:pt x="437" y="223"/>
                  </a:cubicBezTo>
                  <a:cubicBezTo>
                    <a:pt x="428" y="248"/>
                    <a:pt x="420" y="248"/>
                    <a:pt x="411" y="257"/>
                  </a:cubicBezTo>
                  <a:cubicBezTo>
                    <a:pt x="394" y="274"/>
                    <a:pt x="377" y="300"/>
                    <a:pt x="360" y="300"/>
                  </a:cubicBezTo>
                  <a:cubicBezTo>
                    <a:pt x="343" y="308"/>
                    <a:pt x="334" y="308"/>
                    <a:pt x="317" y="334"/>
                  </a:cubicBezTo>
                  <a:cubicBezTo>
                    <a:pt x="308" y="360"/>
                    <a:pt x="291" y="368"/>
                    <a:pt x="283" y="385"/>
                  </a:cubicBezTo>
                  <a:cubicBezTo>
                    <a:pt x="274" y="394"/>
                    <a:pt x="283" y="428"/>
                    <a:pt x="274" y="445"/>
                  </a:cubicBezTo>
                  <a:cubicBezTo>
                    <a:pt x="266" y="463"/>
                    <a:pt x="257" y="488"/>
                    <a:pt x="248" y="505"/>
                  </a:cubicBezTo>
                  <a:cubicBezTo>
                    <a:pt x="240" y="522"/>
                    <a:pt x="231" y="540"/>
                    <a:pt x="231" y="566"/>
                  </a:cubicBezTo>
                  <a:cubicBezTo>
                    <a:pt x="231" y="591"/>
                    <a:pt x="222" y="625"/>
                    <a:pt x="222" y="643"/>
                  </a:cubicBezTo>
                  <a:cubicBezTo>
                    <a:pt x="222" y="651"/>
                    <a:pt x="214" y="651"/>
                    <a:pt x="188" y="685"/>
                  </a:cubicBezTo>
                  <a:cubicBezTo>
                    <a:pt x="163" y="711"/>
                    <a:pt x="180" y="762"/>
                    <a:pt x="154" y="788"/>
                  </a:cubicBezTo>
                  <a:cubicBezTo>
                    <a:pt x="128" y="806"/>
                    <a:pt x="120" y="797"/>
                    <a:pt x="94" y="797"/>
                  </a:cubicBezTo>
                  <a:cubicBezTo>
                    <a:pt x="68" y="806"/>
                    <a:pt x="85" y="823"/>
                    <a:pt x="77" y="840"/>
                  </a:cubicBezTo>
                  <a:cubicBezTo>
                    <a:pt x="60" y="865"/>
                    <a:pt x="34" y="848"/>
                    <a:pt x="0" y="857"/>
                  </a:cubicBezTo>
                  <a:cubicBezTo>
                    <a:pt x="8" y="874"/>
                    <a:pt x="17" y="900"/>
                    <a:pt x="26" y="900"/>
                  </a:cubicBezTo>
                </a:path>
              </a:pathLst>
            </a:custGeom>
            <a:solidFill>
              <a:srgbClr val="FD6917">
                <a:alpha val="30196"/>
              </a:srgbClr>
            </a:solidFill>
            <a:ln w="9525">
              <a:solidFill>
                <a:srgbClr val="FFFFFF"/>
              </a:solidFill>
              <a:round/>
              <a:headEnd/>
              <a:tailEnd/>
            </a:ln>
          </p:spPr>
          <p:txBody>
            <a:bodyPr wrap="none" anchor="ctr"/>
            <a:lstStyle/>
            <a:p>
              <a:endParaRPr lang="it-IT"/>
            </a:p>
          </p:txBody>
        </p:sp>
        <p:sp>
          <p:nvSpPr>
            <p:cNvPr id="12364" name="Freeform 65"/>
            <p:cNvSpPr>
              <a:spLocks noChangeArrowheads="1"/>
            </p:cNvSpPr>
            <p:nvPr/>
          </p:nvSpPr>
          <p:spPr bwMode="auto">
            <a:xfrm>
              <a:off x="4092575" y="3482975"/>
              <a:ext cx="142875" cy="150813"/>
            </a:xfrm>
            <a:custGeom>
              <a:avLst/>
              <a:gdLst>
                <a:gd name="T0" fmla="*/ 2147483647 w 396"/>
                <a:gd name="T1" fmla="*/ 2147483647 h 421"/>
                <a:gd name="T2" fmla="*/ 2147483647 w 396"/>
                <a:gd name="T3" fmla="*/ 2147483647 h 421"/>
                <a:gd name="T4" fmla="*/ 2147483647 w 396"/>
                <a:gd name="T5" fmla="*/ 2147483647 h 421"/>
                <a:gd name="T6" fmla="*/ 2147483647 w 396"/>
                <a:gd name="T7" fmla="*/ 2147483647 h 421"/>
                <a:gd name="T8" fmla="*/ 2147483647 w 396"/>
                <a:gd name="T9" fmla="*/ 2147483647 h 421"/>
                <a:gd name="T10" fmla="*/ 2147483647 w 396"/>
                <a:gd name="T11" fmla="*/ 2147483647 h 421"/>
                <a:gd name="T12" fmla="*/ 2147483647 w 396"/>
                <a:gd name="T13" fmla="*/ 2147483647 h 421"/>
                <a:gd name="T14" fmla="*/ 2147483647 w 396"/>
                <a:gd name="T15" fmla="*/ 2147483647 h 421"/>
                <a:gd name="T16" fmla="*/ 2147483647 w 396"/>
                <a:gd name="T17" fmla="*/ 2147483647 h 421"/>
                <a:gd name="T18" fmla="*/ 2147483647 w 396"/>
                <a:gd name="T19" fmla="*/ 2147483647 h 421"/>
                <a:gd name="T20" fmla="*/ 2147483647 w 396"/>
                <a:gd name="T21" fmla="*/ 2147483647 h 421"/>
                <a:gd name="T22" fmla="*/ 2147483647 w 396"/>
                <a:gd name="T23" fmla="*/ 2147483647 h 421"/>
                <a:gd name="T24" fmla="*/ 2147483647 w 396"/>
                <a:gd name="T25" fmla="*/ 2147483647 h 421"/>
                <a:gd name="T26" fmla="*/ 0 w 396"/>
                <a:gd name="T27" fmla="*/ 2147483647 h 421"/>
                <a:gd name="T28" fmla="*/ 0 w 396"/>
                <a:gd name="T29" fmla="*/ 2147483647 h 421"/>
                <a:gd name="T30" fmla="*/ 2147483647 w 396"/>
                <a:gd name="T31" fmla="*/ 2147483647 h 421"/>
                <a:gd name="T32" fmla="*/ 2147483647 w 396"/>
                <a:gd name="T33" fmla="*/ 2147483647 h 421"/>
                <a:gd name="T34" fmla="*/ 2147483647 w 396"/>
                <a:gd name="T35" fmla="*/ 2147483647 h 421"/>
                <a:gd name="T36" fmla="*/ 2147483647 w 396"/>
                <a:gd name="T37" fmla="*/ 2147483647 h 421"/>
                <a:gd name="T38" fmla="*/ 2147483647 w 396"/>
                <a:gd name="T39" fmla="*/ 2147483647 h 421"/>
                <a:gd name="T40" fmla="*/ 2147483647 w 396"/>
                <a:gd name="T41" fmla="*/ 2147483647 h 421"/>
                <a:gd name="T42" fmla="*/ 2147483647 w 396"/>
                <a:gd name="T43" fmla="*/ 2147483647 h 421"/>
                <a:gd name="T44" fmla="*/ 2147483647 w 396"/>
                <a:gd name="T45" fmla="*/ 2147483647 h 421"/>
                <a:gd name="T46" fmla="*/ 2147483647 w 396"/>
                <a:gd name="T47" fmla="*/ 2147483647 h 421"/>
                <a:gd name="T48" fmla="*/ 2147483647 w 396"/>
                <a:gd name="T49" fmla="*/ 2147483647 h 421"/>
                <a:gd name="T50" fmla="*/ 2147483647 w 396"/>
                <a:gd name="T51" fmla="*/ 2147483647 h 421"/>
                <a:gd name="T52" fmla="*/ 2147483647 w 396"/>
                <a:gd name="T53" fmla="*/ 2147483647 h 421"/>
                <a:gd name="T54" fmla="*/ 2147483647 w 396"/>
                <a:gd name="T55" fmla="*/ 2147483647 h 421"/>
                <a:gd name="T56" fmla="*/ 2147483647 w 396"/>
                <a:gd name="T57" fmla="*/ 2147483647 h 42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6"/>
                <a:gd name="T88" fmla="*/ 0 h 421"/>
                <a:gd name="T89" fmla="*/ 396 w 396"/>
                <a:gd name="T90" fmla="*/ 421 h 42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6" h="421">
                  <a:moveTo>
                    <a:pt x="249" y="9"/>
                  </a:moveTo>
                  <a:lnTo>
                    <a:pt x="249" y="9"/>
                  </a:lnTo>
                  <a:cubicBezTo>
                    <a:pt x="232" y="0"/>
                    <a:pt x="232" y="26"/>
                    <a:pt x="223" y="26"/>
                  </a:cubicBezTo>
                  <a:cubicBezTo>
                    <a:pt x="215" y="34"/>
                    <a:pt x="198" y="26"/>
                    <a:pt x="189" y="17"/>
                  </a:cubicBezTo>
                  <a:cubicBezTo>
                    <a:pt x="172" y="9"/>
                    <a:pt x="155" y="43"/>
                    <a:pt x="138" y="52"/>
                  </a:cubicBezTo>
                  <a:cubicBezTo>
                    <a:pt x="129" y="60"/>
                    <a:pt x="112" y="34"/>
                    <a:pt x="103" y="26"/>
                  </a:cubicBezTo>
                  <a:cubicBezTo>
                    <a:pt x="95" y="9"/>
                    <a:pt x="78" y="52"/>
                    <a:pt x="78" y="69"/>
                  </a:cubicBezTo>
                  <a:cubicBezTo>
                    <a:pt x="78" y="86"/>
                    <a:pt x="112" y="129"/>
                    <a:pt x="112" y="146"/>
                  </a:cubicBezTo>
                  <a:cubicBezTo>
                    <a:pt x="112" y="163"/>
                    <a:pt x="112" y="171"/>
                    <a:pt x="95" y="189"/>
                  </a:cubicBezTo>
                  <a:cubicBezTo>
                    <a:pt x="78" y="197"/>
                    <a:pt x="78" y="215"/>
                    <a:pt x="78" y="232"/>
                  </a:cubicBezTo>
                  <a:cubicBezTo>
                    <a:pt x="78" y="249"/>
                    <a:pt x="61" y="257"/>
                    <a:pt x="43" y="274"/>
                  </a:cubicBezTo>
                  <a:cubicBezTo>
                    <a:pt x="26" y="300"/>
                    <a:pt x="52" y="309"/>
                    <a:pt x="61" y="334"/>
                  </a:cubicBezTo>
                  <a:cubicBezTo>
                    <a:pt x="61" y="360"/>
                    <a:pt x="35" y="352"/>
                    <a:pt x="17" y="352"/>
                  </a:cubicBezTo>
                  <a:cubicBezTo>
                    <a:pt x="9" y="360"/>
                    <a:pt x="0" y="369"/>
                    <a:pt x="0" y="377"/>
                  </a:cubicBezTo>
                  <a:cubicBezTo>
                    <a:pt x="26" y="403"/>
                    <a:pt x="86" y="420"/>
                    <a:pt x="112" y="420"/>
                  </a:cubicBezTo>
                  <a:cubicBezTo>
                    <a:pt x="129" y="420"/>
                    <a:pt x="103" y="394"/>
                    <a:pt x="138" y="386"/>
                  </a:cubicBezTo>
                  <a:cubicBezTo>
                    <a:pt x="172" y="369"/>
                    <a:pt x="189" y="343"/>
                    <a:pt x="223" y="326"/>
                  </a:cubicBezTo>
                  <a:cubicBezTo>
                    <a:pt x="257" y="317"/>
                    <a:pt x="301" y="334"/>
                    <a:pt x="326" y="352"/>
                  </a:cubicBezTo>
                  <a:cubicBezTo>
                    <a:pt x="326" y="334"/>
                    <a:pt x="326" y="326"/>
                    <a:pt x="318" y="317"/>
                  </a:cubicBezTo>
                  <a:cubicBezTo>
                    <a:pt x="301" y="300"/>
                    <a:pt x="275" y="317"/>
                    <a:pt x="275" y="292"/>
                  </a:cubicBezTo>
                  <a:cubicBezTo>
                    <a:pt x="275" y="274"/>
                    <a:pt x="266" y="189"/>
                    <a:pt x="266" y="206"/>
                  </a:cubicBezTo>
                  <a:cubicBezTo>
                    <a:pt x="275" y="223"/>
                    <a:pt x="292" y="266"/>
                    <a:pt x="309" y="249"/>
                  </a:cubicBezTo>
                  <a:cubicBezTo>
                    <a:pt x="326" y="223"/>
                    <a:pt x="395" y="103"/>
                    <a:pt x="395" y="86"/>
                  </a:cubicBezTo>
                  <a:cubicBezTo>
                    <a:pt x="395" y="77"/>
                    <a:pt x="395" y="69"/>
                    <a:pt x="369" y="60"/>
                  </a:cubicBezTo>
                  <a:cubicBezTo>
                    <a:pt x="352" y="52"/>
                    <a:pt x="301" y="26"/>
                    <a:pt x="318" y="17"/>
                  </a:cubicBezTo>
                  <a:cubicBezTo>
                    <a:pt x="318" y="17"/>
                    <a:pt x="301" y="17"/>
                    <a:pt x="292" y="26"/>
                  </a:cubicBezTo>
                  <a:cubicBezTo>
                    <a:pt x="275" y="34"/>
                    <a:pt x="266" y="26"/>
                    <a:pt x="249" y="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65" name="Freeform 66"/>
            <p:cNvSpPr>
              <a:spLocks noChangeArrowheads="1"/>
            </p:cNvSpPr>
            <p:nvPr/>
          </p:nvSpPr>
          <p:spPr bwMode="auto">
            <a:xfrm>
              <a:off x="3911600" y="3316288"/>
              <a:ext cx="303213" cy="301625"/>
            </a:xfrm>
            <a:custGeom>
              <a:avLst/>
              <a:gdLst>
                <a:gd name="T0" fmla="*/ 2147483647 w 841"/>
                <a:gd name="T1" fmla="*/ 2147483647 h 840"/>
                <a:gd name="T2" fmla="*/ 2147483647 w 841"/>
                <a:gd name="T3" fmla="*/ 2147483647 h 840"/>
                <a:gd name="T4" fmla="*/ 2147483647 w 841"/>
                <a:gd name="T5" fmla="*/ 2147483647 h 840"/>
                <a:gd name="T6" fmla="*/ 2147483647 w 841"/>
                <a:gd name="T7" fmla="*/ 2147483647 h 840"/>
                <a:gd name="T8" fmla="*/ 2147483647 w 841"/>
                <a:gd name="T9" fmla="*/ 2147483647 h 840"/>
                <a:gd name="T10" fmla="*/ 2147483647 w 841"/>
                <a:gd name="T11" fmla="*/ 2147483647 h 840"/>
                <a:gd name="T12" fmla="*/ 2147483647 w 841"/>
                <a:gd name="T13" fmla="*/ 2147483647 h 840"/>
                <a:gd name="T14" fmla="*/ 2147483647 w 841"/>
                <a:gd name="T15" fmla="*/ 2147483647 h 840"/>
                <a:gd name="T16" fmla="*/ 2147483647 w 841"/>
                <a:gd name="T17" fmla="*/ 2147483647 h 840"/>
                <a:gd name="T18" fmla="*/ 2147483647 w 841"/>
                <a:gd name="T19" fmla="*/ 2147483647 h 840"/>
                <a:gd name="T20" fmla="*/ 2147483647 w 841"/>
                <a:gd name="T21" fmla="*/ 2147483647 h 840"/>
                <a:gd name="T22" fmla="*/ 2147483647 w 841"/>
                <a:gd name="T23" fmla="*/ 2147483647 h 840"/>
                <a:gd name="T24" fmla="*/ 2147483647 w 841"/>
                <a:gd name="T25" fmla="*/ 2147483647 h 840"/>
                <a:gd name="T26" fmla="*/ 2147483647 w 841"/>
                <a:gd name="T27" fmla="*/ 2147483647 h 840"/>
                <a:gd name="T28" fmla="*/ 2147483647 w 841"/>
                <a:gd name="T29" fmla="*/ 2147483647 h 840"/>
                <a:gd name="T30" fmla="*/ 2147483647 w 841"/>
                <a:gd name="T31" fmla="*/ 2147483647 h 840"/>
                <a:gd name="T32" fmla="*/ 0 w 841"/>
                <a:gd name="T33" fmla="*/ 2147483647 h 840"/>
                <a:gd name="T34" fmla="*/ 2147483647 w 841"/>
                <a:gd name="T35" fmla="*/ 2147483647 h 840"/>
                <a:gd name="T36" fmla="*/ 2147483647 w 841"/>
                <a:gd name="T37" fmla="*/ 2147483647 h 840"/>
                <a:gd name="T38" fmla="*/ 2147483647 w 841"/>
                <a:gd name="T39" fmla="*/ 2147483647 h 840"/>
                <a:gd name="T40" fmla="*/ 2147483647 w 841"/>
                <a:gd name="T41" fmla="*/ 2147483647 h 840"/>
                <a:gd name="T42" fmla="*/ 2147483647 w 841"/>
                <a:gd name="T43" fmla="*/ 2147483647 h 840"/>
                <a:gd name="T44" fmla="*/ 2147483647 w 841"/>
                <a:gd name="T45" fmla="*/ 2147483647 h 840"/>
                <a:gd name="T46" fmla="*/ 2147483647 w 841"/>
                <a:gd name="T47" fmla="*/ 2147483647 h 840"/>
                <a:gd name="T48" fmla="*/ 2147483647 w 841"/>
                <a:gd name="T49" fmla="*/ 2147483647 h 840"/>
                <a:gd name="T50" fmla="*/ 2147483647 w 841"/>
                <a:gd name="T51" fmla="*/ 2147483647 h 840"/>
                <a:gd name="T52" fmla="*/ 2147483647 w 841"/>
                <a:gd name="T53" fmla="*/ 2147483647 h 840"/>
                <a:gd name="T54" fmla="*/ 2147483647 w 841"/>
                <a:gd name="T55" fmla="*/ 2147483647 h 840"/>
                <a:gd name="T56" fmla="*/ 2147483647 w 841"/>
                <a:gd name="T57" fmla="*/ 2147483647 h 840"/>
                <a:gd name="T58" fmla="*/ 2147483647 w 841"/>
                <a:gd name="T59" fmla="*/ 2147483647 h 840"/>
                <a:gd name="T60" fmla="*/ 2147483647 w 841"/>
                <a:gd name="T61" fmla="*/ 2147483647 h 840"/>
                <a:gd name="T62" fmla="*/ 2147483647 w 841"/>
                <a:gd name="T63" fmla="*/ 2147483647 h 840"/>
                <a:gd name="T64" fmla="*/ 2147483647 w 841"/>
                <a:gd name="T65" fmla="*/ 2147483647 h 840"/>
                <a:gd name="T66" fmla="*/ 2147483647 w 841"/>
                <a:gd name="T67" fmla="*/ 2147483647 h 840"/>
                <a:gd name="T68" fmla="*/ 2147483647 w 841"/>
                <a:gd name="T69" fmla="*/ 2147483647 h 840"/>
                <a:gd name="T70" fmla="*/ 2147483647 w 841"/>
                <a:gd name="T71" fmla="*/ 2147483647 h 840"/>
                <a:gd name="T72" fmla="*/ 2147483647 w 841"/>
                <a:gd name="T73" fmla="*/ 2147483647 h 840"/>
                <a:gd name="T74" fmla="*/ 2147483647 w 841"/>
                <a:gd name="T75" fmla="*/ 2147483647 h 840"/>
                <a:gd name="T76" fmla="*/ 2147483647 w 841"/>
                <a:gd name="T77" fmla="*/ 2147483647 h 840"/>
                <a:gd name="T78" fmla="*/ 2147483647 w 841"/>
                <a:gd name="T79" fmla="*/ 2147483647 h 840"/>
                <a:gd name="T80" fmla="*/ 2147483647 w 841"/>
                <a:gd name="T81" fmla="*/ 2147483647 h 840"/>
                <a:gd name="T82" fmla="*/ 2147483647 w 841"/>
                <a:gd name="T83" fmla="*/ 2147483647 h 840"/>
                <a:gd name="T84" fmla="*/ 2147483647 w 841"/>
                <a:gd name="T85" fmla="*/ 2147483647 h 840"/>
                <a:gd name="T86" fmla="*/ 2147483647 w 841"/>
                <a:gd name="T87" fmla="*/ 2147483647 h 8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41"/>
                <a:gd name="T133" fmla="*/ 0 h 840"/>
                <a:gd name="T134" fmla="*/ 841 w 841"/>
                <a:gd name="T135" fmla="*/ 840 h 84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41" h="840">
                  <a:moveTo>
                    <a:pt x="762" y="411"/>
                  </a:moveTo>
                  <a:lnTo>
                    <a:pt x="762" y="411"/>
                  </a:lnTo>
                  <a:cubicBezTo>
                    <a:pt x="762" y="393"/>
                    <a:pt x="754" y="368"/>
                    <a:pt x="745" y="359"/>
                  </a:cubicBezTo>
                  <a:cubicBezTo>
                    <a:pt x="728" y="351"/>
                    <a:pt x="711" y="359"/>
                    <a:pt x="677" y="351"/>
                  </a:cubicBezTo>
                  <a:cubicBezTo>
                    <a:pt x="643" y="342"/>
                    <a:pt x="591" y="299"/>
                    <a:pt x="574" y="274"/>
                  </a:cubicBezTo>
                  <a:cubicBezTo>
                    <a:pt x="548" y="239"/>
                    <a:pt x="540" y="222"/>
                    <a:pt x="531" y="188"/>
                  </a:cubicBezTo>
                  <a:cubicBezTo>
                    <a:pt x="531" y="153"/>
                    <a:pt x="531" y="162"/>
                    <a:pt x="531" y="128"/>
                  </a:cubicBezTo>
                  <a:cubicBezTo>
                    <a:pt x="531" y="103"/>
                    <a:pt x="540" y="95"/>
                    <a:pt x="514" y="77"/>
                  </a:cubicBezTo>
                  <a:cubicBezTo>
                    <a:pt x="497" y="52"/>
                    <a:pt x="488" y="77"/>
                    <a:pt x="471" y="86"/>
                  </a:cubicBezTo>
                  <a:cubicBezTo>
                    <a:pt x="445" y="95"/>
                    <a:pt x="445" y="60"/>
                    <a:pt x="403" y="52"/>
                  </a:cubicBezTo>
                  <a:cubicBezTo>
                    <a:pt x="360" y="52"/>
                    <a:pt x="385" y="60"/>
                    <a:pt x="368" y="77"/>
                  </a:cubicBezTo>
                  <a:cubicBezTo>
                    <a:pt x="360" y="86"/>
                    <a:pt x="351" y="69"/>
                    <a:pt x="326" y="52"/>
                  </a:cubicBezTo>
                  <a:cubicBezTo>
                    <a:pt x="300" y="43"/>
                    <a:pt x="257" y="35"/>
                    <a:pt x="205" y="17"/>
                  </a:cubicBezTo>
                  <a:cubicBezTo>
                    <a:pt x="163" y="9"/>
                    <a:pt x="154" y="0"/>
                    <a:pt x="137" y="17"/>
                  </a:cubicBezTo>
                  <a:cubicBezTo>
                    <a:pt x="120" y="26"/>
                    <a:pt x="86" y="52"/>
                    <a:pt x="68" y="60"/>
                  </a:cubicBezTo>
                  <a:cubicBezTo>
                    <a:pt x="42" y="69"/>
                    <a:pt x="34" y="77"/>
                    <a:pt x="17" y="95"/>
                  </a:cubicBezTo>
                  <a:cubicBezTo>
                    <a:pt x="8" y="103"/>
                    <a:pt x="0" y="111"/>
                    <a:pt x="0" y="119"/>
                  </a:cubicBezTo>
                  <a:cubicBezTo>
                    <a:pt x="8" y="111"/>
                    <a:pt x="17" y="111"/>
                    <a:pt x="25" y="119"/>
                  </a:cubicBezTo>
                  <a:cubicBezTo>
                    <a:pt x="51" y="119"/>
                    <a:pt x="94" y="145"/>
                    <a:pt x="120" y="179"/>
                  </a:cubicBezTo>
                  <a:cubicBezTo>
                    <a:pt x="154" y="213"/>
                    <a:pt x="145" y="239"/>
                    <a:pt x="180" y="265"/>
                  </a:cubicBezTo>
                  <a:cubicBezTo>
                    <a:pt x="214" y="291"/>
                    <a:pt x="231" y="308"/>
                    <a:pt x="240" y="325"/>
                  </a:cubicBezTo>
                  <a:cubicBezTo>
                    <a:pt x="248" y="342"/>
                    <a:pt x="308" y="359"/>
                    <a:pt x="308" y="368"/>
                  </a:cubicBezTo>
                  <a:cubicBezTo>
                    <a:pt x="308" y="385"/>
                    <a:pt x="317" y="368"/>
                    <a:pt x="343" y="393"/>
                  </a:cubicBezTo>
                  <a:cubicBezTo>
                    <a:pt x="368" y="419"/>
                    <a:pt x="428" y="496"/>
                    <a:pt x="437" y="539"/>
                  </a:cubicBezTo>
                  <a:cubicBezTo>
                    <a:pt x="445" y="574"/>
                    <a:pt x="437" y="633"/>
                    <a:pt x="437" y="668"/>
                  </a:cubicBezTo>
                  <a:cubicBezTo>
                    <a:pt x="437" y="702"/>
                    <a:pt x="471" y="745"/>
                    <a:pt x="471" y="779"/>
                  </a:cubicBezTo>
                  <a:cubicBezTo>
                    <a:pt x="471" y="814"/>
                    <a:pt x="480" y="822"/>
                    <a:pt x="505" y="839"/>
                  </a:cubicBezTo>
                  <a:cubicBezTo>
                    <a:pt x="505" y="831"/>
                    <a:pt x="514" y="822"/>
                    <a:pt x="522" y="814"/>
                  </a:cubicBezTo>
                  <a:cubicBezTo>
                    <a:pt x="540" y="814"/>
                    <a:pt x="566" y="822"/>
                    <a:pt x="566" y="796"/>
                  </a:cubicBezTo>
                  <a:cubicBezTo>
                    <a:pt x="557" y="771"/>
                    <a:pt x="531" y="762"/>
                    <a:pt x="548" y="736"/>
                  </a:cubicBezTo>
                  <a:cubicBezTo>
                    <a:pt x="566" y="719"/>
                    <a:pt x="583" y="711"/>
                    <a:pt x="583" y="694"/>
                  </a:cubicBezTo>
                  <a:cubicBezTo>
                    <a:pt x="583" y="677"/>
                    <a:pt x="583" y="659"/>
                    <a:pt x="600" y="651"/>
                  </a:cubicBezTo>
                  <a:cubicBezTo>
                    <a:pt x="617" y="633"/>
                    <a:pt x="617" y="625"/>
                    <a:pt x="617" y="608"/>
                  </a:cubicBezTo>
                  <a:cubicBezTo>
                    <a:pt x="617" y="591"/>
                    <a:pt x="583" y="548"/>
                    <a:pt x="583" y="531"/>
                  </a:cubicBezTo>
                  <a:cubicBezTo>
                    <a:pt x="583" y="514"/>
                    <a:pt x="600" y="471"/>
                    <a:pt x="608" y="488"/>
                  </a:cubicBezTo>
                  <a:cubicBezTo>
                    <a:pt x="617" y="496"/>
                    <a:pt x="634" y="522"/>
                    <a:pt x="643" y="514"/>
                  </a:cubicBezTo>
                  <a:cubicBezTo>
                    <a:pt x="660" y="505"/>
                    <a:pt x="677" y="471"/>
                    <a:pt x="694" y="479"/>
                  </a:cubicBezTo>
                  <a:cubicBezTo>
                    <a:pt x="703" y="488"/>
                    <a:pt x="720" y="496"/>
                    <a:pt x="728" y="488"/>
                  </a:cubicBezTo>
                  <a:cubicBezTo>
                    <a:pt x="737" y="488"/>
                    <a:pt x="737" y="462"/>
                    <a:pt x="754" y="471"/>
                  </a:cubicBezTo>
                  <a:cubicBezTo>
                    <a:pt x="771" y="488"/>
                    <a:pt x="780" y="496"/>
                    <a:pt x="797" y="488"/>
                  </a:cubicBezTo>
                  <a:cubicBezTo>
                    <a:pt x="806" y="479"/>
                    <a:pt x="823" y="479"/>
                    <a:pt x="823" y="479"/>
                  </a:cubicBezTo>
                  <a:cubicBezTo>
                    <a:pt x="831" y="479"/>
                    <a:pt x="831" y="479"/>
                    <a:pt x="840" y="479"/>
                  </a:cubicBezTo>
                  <a:cubicBezTo>
                    <a:pt x="823" y="462"/>
                    <a:pt x="797" y="471"/>
                    <a:pt x="780" y="462"/>
                  </a:cubicBezTo>
                  <a:cubicBezTo>
                    <a:pt x="754" y="453"/>
                    <a:pt x="762" y="428"/>
                    <a:pt x="762" y="411"/>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66" name="Freeform 67"/>
            <p:cNvSpPr>
              <a:spLocks noChangeArrowheads="1"/>
            </p:cNvSpPr>
            <p:nvPr/>
          </p:nvSpPr>
          <p:spPr bwMode="auto">
            <a:xfrm>
              <a:off x="3594100" y="2803525"/>
              <a:ext cx="787400" cy="709613"/>
            </a:xfrm>
            <a:custGeom>
              <a:avLst/>
              <a:gdLst>
                <a:gd name="T0" fmla="*/ 2147483647 w 2187"/>
                <a:gd name="T1" fmla="*/ 2147483647 h 1972"/>
                <a:gd name="T2" fmla="*/ 2147483647 w 2187"/>
                <a:gd name="T3" fmla="*/ 2147483647 h 1972"/>
                <a:gd name="T4" fmla="*/ 2147483647 w 2187"/>
                <a:gd name="T5" fmla="*/ 2147483647 h 1972"/>
                <a:gd name="T6" fmla="*/ 2147483647 w 2187"/>
                <a:gd name="T7" fmla="*/ 2147483647 h 1972"/>
                <a:gd name="T8" fmla="*/ 2147483647 w 2187"/>
                <a:gd name="T9" fmla="*/ 2147483647 h 1972"/>
                <a:gd name="T10" fmla="*/ 2147483647 w 2187"/>
                <a:gd name="T11" fmla="*/ 2147483647 h 1972"/>
                <a:gd name="T12" fmla="*/ 2147483647 w 2187"/>
                <a:gd name="T13" fmla="*/ 2147483647 h 1972"/>
                <a:gd name="T14" fmla="*/ 2147483647 w 2187"/>
                <a:gd name="T15" fmla="*/ 2147483647 h 1972"/>
                <a:gd name="T16" fmla="*/ 2147483647 w 2187"/>
                <a:gd name="T17" fmla="*/ 2147483647 h 1972"/>
                <a:gd name="T18" fmla="*/ 2147483647 w 2187"/>
                <a:gd name="T19" fmla="*/ 2147483647 h 1972"/>
                <a:gd name="T20" fmla="*/ 2147483647 w 2187"/>
                <a:gd name="T21" fmla="*/ 2147483647 h 1972"/>
                <a:gd name="T22" fmla="*/ 2147483647 w 2187"/>
                <a:gd name="T23" fmla="*/ 2147483647 h 1972"/>
                <a:gd name="T24" fmla="*/ 2147483647 w 2187"/>
                <a:gd name="T25" fmla="*/ 2147483647 h 1972"/>
                <a:gd name="T26" fmla="*/ 2147483647 w 2187"/>
                <a:gd name="T27" fmla="*/ 2147483647 h 1972"/>
                <a:gd name="T28" fmla="*/ 2147483647 w 2187"/>
                <a:gd name="T29" fmla="*/ 2147483647 h 1972"/>
                <a:gd name="T30" fmla="*/ 2147483647 w 2187"/>
                <a:gd name="T31" fmla="*/ 2147483647 h 1972"/>
                <a:gd name="T32" fmla="*/ 2147483647 w 2187"/>
                <a:gd name="T33" fmla="*/ 2147483647 h 1972"/>
                <a:gd name="T34" fmla="*/ 2147483647 w 2187"/>
                <a:gd name="T35" fmla="*/ 2147483647 h 1972"/>
                <a:gd name="T36" fmla="*/ 2147483647 w 2187"/>
                <a:gd name="T37" fmla="*/ 2147483647 h 1972"/>
                <a:gd name="T38" fmla="*/ 2147483647 w 2187"/>
                <a:gd name="T39" fmla="*/ 2147483647 h 1972"/>
                <a:gd name="T40" fmla="*/ 2147483647 w 2187"/>
                <a:gd name="T41" fmla="*/ 2147483647 h 1972"/>
                <a:gd name="T42" fmla="*/ 2147483647 w 2187"/>
                <a:gd name="T43" fmla="*/ 2147483647 h 1972"/>
                <a:gd name="T44" fmla="*/ 2147483647 w 2187"/>
                <a:gd name="T45" fmla="*/ 2147483647 h 1972"/>
                <a:gd name="T46" fmla="*/ 2147483647 w 2187"/>
                <a:gd name="T47" fmla="*/ 2147483647 h 1972"/>
                <a:gd name="T48" fmla="*/ 2147483647 w 2187"/>
                <a:gd name="T49" fmla="*/ 2147483647 h 1972"/>
                <a:gd name="T50" fmla="*/ 2147483647 w 2187"/>
                <a:gd name="T51" fmla="*/ 2147483647 h 1972"/>
                <a:gd name="T52" fmla="*/ 2147483647 w 2187"/>
                <a:gd name="T53" fmla="*/ 2147483647 h 1972"/>
                <a:gd name="T54" fmla="*/ 0 w 2187"/>
                <a:gd name="T55" fmla="*/ 2147483647 h 1972"/>
                <a:gd name="T56" fmla="*/ 2147483647 w 2187"/>
                <a:gd name="T57" fmla="*/ 2147483647 h 1972"/>
                <a:gd name="T58" fmla="*/ 2147483647 w 2187"/>
                <a:gd name="T59" fmla="*/ 2147483647 h 1972"/>
                <a:gd name="T60" fmla="*/ 2147483647 w 2187"/>
                <a:gd name="T61" fmla="*/ 2147483647 h 1972"/>
                <a:gd name="T62" fmla="*/ 2147483647 w 2187"/>
                <a:gd name="T63" fmla="*/ 2147483647 h 1972"/>
                <a:gd name="T64" fmla="*/ 2147483647 w 2187"/>
                <a:gd name="T65" fmla="*/ 2147483647 h 1972"/>
                <a:gd name="T66" fmla="*/ 2147483647 w 2187"/>
                <a:gd name="T67" fmla="*/ 2147483647 h 1972"/>
                <a:gd name="T68" fmla="*/ 2147483647 w 2187"/>
                <a:gd name="T69" fmla="*/ 2147483647 h 1972"/>
                <a:gd name="T70" fmla="*/ 2147483647 w 2187"/>
                <a:gd name="T71" fmla="*/ 2147483647 h 1972"/>
                <a:gd name="T72" fmla="*/ 2147483647 w 2187"/>
                <a:gd name="T73" fmla="*/ 2147483647 h 1972"/>
                <a:gd name="T74" fmla="*/ 2147483647 w 2187"/>
                <a:gd name="T75" fmla="*/ 2147483647 h 1972"/>
                <a:gd name="T76" fmla="*/ 2147483647 w 2187"/>
                <a:gd name="T77" fmla="*/ 2147483647 h 1972"/>
                <a:gd name="T78" fmla="*/ 2147483647 w 2187"/>
                <a:gd name="T79" fmla="*/ 2147483647 h 1972"/>
                <a:gd name="T80" fmla="*/ 2147483647 w 2187"/>
                <a:gd name="T81" fmla="*/ 2147483647 h 1972"/>
                <a:gd name="T82" fmla="*/ 2147483647 w 2187"/>
                <a:gd name="T83" fmla="*/ 2147483647 h 1972"/>
                <a:gd name="T84" fmla="*/ 2147483647 w 2187"/>
                <a:gd name="T85" fmla="*/ 2147483647 h 1972"/>
                <a:gd name="T86" fmla="*/ 2147483647 w 2187"/>
                <a:gd name="T87" fmla="*/ 2147483647 h 1972"/>
                <a:gd name="T88" fmla="*/ 2147483647 w 2187"/>
                <a:gd name="T89" fmla="*/ 2147483647 h 1972"/>
                <a:gd name="T90" fmla="*/ 2147483647 w 2187"/>
                <a:gd name="T91" fmla="*/ 2147483647 h 1972"/>
                <a:gd name="T92" fmla="*/ 2147483647 w 2187"/>
                <a:gd name="T93" fmla="*/ 2147483647 h 1972"/>
                <a:gd name="T94" fmla="*/ 2147483647 w 2187"/>
                <a:gd name="T95" fmla="*/ 2147483647 h 1972"/>
                <a:gd name="T96" fmla="*/ 2147483647 w 2187"/>
                <a:gd name="T97" fmla="*/ 2147483647 h 1972"/>
                <a:gd name="T98" fmla="*/ 2147483647 w 2187"/>
                <a:gd name="T99" fmla="*/ 2147483647 h 1972"/>
                <a:gd name="T100" fmla="*/ 2147483647 w 2187"/>
                <a:gd name="T101" fmla="*/ 2147483647 h 1972"/>
                <a:gd name="T102" fmla="*/ 2147483647 w 2187"/>
                <a:gd name="T103" fmla="*/ 2147483647 h 1972"/>
                <a:gd name="T104" fmla="*/ 2147483647 w 2187"/>
                <a:gd name="T105" fmla="*/ 2147483647 h 1972"/>
                <a:gd name="T106" fmla="*/ 2147483647 w 2187"/>
                <a:gd name="T107" fmla="*/ 2147483647 h 1972"/>
                <a:gd name="T108" fmla="*/ 2147483647 w 2187"/>
                <a:gd name="T109" fmla="*/ 2147483647 h 1972"/>
                <a:gd name="T110" fmla="*/ 2147483647 w 2187"/>
                <a:gd name="T111" fmla="*/ 2147483647 h 1972"/>
                <a:gd name="T112" fmla="*/ 2147483647 w 2187"/>
                <a:gd name="T113" fmla="*/ 2147483647 h 1972"/>
                <a:gd name="T114" fmla="*/ 2147483647 w 2187"/>
                <a:gd name="T115" fmla="*/ 2147483647 h 1972"/>
                <a:gd name="T116" fmla="*/ 2147483647 w 2187"/>
                <a:gd name="T117" fmla="*/ 2147483647 h 1972"/>
                <a:gd name="T118" fmla="*/ 2147483647 w 2187"/>
                <a:gd name="T119" fmla="*/ 2147483647 h 1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87"/>
                <a:gd name="T181" fmla="*/ 0 h 1972"/>
                <a:gd name="T182" fmla="*/ 2187 w 2187"/>
                <a:gd name="T183" fmla="*/ 1972 h 1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87" h="1972">
                  <a:moveTo>
                    <a:pt x="2143" y="274"/>
                  </a:moveTo>
                  <a:lnTo>
                    <a:pt x="2143" y="274"/>
                  </a:lnTo>
                  <a:cubicBezTo>
                    <a:pt x="2117" y="292"/>
                    <a:pt x="2074" y="274"/>
                    <a:pt x="2057" y="283"/>
                  </a:cubicBezTo>
                  <a:cubicBezTo>
                    <a:pt x="2040" y="300"/>
                    <a:pt x="2023" y="274"/>
                    <a:pt x="2014" y="249"/>
                  </a:cubicBezTo>
                  <a:cubicBezTo>
                    <a:pt x="2006" y="215"/>
                    <a:pt x="1988" y="189"/>
                    <a:pt x="1971" y="180"/>
                  </a:cubicBezTo>
                  <a:cubicBezTo>
                    <a:pt x="1963" y="163"/>
                    <a:pt x="1988" y="155"/>
                    <a:pt x="2014" y="137"/>
                  </a:cubicBezTo>
                  <a:cubicBezTo>
                    <a:pt x="2031" y="129"/>
                    <a:pt x="2006" y="120"/>
                    <a:pt x="1971" y="103"/>
                  </a:cubicBezTo>
                  <a:cubicBezTo>
                    <a:pt x="1946" y="95"/>
                    <a:pt x="1929" y="77"/>
                    <a:pt x="1911" y="43"/>
                  </a:cubicBezTo>
                  <a:cubicBezTo>
                    <a:pt x="1903" y="0"/>
                    <a:pt x="1885" y="9"/>
                    <a:pt x="1851" y="9"/>
                  </a:cubicBezTo>
                  <a:cubicBezTo>
                    <a:pt x="1817" y="0"/>
                    <a:pt x="1808" y="26"/>
                    <a:pt x="1783" y="26"/>
                  </a:cubicBezTo>
                  <a:cubicBezTo>
                    <a:pt x="1757" y="26"/>
                    <a:pt x="1740" y="34"/>
                    <a:pt x="1714" y="77"/>
                  </a:cubicBezTo>
                  <a:cubicBezTo>
                    <a:pt x="1680" y="120"/>
                    <a:pt x="1645" y="86"/>
                    <a:pt x="1611" y="103"/>
                  </a:cubicBezTo>
                  <a:cubicBezTo>
                    <a:pt x="1586" y="120"/>
                    <a:pt x="1620" y="137"/>
                    <a:pt x="1611" y="163"/>
                  </a:cubicBezTo>
                  <a:cubicBezTo>
                    <a:pt x="1603" y="180"/>
                    <a:pt x="1577" y="189"/>
                    <a:pt x="1551" y="189"/>
                  </a:cubicBezTo>
                  <a:cubicBezTo>
                    <a:pt x="1534" y="189"/>
                    <a:pt x="1508" y="197"/>
                    <a:pt x="1500" y="197"/>
                  </a:cubicBezTo>
                  <a:cubicBezTo>
                    <a:pt x="1474" y="206"/>
                    <a:pt x="1457" y="215"/>
                    <a:pt x="1440" y="232"/>
                  </a:cubicBezTo>
                  <a:cubicBezTo>
                    <a:pt x="1414" y="249"/>
                    <a:pt x="1397" y="232"/>
                    <a:pt x="1380" y="249"/>
                  </a:cubicBezTo>
                  <a:cubicBezTo>
                    <a:pt x="1371" y="257"/>
                    <a:pt x="1345" y="369"/>
                    <a:pt x="1354" y="395"/>
                  </a:cubicBezTo>
                  <a:cubicBezTo>
                    <a:pt x="1363" y="429"/>
                    <a:pt x="1388" y="472"/>
                    <a:pt x="1388" y="489"/>
                  </a:cubicBezTo>
                  <a:cubicBezTo>
                    <a:pt x="1388" y="514"/>
                    <a:pt x="1328" y="455"/>
                    <a:pt x="1303" y="455"/>
                  </a:cubicBezTo>
                  <a:cubicBezTo>
                    <a:pt x="1286" y="446"/>
                    <a:pt x="1234" y="472"/>
                    <a:pt x="1217" y="472"/>
                  </a:cubicBezTo>
                  <a:cubicBezTo>
                    <a:pt x="1200" y="480"/>
                    <a:pt x="1191" y="497"/>
                    <a:pt x="1165" y="514"/>
                  </a:cubicBezTo>
                  <a:cubicBezTo>
                    <a:pt x="1140" y="540"/>
                    <a:pt x="1114" y="472"/>
                    <a:pt x="1097" y="455"/>
                  </a:cubicBezTo>
                  <a:cubicBezTo>
                    <a:pt x="1080" y="437"/>
                    <a:pt x="1080" y="463"/>
                    <a:pt x="1054" y="489"/>
                  </a:cubicBezTo>
                  <a:cubicBezTo>
                    <a:pt x="1037" y="506"/>
                    <a:pt x="1046" y="506"/>
                    <a:pt x="1046" y="523"/>
                  </a:cubicBezTo>
                  <a:cubicBezTo>
                    <a:pt x="1037" y="549"/>
                    <a:pt x="1020" y="506"/>
                    <a:pt x="994" y="506"/>
                  </a:cubicBezTo>
                  <a:cubicBezTo>
                    <a:pt x="977" y="506"/>
                    <a:pt x="969" y="514"/>
                    <a:pt x="960" y="506"/>
                  </a:cubicBezTo>
                  <a:cubicBezTo>
                    <a:pt x="943" y="497"/>
                    <a:pt x="951" y="489"/>
                    <a:pt x="934" y="514"/>
                  </a:cubicBezTo>
                  <a:cubicBezTo>
                    <a:pt x="925" y="532"/>
                    <a:pt x="900" y="523"/>
                    <a:pt x="874" y="532"/>
                  </a:cubicBezTo>
                  <a:cubicBezTo>
                    <a:pt x="848" y="532"/>
                    <a:pt x="866" y="558"/>
                    <a:pt x="857" y="566"/>
                  </a:cubicBezTo>
                  <a:cubicBezTo>
                    <a:pt x="840" y="575"/>
                    <a:pt x="848" y="558"/>
                    <a:pt x="840" y="540"/>
                  </a:cubicBezTo>
                  <a:cubicBezTo>
                    <a:pt x="840" y="532"/>
                    <a:pt x="814" y="540"/>
                    <a:pt x="780" y="540"/>
                  </a:cubicBezTo>
                  <a:cubicBezTo>
                    <a:pt x="746" y="540"/>
                    <a:pt x="754" y="514"/>
                    <a:pt x="729" y="506"/>
                  </a:cubicBezTo>
                  <a:cubicBezTo>
                    <a:pt x="711" y="497"/>
                    <a:pt x="703" y="523"/>
                    <a:pt x="643" y="523"/>
                  </a:cubicBezTo>
                  <a:cubicBezTo>
                    <a:pt x="583" y="523"/>
                    <a:pt x="489" y="514"/>
                    <a:pt x="471" y="523"/>
                  </a:cubicBezTo>
                  <a:cubicBezTo>
                    <a:pt x="454" y="540"/>
                    <a:pt x="386" y="540"/>
                    <a:pt x="360" y="549"/>
                  </a:cubicBezTo>
                  <a:cubicBezTo>
                    <a:pt x="326" y="558"/>
                    <a:pt x="249" y="575"/>
                    <a:pt x="231" y="583"/>
                  </a:cubicBezTo>
                  <a:cubicBezTo>
                    <a:pt x="214" y="600"/>
                    <a:pt x="205" y="652"/>
                    <a:pt x="188" y="669"/>
                  </a:cubicBezTo>
                  <a:cubicBezTo>
                    <a:pt x="180" y="686"/>
                    <a:pt x="163" y="677"/>
                    <a:pt x="137" y="677"/>
                  </a:cubicBezTo>
                  <a:cubicBezTo>
                    <a:pt x="128" y="677"/>
                    <a:pt x="120" y="686"/>
                    <a:pt x="103" y="695"/>
                  </a:cubicBezTo>
                  <a:cubicBezTo>
                    <a:pt x="111" y="712"/>
                    <a:pt x="111" y="729"/>
                    <a:pt x="137" y="763"/>
                  </a:cubicBezTo>
                  <a:cubicBezTo>
                    <a:pt x="154" y="806"/>
                    <a:pt x="188" y="840"/>
                    <a:pt x="205" y="866"/>
                  </a:cubicBezTo>
                  <a:cubicBezTo>
                    <a:pt x="214" y="883"/>
                    <a:pt x="257" y="900"/>
                    <a:pt x="240" y="900"/>
                  </a:cubicBezTo>
                  <a:cubicBezTo>
                    <a:pt x="231" y="900"/>
                    <a:pt x="214" y="909"/>
                    <a:pt x="214" y="926"/>
                  </a:cubicBezTo>
                  <a:cubicBezTo>
                    <a:pt x="223" y="935"/>
                    <a:pt x="274" y="952"/>
                    <a:pt x="266" y="977"/>
                  </a:cubicBezTo>
                  <a:cubicBezTo>
                    <a:pt x="249" y="1003"/>
                    <a:pt x="240" y="1046"/>
                    <a:pt x="231" y="1046"/>
                  </a:cubicBezTo>
                  <a:cubicBezTo>
                    <a:pt x="214" y="1046"/>
                    <a:pt x="188" y="1063"/>
                    <a:pt x="180" y="1080"/>
                  </a:cubicBezTo>
                  <a:cubicBezTo>
                    <a:pt x="163" y="1097"/>
                    <a:pt x="103" y="1183"/>
                    <a:pt x="94" y="1209"/>
                  </a:cubicBezTo>
                  <a:cubicBezTo>
                    <a:pt x="94" y="1235"/>
                    <a:pt x="60" y="1295"/>
                    <a:pt x="60" y="1312"/>
                  </a:cubicBezTo>
                  <a:cubicBezTo>
                    <a:pt x="51" y="1329"/>
                    <a:pt x="51" y="1389"/>
                    <a:pt x="68" y="1415"/>
                  </a:cubicBezTo>
                  <a:cubicBezTo>
                    <a:pt x="94" y="1432"/>
                    <a:pt x="111" y="1466"/>
                    <a:pt x="103" y="1466"/>
                  </a:cubicBezTo>
                  <a:cubicBezTo>
                    <a:pt x="86" y="1466"/>
                    <a:pt x="77" y="1466"/>
                    <a:pt x="51" y="1466"/>
                  </a:cubicBezTo>
                  <a:cubicBezTo>
                    <a:pt x="51" y="1466"/>
                    <a:pt x="51" y="1466"/>
                    <a:pt x="43" y="1466"/>
                  </a:cubicBezTo>
                  <a:cubicBezTo>
                    <a:pt x="34" y="1483"/>
                    <a:pt x="26" y="1518"/>
                    <a:pt x="26" y="1526"/>
                  </a:cubicBezTo>
                  <a:cubicBezTo>
                    <a:pt x="26" y="1534"/>
                    <a:pt x="0" y="1602"/>
                    <a:pt x="0" y="1628"/>
                  </a:cubicBezTo>
                  <a:cubicBezTo>
                    <a:pt x="0" y="1645"/>
                    <a:pt x="0" y="1662"/>
                    <a:pt x="9" y="1679"/>
                  </a:cubicBezTo>
                  <a:cubicBezTo>
                    <a:pt x="17" y="1679"/>
                    <a:pt x="17" y="1679"/>
                    <a:pt x="17" y="1679"/>
                  </a:cubicBezTo>
                  <a:cubicBezTo>
                    <a:pt x="43" y="1688"/>
                    <a:pt x="34" y="1705"/>
                    <a:pt x="60" y="1705"/>
                  </a:cubicBezTo>
                  <a:cubicBezTo>
                    <a:pt x="86" y="1714"/>
                    <a:pt x="94" y="1705"/>
                    <a:pt x="111" y="1731"/>
                  </a:cubicBezTo>
                  <a:cubicBezTo>
                    <a:pt x="120" y="1757"/>
                    <a:pt x="154" y="1731"/>
                    <a:pt x="163" y="1748"/>
                  </a:cubicBezTo>
                  <a:cubicBezTo>
                    <a:pt x="171" y="1757"/>
                    <a:pt x="171" y="1757"/>
                    <a:pt x="180" y="1757"/>
                  </a:cubicBezTo>
                  <a:cubicBezTo>
                    <a:pt x="188" y="1765"/>
                    <a:pt x="188" y="1757"/>
                    <a:pt x="197" y="1757"/>
                  </a:cubicBezTo>
                  <a:cubicBezTo>
                    <a:pt x="223" y="1739"/>
                    <a:pt x="197" y="1731"/>
                    <a:pt x="231" y="1731"/>
                  </a:cubicBezTo>
                  <a:cubicBezTo>
                    <a:pt x="266" y="1731"/>
                    <a:pt x="334" y="1748"/>
                    <a:pt x="377" y="1748"/>
                  </a:cubicBezTo>
                  <a:cubicBezTo>
                    <a:pt x="420" y="1748"/>
                    <a:pt x="445" y="1739"/>
                    <a:pt x="454" y="1731"/>
                  </a:cubicBezTo>
                  <a:cubicBezTo>
                    <a:pt x="471" y="1714"/>
                    <a:pt x="480" y="1697"/>
                    <a:pt x="506" y="1705"/>
                  </a:cubicBezTo>
                  <a:cubicBezTo>
                    <a:pt x="523" y="1722"/>
                    <a:pt x="548" y="1731"/>
                    <a:pt x="557" y="1739"/>
                  </a:cubicBezTo>
                  <a:cubicBezTo>
                    <a:pt x="574" y="1757"/>
                    <a:pt x="591" y="1774"/>
                    <a:pt x="608" y="1765"/>
                  </a:cubicBezTo>
                  <a:cubicBezTo>
                    <a:pt x="617" y="1748"/>
                    <a:pt x="608" y="1722"/>
                    <a:pt x="643" y="1697"/>
                  </a:cubicBezTo>
                  <a:cubicBezTo>
                    <a:pt x="685" y="1679"/>
                    <a:pt x="814" y="1636"/>
                    <a:pt x="823" y="1619"/>
                  </a:cubicBezTo>
                  <a:cubicBezTo>
                    <a:pt x="823" y="1611"/>
                    <a:pt x="814" y="1585"/>
                    <a:pt x="840" y="1568"/>
                  </a:cubicBezTo>
                  <a:cubicBezTo>
                    <a:pt x="857" y="1551"/>
                    <a:pt x="866" y="1542"/>
                    <a:pt x="883" y="1542"/>
                  </a:cubicBezTo>
                  <a:cubicBezTo>
                    <a:pt x="883" y="1534"/>
                    <a:pt x="891" y="1526"/>
                    <a:pt x="900" y="1518"/>
                  </a:cubicBezTo>
                  <a:cubicBezTo>
                    <a:pt x="917" y="1500"/>
                    <a:pt x="925" y="1492"/>
                    <a:pt x="951" y="1483"/>
                  </a:cubicBezTo>
                  <a:cubicBezTo>
                    <a:pt x="969" y="1475"/>
                    <a:pt x="1003" y="1449"/>
                    <a:pt x="1020" y="1440"/>
                  </a:cubicBezTo>
                  <a:cubicBezTo>
                    <a:pt x="1037" y="1423"/>
                    <a:pt x="1046" y="1432"/>
                    <a:pt x="1088" y="1440"/>
                  </a:cubicBezTo>
                  <a:cubicBezTo>
                    <a:pt x="1140" y="1458"/>
                    <a:pt x="1183" y="1466"/>
                    <a:pt x="1209" y="1475"/>
                  </a:cubicBezTo>
                  <a:cubicBezTo>
                    <a:pt x="1234" y="1492"/>
                    <a:pt x="1243" y="1509"/>
                    <a:pt x="1251" y="1500"/>
                  </a:cubicBezTo>
                  <a:cubicBezTo>
                    <a:pt x="1268" y="1483"/>
                    <a:pt x="1243" y="1475"/>
                    <a:pt x="1286" y="1475"/>
                  </a:cubicBezTo>
                  <a:cubicBezTo>
                    <a:pt x="1328" y="1483"/>
                    <a:pt x="1328" y="1518"/>
                    <a:pt x="1354" y="1509"/>
                  </a:cubicBezTo>
                  <a:cubicBezTo>
                    <a:pt x="1371" y="1500"/>
                    <a:pt x="1380" y="1475"/>
                    <a:pt x="1397" y="1500"/>
                  </a:cubicBezTo>
                  <a:cubicBezTo>
                    <a:pt x="1423" y="1518"/>
                    <a:pt x="1414" y="1526"/>
                    <a:pt x="1414" y="1551"/>
                  </a:cubicBezTo>
                  <a:cubicBezTo>
                    <a:pt x="1414" y="1585"/>
                    <a:pt x="1414" y="1576"/>
                    <a:pt x="1414" y="1611"/>
                  </a:cubicBezTo>
                  <a:cubicBezTo>
                    <a:pt x="1423" y="1645"/>
                    <a:pt x="1431" y="1662"/>
                    <a:pt x="1457" y="1697"/>
                  </a:cubicBezTo>
                  <a:cubicBezTo>
                    <a:pt x="1474" y="1722"/>
                    <a:pt x="1526" y="1765"/>
                    <a:pt x="1560" y="1774"/>
                  </a:cubicBezTo>
                  <a:cubicBezTo>
                    <a:pt x="1594" y="1782"/>
                    <a:pt x="1611" y="1774"/>
                    <a:pt x="1628" y="1782"/>
                  </a:cubicBezTo>
                  <a:cubicBezTo>
                    <a:pt x="1637" y="1791"/>
                    <a:pt x="1645" y="1816"/>
                    <a:pt x="1645" y="1834"/>
                  </a:cubicBezTo>
                  <a:cubicBezTo>
                    <a:pt x="1645" y="1851"/>
                    <a:pt x="1637" y="1876"/>
                    <a:pt x="1663" y="1885"/>
                  </a:cubicBezTo>
                  <a:cubicBezTo>
                    <a:pt x="1680" y="1894"/>
                    <a:pt x="1706" y="1885"/>
                    <a:pt x="1723" y="1902"/>
                  </a:cubicBezTo>
                  <a:cubicBezTo>
                    <a:pt x="1731" y="1902"/>
                    <a:pt x="1740" y="1902"/>
                    <a:pt x="1757" y="1911"/>
                  </a:cubicBezTo>
                  <a:cubicBezTo>
                    <a:pt x="1783" y="1928"/>
                    <a:pt x="1800" y="1971"/>
                    <a:pt x="1808" y="1945"/>
                  </a:cubicBezTo>
                  <a:cubicBezTo>
                    <a:pt x="1808" y="1919"/>
                    <a:pt x="1808" y="1851"/>
                    <a:pt x="1817" y="1825"/>
                  </a:cubicBezTo>
                  <a:cubicBezTo>
                    <a:pt x="1826" y="1799"/>
                    <a:pt x="1868" y="1765"/>
                    <a:pt x="1903" y="1765"/>
                  </a:cubicBezTo>
                  <a:cubicBezTo>
                    <a:pt x="1929" y="1765"/>
                    <a:pt x="1937" y="1765"/>
                    <a:pt x="1946" y="1739"/>
                  </a:cubicBezTo>
                  <a:cubicBezTo>
                    <a:pt x="1946" y="1714"/>
                    <a:pt x="1946" y="1671"/>
                    <a:pt x="1954" y="1697"/>
                  </a:cubicBezTo>
                  <a:cubicBezTo>
                    <a:pt x="1954" y="1714"/>
                    <a:pt x="1946" y="1757"/>
                    <a:pt x="1963" y="1739"/>
                  </a:cubicBezTo>
                  <a:cubicBezTo>
                    <a:pt x="1980" y="1731"/>
                    <a:pt x="2014" y="1731"/>
                    <a:pt x="2023" y="1722"/>
                  </a:cubicBezTo>
                  <a:cubicBezTo>
                    <a:pt x="2031" y="1714"/>
                    <a:pt x="2023" y="1705"/>
                    <a:pt x="2014" y="1688"/>
                  </a:cubicBezTo>
                  <a:cubicBezTo>
                    <a:pt x="2006" y="1662"/>
                    <a:pt x="2014" y="1662"/>
                    <a:pt x="2006" y="1645"/>
                  </a:cubicBezTo>
                  <a:cubicBezTo>
                    <a:pt x="1988" y="1636"/>
                    <a:pt x="1980" y="1594"/>
                    <a:pt x="1980" y="1594"/>
                  </a:cubicBezTo>
                  <a:cubicBezTo>
                    <a:pt x="1988" y="1594"/>
                    <a:pt x="1988" y="1594"/>
                    <a:pt x="1997" y="1611"/>
                  </a:cubicBezTo>
                  <a:cubicBezTo>
                    <a:pt x="2014" y="1636"/>
                    <a:pt x="2023" y="1645"/>
                    <a:pt x="2023" y="1662"/>
                  </a:cubicBezTo>
                  <a:cubicBezTo>
                    <a:pt x="2023" y="1671"/>
                    <a:pt x="2006" y="1688"/>
                    <a:pt x="2040" y="1705"/>
                  </a:cubicBezTo>
                  <a:cubicBezTo>
                    <a:pt x="2074" y="1714"/>
                    <a:pt x="2066" y="1731"/>
                    <a:pt x="2091" y="1714"/>
                  </a:cubicBezTo>
                  <a:cubicBezTo>
                    <a:pt x="2117" y="1705"/>
                    <a:pt x="2151" y="1688"/>
                    <a:pt x="2151" y="1697"/>
                  </a:cubicBezTo>
                  <a:cubicBezTo>
                    <a:pt x="2143" y="1705"/>
                    <a:pt x="2151" y="1722"/>
                    <a:pt x="2143" y="1731"/>
                  </a:cubicBezTo>
                  <a:cubicBezTo>
                    <a:pt x="2125" y="1731"/>
                    <a:pt x="2074" y="1748"/>
                    <a:pt x="2066" y="1757"/>
                  </a:cubicBezTo>
                  <a:cubicBezTo>
                    <a:pt x="2057" y="1757"/>
                    <a:pt x="2031" y="1757"/>
                    <a:pt x="2023" y="1765"/>
                  </a:cubicBezTo>
                  <a:cubicBezTo>
                    <a:pt x="2006" y="1765"/>
                    <a:pt x="1988" y="1765"/>
                    <a:pt x="1971" y="1765"/>
                  </a:cubicBezTo>
                  <a:cubicBezTo>
                    <a:pt x="1954" y="1765"/>
                    <a:pt x="1988" y="1791"/>
                    <a:pt x="1997" y="1791"/>
                  </a:cubicBezTo>
                  <a:cubicBezTo>
                    <a:pt x="2006" y="1791"/>
                    <a:pt x="2014" y="1774"/>
                    <a:pt x="2040" y="1774"/>
                  </a:cubicBezTo>
                  <a:cubicBezTo>
                    <a:pt x="2066" y="1774"/>
                    <a:pt x="2066" y="1782"/>
                    <a:pt x="2066" y="1799"/>
                  </a:cubicBezTo>
                  <a:cubicBezTo>
                    <a:pt x="2057" y="1808"/>
                    <a:pt x="2031" y="1859"/>
                    <a:pt x="2014" y="1851"/>
                  </a:cubicBezTo>
                  <a:cubicBezTo>
                    <a:pt x="1997" y="1842"/>
                    <a:pt x="1954" y="1799"/>
                    <a:pt x="1971" y="1825"/>
                  </a:cubicBezTo>
                  <a:cubicBezTo>
                    <a:pt x="1980" y="1842"/>
                    <a:pt x="1971" y="1859"/>
                    <a:pt x="2006" y="1859"/>
                  </a:cubicBezTo>
                  <a:cubicBezTo>
                    <a:pt x="2040" y="1859"/>
                    <a:pt x="2057" y="1868"/>
                    <a:pt x="2074" y="1859"/>
                  </a:cubicBezTo>
                  <a:cubicBezTo>
                    <a:pt x="2091" y="1842"/>
                    <a:pt x="2117" y="1816"/>
                    <a:pt x="2125" y="1834"/>
                  </a:cubicBezTo>
                  <a:cubicBezTo>
                    <a:pt x="2134" y="1842"/>
                    <a:pt x="2186" y="1859"/>
                    <a:pt x="2186" y="1859"/>
                  </a:cubicBezTo>
                  <a:cubicBezTo>
                    <a:pt x="2186" y="206"/>
                    <a:pt x="2186" y="206"/>
                    <a:pt x="2186" y="206"/>
                  </a:cubicBezTo>
                  <a:cubicBezTo>
                    <a:pt x="2160" y="232"/>
                    <a:pt x="2160" y="266"/>
                    <a:pt x="2143" y="27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67" name="Freeform 68"/>
            <p:cNvSpPr>
              <a:spLocks noChangeArrowheads="1"/>
            </p:cNvSpPr>
            <p:nvPr/>
          </p:nvSpPr>
          <p:spPr bwMode="auto">
            <a:xfrm>
              <a:off x="2701925" y="3395663"/>
              <a:ext cx="542925" cy="284162"/>
            </a:xfrm>
            <a:custGeom>
              <a:avLst/>
              <a:gdLst>
                <a:gd name="T0" fmla="*/ 2147483647 w 1508"/>
                <a:gd name="T1" fmla="*/ 2147483647 h 790"/>
                <a:gd name="T2" fmla="*/ 2147483647 w 1508"/>
                <a:gd name="T3" fmla="*/ 2147483647 h 790"/>
                <a:gd name="T4" fmla="*/ 2147483647 w 1508"/>
                <a:gd name="T5" fmla="*/ 2147483647 h 790"/>
                <a:gd name="T6" fmla="*/ 2147483647 w 1508"/>
                <a:gd name="T7" fmla="*/ 2147483647 h 790"/>
                <a:gd name="T8" fmla="*/ 2147483647 w 1508"/>
                <a:gd name="T9" fmla="*/ 2147483647 h 790"/>
                <a:gd name="T10" fmla="*/ 2147483647 w 1508"/>
                <a:gd name="T11" fmla="*/ 2147483647 h 790"/>
                <a:gd name="T12" fmla="*/ 2147483647 w 1508"/>
                <a:gd name="T13" fmla="*/ 2147483647 h 790"/>
                <a:gd name="T14" fmla="*/ 2147483647 w 1508"/>
                <a:gd name="T15" fmla="*/ 2147483647 h 790"/>
                <a:gd name="T16" fmla="*/ 2147483647 w 1508"/>
                <a:gd name="T17" fmla="*/ 2147483647 h 790"/>
                <a:gd name="T18" fmla="*/ 2147483647 w 1508"/>
                <a:gd name="T19" fmla="*/ 2147483647 h 790"/>
                <a:gd name="T20" fmla="*/ 2147483647 w 1508"/>
                <a:gd name="T21" fmla="*/ 2147483647 h 790"/>
                <a:gd name="T22" fmla="*/ 2147483647 w 1508"/>
                <a:gd name="T23" fmla="*/ 2147483647 h 790"/>
                <a:gd name="T24" fmla="*/ 2147483647 w 1508"/>
                <a:gd name="T25" fmla="*/ 2147483647 h 790"/>
                <a:gd name="T26" fmla="*/ 2147483647 w 1508"/>
                <a:gd name="T27" fmla="*/ 2147483647 h 790"/>
                <a:gd name="T28" fmla="*/ 2147483647 w 1508"/>
                <a:gd name="T29" fmla="*/ 2147483647 h 790"/>
                <a:gd name="T30" fmla="*/ 2147483647 w 1508"/>
                <a:gd name="T31" fmla="*/ 2147483647 h 790"/>
                <a:gd name="T32" fmla="*/ 2147483647 w 1508"/>
                <a:gd name="T33" fmla="*/ 2147483647 h 790"/>
                <a:gd name="T34" fmla="*/ 2147483647 w 1508"/>
                <a:gd name="T35" fmla="*/ 2147483647 h 790"/>
                <a:gd name="T36" fmla="*/ 2147483647 w 1508"/>
                <a:gd name="T37" fmla="*/ 2147483647 h 790"/>
                <a:gd name="T38" fmla="*/ 0 w 1508"/>
                <a:gd name="T39" fmla="*/ 2147483647 h 790"/>
                <a:gd name="T40" fmla="*/ 2147483647 w 1508"/>
                <a:gd name="T41" fmla="*/ 2147483647 h 790"/>
                <a:gd name="T42" fmla="*/ 2147483647 w 1508"/>
                <a:gd name="T43" fmla="*/ 2147483647 h 790"/>
                <a:gd name="T44" fmla="*/ 2147483647 w 1508"/>
                <a:gd name="T45" fmla="*/ 2147483647 h 790"/>
                <a:gd name="T46" fmla="*/ 2147483647 w 1508"/>
                <a:gd name="T47" fmla="*/ 2147483647 h 790"/>
                <a:gd name="T48" fmla="*/ 2147483647 w 1508"/>
                <a:gd name="T49" fmla="*/ 2147483647 h 790"/>
                <a:gd name="T50" fmla="*/ 2147483647 w 1508"/>
                <a:gd name="T51" fmla="*/ 2147483647 h 790"/>
                <a:gd name="T52" fmla="*/ 2147483647 w 1508"/>
                <a:gd name="T53" fmla="*/ 2147483647 h 790"/>
                <a:gd name="T54" fmla="*/ 2147483647 w 1508"/>
                <a:gd name="T55" fmla="*/ 2147483647 h 790"/>
                <a:gd name="T56" fmla="*/ 2147483647 w 1508"/>
                <a:gd name="T57" fmla="*/ 2147483647 h 790"/>
                <a:gd name="T58" fmla="*/ 2147483647 w 1508"/>
                <a:gd name="T59" fmla="*/ 2147483647 h 790"/>
                <a:gd name="T60" fmla="*/ 2147483647 w 1508"/>
                <a:gd name="T61" fmla="*/ 2147483647 h 790"/>
                <a:gd name="T62" fmla="*/ 2147483647 w 1508"/>
                <a:gd name="T63" fmla="*/ 2147483647 h 790"/>
                <a:gd name="T64" fmla="*/ 2147483647 w 1508"/>
                <a:gd name="T65" fmla="*/ 2147483647 h 790"/>
                <a:gd name="T66" fmla="*/ 2147483647 w 1508"/>
                <a:gd name="T67" fmla="*/ 2147483647 h 790"/>
                <a:gd name="T68" fmla="*/ 2147483647 w 1508"/>
                <a:gd name="T69" fmla="*/ 2147483647 h 790"/>
                <a:gd name="T70" fmla="*/ 2147483647 w 1508"/>
                <a:gd name="T71" fmla="*/ 2147483647 h 790"/>
                <a:gd name="T72" fmla="*/ 2147483647 w 1508"/>
                <a:gd name="T73" fmla="*/ 2147483647 h 790"/>
                <a:gd name="T74" fmla="*/ 2147483647 w 1508"/>
                <a:gd name="T75" fmla="*/ 2147483647 h 790"/>
                <a:gd name="T76" fmla="*/ 2147483647 w 1508"/>
                <a:gd name="T77" fmla="*/ 2147483647 h 790"/>
                <a:gd name="T78" fmla="*/ 2147483647 w 1508"/>
                <a:gd name="T79" fmla="*/ 2147483647 h 79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08"/>
                <a:gd name="T121" fmla="*/ 0 h 790"/>
                <a:gd name="T122" fmla="*/ 1508 w 1508"/>
                <a:gd name="T123" fmla="*/ 790 h 79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08" h="790">
                  <a:moveTo>
                    <a:pt x="1379" y="52"/>
                  </a:moveTo>
                  <a:lnTo>
                    <a:pt x="1379" y="52"/>
                  </a:lnTo>
                  <a:cubicBezTo>
                    <a:pt x="1353" y="60"/>
                    <a:pt x="1362" y="60"/>
                    <a:pt x="1319" y="60"/>
                  </a:cubicBezTo>
                  <a:cubicBezTo>
                    <a:pt x="1285" y="60"/>
                    <a:pt x="1276" y="86"/>
                    <a:pt x="1259" y="69"/>
                  </a:cubicBezTo>
                  <a:cubicBezTo>
                    <a:pt x="1241" y="52"/>
                    <a:pt x="1267" y="52"/>
                    <a:pt x="1216" y="43"/>
                  </a:cubicBezTo>
                  <a:cubicBezTo>
                    <a:pt x="1164" y="34"/>
                    <a:pt x="1164" y="17"/>
                    <a:pt x="1130" y="17"/>
                  </a:cubicBezTo>
                  <a:cubicBezTo>
                    <a:pt x="1087" y="17"/>
                    <a:pt x="1062" y="0"/>
                    <a:pt x="1062" y="17"/>
                  </a:cubicBezTo>
                  <a:cubicBezTo>
                    <a:pt x="1062" y="34"/>
                    <a:pt x="1070" y="69"/>
                    <a:pt x="1053" y="77"/>
                  </a:cubicBezTo>
                  <a:cubicBezTo>
                    <a:pt x="1036" y="86"/>
                    <a:pt x="1019" y="77"/>
                    <a:pt x="1019" y="112"/>
                  </a:cubicBezTo>
                  <a:cubicBezTo>
                    <a:pt x="1019" y="137"/>
                    <a:pt x="1062" y="137"/>
                    <a:pt x="1019" y="137"/>
                  </a:cubicBezTo>
                  <a:cubicBezTo>
                    <a:pt x="984" y="137"/>
                    <a:pt x="967" y="146"/>
                    <a:pt x="942" y="146"/>
                  </a:cubicBezTo>
                  <a:cubicBezTo>
                    <a:pt x="924" y="146"/>
                    <a:pt x="890" y="129"/>
                    <a:pt x="890" y="129"/>
                  </a:cubicBezTo>
                  <a:cubicBezTo>
                    <a:pt x="890" y="129"/>
                    <a:pt x="890" y="120"/>
                    <a:pt x="864" y="112"/>
                  </a:cubicBezTo>
                  <a:cubicBezTo>
                    <a:pt x="856" y="103"/>
                    <a:pt x="847" y="94"/>
                    <a:pt x="847" y="94"/>
                  </a:cubicBezTo>
                  <a:cubicBezTo>
                    <a:pt x="847" y="120"/>
                    <a:pt x="847" y="154"/>
                    <a:pt x="839" y="154"/>
                  </a:cubicBezTo>
                  <a:cubicBezTo>
                    <a:pt x="813" y="163"/>
                    <a:pt x="779" y="163"/>
                    <a:pt x="779" y="163"/>
                  </a:cubicBezTo>
                  <a:cubicBezTo>
                    <a:pt x="779" y="163"/>
                    <a:pt x="770" y="214"/>
                    <a:pt x="753" y="223"/>
                  </a:cubicBezTo>
                  <a:cubicBezTo>
                    <a:pt x="736" y="231"/>
                    <a:pt x="693" y="257"/>
                    <a:pt x="676" y="266"/>
                  </a:cubicBezTo>
                  <a:cubicBezTo>
                    <a:pt x="659" y="283"/>
                    <a:pt x="642" y="300"/>
                    <a:pt x="650" y="309"/>
                  </a:cubicBezTo>
                  <a:cubicBezTo>
                    <a:pt x="667" y="326"/>
                    <a:pt x="693" y="360"/>
                    <a:pt x="693" y="386"/>
                  </a:cubicBezTo>
                  <a:cubicBezTo>
                    <a:pt x="693" y="420"/>
                    <a:pt x="719" y="403"/>
                    <a:pt x="719" y="429"/>
                  </a:cubicBezTo>
                  <a:cubicBezTo>
                    <a:pt x="719" y="455"/>
                    <a:pt x="719" y="497"/>
                    <a:pt x="702" y="480"/>
                  </a:cubicBezTo>
                  <a:cubicBezTo>
                    <a:pt x="676" y="463"/>
                    <a:pt x="659" y="463"/>
                    <a:pt x="659" y="455"/>
                  </a:cubicBezTo>
                  <a:cubicBezTo>
                    <a:pt x="659" y="437"/>
                    <a:pt x="659" y="429"/>
                    <a:pt x="642" y="429"/>
                  </a:cubicBezTo>
                  <a:cubicBezTo>
                    <a:pt x="624" y="437"/>
                    <a:pt x="616" y="446"/>
                    <a:pt x="599" y="429"/>
                  </a:cubicBezTo>
                  <a:cubicBezTo>
                    <a:pt x="590" y="420"/>
                    <a:pt x="582" y="420"/>
                    <a:pt x="556" y="420"/>
                  </a:cubicBezTo>
                  <a:cubicBezTo>
                    <a:pt x="539" y="420"/>
                    <a:pt x="556" y="446"/>
                    <a:pt x="530" y="455"/>
                  </a:cubicBezTo>
                  <a:cubicBezTo>
                    <a:pt x="513" y="455"/>
                    <a:pt x="453" y="455"/>
                    <a:pt x="436" y="463"/>
                  </a:cubicBezTo>
                  <a:cubicBezTo>
                    <a:pt x="410" y="472"/>
                    <a:pt x="376" y="506"/>
                    <a:pt x="342" y="514"/>
                  </a:cubicBezTo>
                  <a:cubicBezTo>
                    <a:pt x="299" y="514"/>
                    <a:pt x="299" y="514"/>
                    <a:pt x="273" y="506"/>
                  </a:cubicBezTo>
                  <a:cubicBezTo>
                    <a:pt x="256" y="489"/>
                    <a:pt x="273" y="480"/>
                    <a:pt x="239" y="472"/>
                  </a:cubicBezTo>
                  <a:cubicBezTo>
                    <a:pt x="213" y="472"/>
                    <a:pt x="179" y="463"/>
                    <a:pt x="179" y="480"/>
                  </a:cubicBezTo>
                  <a:cubicBezTo>
                    <a:pt x="179" y="497"/>
                    <a:pt x="196" y="532"/>
                    <a:pt x="179" y="540"/>
                  </a:cubicBezTo>
                  <a:cubicBezTo>
                    <a:pt x="162" y="549"/>
                    <a:pt x="153" y="566"/>
                    <a:pt x="144" y="557"/>
                  </a:cubicBezTo>
                  <a:cubicBezTo>
                    <a:pt x="136" y="540"/>
                    <a:pt x="127" y="540"/>
                    <a:pt x="119" y="514"/>
                  </a:cubicBezTo>
                  <a:cubicBezTo>
                    <a:pt x="110" y="497"/>
                    <a:pt x="85" y="463"/>
                    <a:pt x="77" y="472"/>
                  </a:cubicBezTo>
                  <a:cubicBezTo>
                    <a:pt x="68" y="472"/>
                    <a:pt x="51" y="480"/>
                    <a:pt x="25" y="497"/>
                  </a:cubicBezTo>
                  <a:cubicBezTo>
                    <a:pt x="34" y="506"/>
                    <a:pt x="34" y="514"/>
                    <a:pt x="25" y="523"/>
                  </a:cubicBezTo>
                  <a:cubicBezTo>
                    <a:pt x="8" y="540"/>
                    <a:pt x="0" y="557"/>
                    <a:pt x="0" y="566"/>
                  </a:cubicBezTo>
                  <a:cubicBezTo>
                    <a:pt x="0" y="574"/>
                    <a:pt x="0" y="574"/>
                    <a:pt x="0" y="574"/>
                  </a:cubicBezTo>
                  <a:cubicBezTo>
                    <a:pt x="17" y="574"/>
                    <a:pt x="34" y="583"/>
                    <a:pt x="42" y="600"/>
                  </a:cubicBezTo>
                  <a:cubicBezTo>
                    <a:pt x="51" y="609"/>
                    <a:pt x="42" y="617"/>
                    <a:pt x="42" y="626"/>
                  </a:cubicBezTo>
                  <a:cubicBezTo>
                    <a:pt x="60" y="634"/>
                    <a:pt x="77" y="643"/>
                    <a:pt x="77" y="651"/>
                  </a:cubicBezTo>
                  <a:cubicBezTo>
                    <a:pt x="93" y="677"/>
                    <a:pt x="110" y="703"/>
                    <a:pt x="127" y="686"/>
                  </a:cubicBezTo>
                  <a:cubicBezTo>
                    <a:pt x="153" y="669"/>
                    <a:pt x="196" y="626"/>
                    <a:pt x="196" y="651"/>
                  </a:cubicBezTo>
                  <a:cubicBezTo>
                    <a:pt x="196" y="669"/>
                    <a:pt x="187" y="677"/>
                    <a:pt x="187" y="686"/>
                  </a:cubicBezTo>
                  <a:cubicBezTo>
                    <a:pt x="213" y="686"/>
                    <a:pt x="247" y="695"/>
                    <a:pt x="256" y="703"/>
                  </a:cubicBezTo>
                  <a:cubicBezTo>
                    <a:pt x="273" y="712"/>
                    <a:pt x="299" y="712"/>
                    <a:pt x="316" y="695"/>
                  </a:cubicBezTo>
                  <a:cubicBezTo>
                    <a:pt x="333" y="677"/>
                    <a:pt x="350" y="643"/>
                    <a:pt x="376" y="634"/>
                  </a:cubicBezTo>
                  <a:cubicBezTo>
                    <a:pt x="402" y="626"/>
                    <a:pt x="436" y="634"/>
                    <a:pt x="462" y="634"/>
                  </a:cubicBezTo>
                  <a:cubicBezTo>
                    <a:pt x="487" y="634"/>
                    <a:pt x="513" y="609"/>
                    <a:pt x="539" y="600"/>
                  </a:cubicBezTo>
                  <a:cubicBezTo>
                    <a:pt x="573" y="592"/>
                    <a:pt x="530" y="626"/>
                    <a:pt x="547" y="651"/>
                  </a:cubicBezTo>
                  <a:cubicBezTo>
                    <a:pt x="556" y="677"/>
                    <a:pt x="582" y="703"/>
                    <a:pt x="607" y="729"/>
                  </a:cubicBezTo>
                  <a:cubicBezTo>
                    <a:pt x="633" y="746"/>
                    <a:pt x="753" y="737"/>
                    <a:pt x="805" y="746"/>
                  </a:cubicBezTo>
                  <a:cubicBezTo>
                    <a:pt x="830" y="746"/>
                    <a:pt x="839" y="754"/>
                    <a:pt x="856" y="772"/>
                  </a:cubicBezTo>
                  <a:cubicBezTo>
                    <a:pt x="856" y="763"/>
                    <a:pt x="864" y="763"/>
                    <a:pt x="864" y="763"/>
                  </a:cubicBezTo>
                  <a:cubicBezTo>
                    <a:pt x="873" y="763"/>
                    <a:pt x="907" y="763"/>
                    <a:pt x="933" y="780"/>
                  </a:cubicBezTo>
                  <a:cubicBezTo>
                    <a:pt x="959" y="789"/>
                    <a:pt x="1001" y="780"/>
                    <a:pt x="1036" y="780"/>
                  </a:cubicBezTo>
                  <a:cubicBezTo>
                    <a:pt x="1062" y="780"/>
                    <a:pt x="1062" y="754"/>
                    <a:pt x="1079" y="737"/>
                  </a:cubicBezTo>
                  <a:cubicBezTo>
                    <a:pt x="1096" y="712"/>
                    <a:pt x="1182" y="712"/>
                    <a:pt x="1216" y="712"/>
                  </a:cubicBezTo>
                  <a:cubicBezTo>
                    <a:pt x="1241" y="712"/>
                    <a:pt x="1241" y="703"/>
                    <a:pt x="1276" y="677"/>
                  </a:cubicBezTo>
                  <a:cubicBezTo>
                    <a:pt x="1302" y="651"/>
                    <a:pt x="1302" y="677"/>
                    <a:pt x="1319" y="686"/>
                  </a:cubicBezTo>
                  <a:cubicBezTo>
                    <a:pt x="1344" y="695"/>
                    <a:pt x="1327" y="651"/>
                    <a:pt x="1327" y="634"/>
                  </a:cubicBezTo>
                  <a:cubicBezTo>
                    <a:pt x="1327" y="617"/>
                    <a:pt x="1336" y="617"/>
                    <a:pt x="1344" y="617"/>
                  </a:cubicBezTo>
                  <a:cubicBezTo>
                    <a:pt x="1336" y="609"/>
                    <a:pt x="1336" y="600"/>
                    <a:pt x="1353" y="592"/>
                  </a:cubicBezTo>
                  <a:cubicBezTo>
                    <a:pt x="1379" y="583"/>
                    <a:pt x="1396" y="574"/>
                    <a:pt x="1404" y="557"/>
                  </a:cubicBezTo>
                  <a:cubicBezTo>
                    <a:pt x="1404" y="532"/>
                    <a:pt x="1396" y="514"/>
                    <a:pt x="1404" y="480"/>
                  </a:cubicBezTo>
                  <a:cubicBezTo>
                    <a:pt x="1422" y="446"/>
                    <a:pt x="1413" y="455"/>
                    <a:pt x="1430" y="455"/>
                  </a:cubicBezTo>
                  <a:cubicBezTo>
                    <a:pt x="1447" y="455"/>
                    <a:pt x="1439" y="403"/>
                    <a:pt x="1439" y="394"/>
                  </a:cubicBezTo>
                  <a:cubicBezTo>
                    <a:pt x="1430" y="386"/>
                    <a:pt x="1413" y="386"/>
                    <a:pt x="1387" y="377"/>
                  </a:cubicBezTo>
                  <a:cubicBezTo>
                    <a:pt x="1370" y="377"/>
                    <a:pt x="1387" y="360"/>
                    <a:pt x="1413" y="352"/>
                  </a:cubicBezTo>
                  <a:cubicBezTo>
                    <a:pt x="1430" y="343"/>
                    <a:pt x="1430" y="360"/>
                    <a:pt x="1447" y="369"/>
                  </a:cubicBezTo>
                  <a:cubicBezTo>
                    <a:pt x="1456" y="386"/>
                    <a:pt x="1464" y="369"/>
                    <a:pt x="1481" y="369"/>
                  </a:cubicBezTo>
                  <a:cubicBezTo>
                    <a:pt x="1499" y="360"/>
                    <a:pt x="1499" y="343"/>
                    <a:pt x="1507" y="317"/>
                  </a:cubicBezTo>
                  <a:cubicBezTo>
                    <a:pt x="1507" y="292"/>
                    <a:pt x="1507" y="274"/>
                    <a:pt x="1507" y="257"/>
                  </a:cubicBezTo>
                  <a:cubicBezTo>
                    <a:pt x="1499" y="249"/>
                    <a:pt x="1499" y="231"/>
                    <a:pt x="1499" y="231"/>
                  </a:cubicBezTo>
                  <a:cubicBezTo>
                    <a:pt x="1481" y="206"/>
                    <a:pt x="1456" y="189"/>
                    <a:pt x="1447" y="163"/>
                  </a:cubicBezTo>
                  <a:cubicBezTo>
                    <a:pt x="1430" y="146"/>
                    <a:pt x="1456" y="94"/>
                    <a:pt x="1464" y="86"/>
                  </a:cubicBezTo>
                  <a:cubicBezTo>
                    <a:pt x="1464" y="86"/>
                    <a:pt x="1464" y="86"/>
                    <a:pt x="1464" y="77"/>
                  </a:cubicBezTo>
                  <a:cubicBezTo>
                    <a:pt x="1422" y="60"/>
                    <a:pt x="1404" y="52"/>
                    <a:pt x="1379" y="52"/>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68" name="Freeform 69"/>
            <p:cNvSpPr>
              <a:spLocks noChangeArrowheads="1"/>
            </p:cNvSpPr>
            <p:nvPr/>
          </p:nvSpPr>
          <p:spPr bwMode="auto">
            <a:xfrm>
              <a:off x="2874963" y="3186113"/>
              <a:ext cx="473075" cy="261937"/>
            </a:xfrm>
            <a:custGeom>
              <a:avLst/>
              <a:gdLst>
                <a:gd name="T0" fmla="*/ 2147483647 w 1312"/>
                <a:gd name="T1" fmla="*/ 2147483647 h 729"/>
                <a:gd name="T2" fmla="*/ 2147483647 w 1312"/>
                <a:gd name="T3" fmla="*/ 2147483647 h 729"/>
                <a:gd name="T4" fmla="*/ 2147483647 w 1312"/>
                <a:gd name="T5" fmla="*/ 2147483647 h 729"/>
                <a:gd name="T6" fmla="*/ 2147483647 w 1312"/>
                <a:gd name="T7" fmla="*/ 2147483647 h 729"/>
                <a:gd name="T8" fmla="*/ 2147483647 w 1312"/>
                <a:gd name="T9" fmla="*/ 2147483647 h 729"/>
                <a:gd name="T10" fmla="*/ 2147483647 w 1312"/>
                <a:gd name="T11" fmla="*/ 2147483647 h 729"/>
                <a:gd name="T12" fmla="*/ 2147483647 w 1312"/>
                <a:gd name="T13" fmla="*/ 2147483647 h 729"/>
                <a:gd name="T14" fmla="*/ 2147483647 w 1312"/>
                <a:gd name="T15" fmla="*/ 2147483647 h 729"/>
                <a:gd name="T16" fmla="*/ 2147483647 w 1312"/>
                <a:gd name="T17" fmla="*/ 2147483647 h 729"/>
                <a:gd name="T18" fmla="*/ 2147483647 w 1312"/>
                <a:gd name="T19" fmla="*/ 2147483647 h 729"/>
                <a:gd name="T20" fmla="*/ 2147483647 w 1312"/>
                <a:gd name="T21" fmla="*/ 2147483647 h 729"/>
                <a:gd name="T22" fmla="*/ 2147483647 w 1312"/>
                <a:gd name="T23" fmla="*/ 2147483647 h 729"/>
                <a:gd name="T24" fmla="*/ 2147483647 w 1312"/>
                <a:gd name="T25" fmla="*/ 2147483647 h 729"/>
                <a:gd name="T26" fmla="*/ 2147483647 w 1312"/>
                <a:gd name="T27" fmla="*/ 2147483647 h 729"/>
                <a:gd name="T28" fmla="*/ 2147483647 w 1312"/>
                <a:gd name="T29" fmla="*/ 2147483647 h 729"/>
                <a:gd name="T30" fmla="*/ 2147483647 w 1312"/>
                <a:gd name="T31" fmla="*/ 2147483647 h 729"/>
                <a:gd name="T32" fmla="*/ 2147483647 w 1312"/>
                <a:gd name="T33" fmla="*/ 2147483647 h 729"/>
                <a:gd name="T34" fmla="*/ 2147483647 w 1312"/>
                <a:gd name="T35" fmla="*/ 2147483647 h 729"/>
                <a:gd name="T36" fmla="*/ 2147483647 w 1312"/>
                <a:gd name="T37" fmla="*/ 2147483647 h 729"/>
                <a:gd name="T38" fmla="*/ 2147483647 w 1312"/>
                <a:gd name="T39" fmla="*/ 2147483647 h 729"/>
                <a:gd name="T40" fmla="*/ 2147483647 w 1312"/>
                <a:gd name="T41" fmla="*/ 2147483647 h 729"/>
                <a:gd name="T42" fmla="*/ 2147483647 w 1312"/>
                <a:gd name="T43" fmla="*/ 2147483647 h 729"/>
                <a:gd name="T44" fmla="*/ 2147483647 w 1312"/>
                <a:gd name="T45" fmla="*/ 2147483647 h 729"/>
                <a:gd name="T46" fmla="*/ 2147483647 w 1312"/>
                <a:gd name="T47" fmla="*/ 2147483647 h 729"/>
                <a:gd name="T48" fmla="*/ 2147483647 w 1312"/>
                <a:gd name="T49" fmla="*/ 2147483647 h 729"/>
                <a:gd name="T50" fmla="*/ 2147483647 w 1312"/>
                <a:gd name="T51" fmla="*/ 2147483647 h 729"/>
                <a:gd name="T52" fmla="*/ 2147483647 w 1312"/>
                <a:gd name="T53" fmla="*/ 2147483647 h 729"/>
                <a:gd name="T54" fmla="*/ 2147483647 w 1312"/>
                <a:gd name="T55" fmla="*/ 2147483647 h 729"/>
                <a:gd name="T56" fmla="*/ 2147483647 w 1312"/>
                <a:gd name="T57" fmla="*/ 2147483647 h 729"/>
                <a:gd name="T58" fmla="*/ 2147483647 w 1312"/>
                <a:gd name="T59" fmla="*/ 2147483647 h 729"/>
                <a:gd name="T60" fmla="*/ 2147483647 w 1312"/>
                <a:gd name="T61" fmla="*/ 2147483647 h 729"/>
                <a:gd name="T62" fmla="*/ 2147483647 w 1312"/>
                <a:gd name="T63" fmla="*/ 2147483647 h 729"/>
                <a:gd name="T64" fmla="*/ 2147483647 w 1312"/>
                <a:gd name="T65" fmla="*/ 2147483647 h 729"/>
                <a:gd name="T66" fmla="*/ 2147483647 w 1312"/>
                <a:gd name="T67" fmla="*/ 2147483647 h 729"/>
                <a:gd name="T68" fmla="*/ 2147483647 w 1312"/>
                <a:gd name="T69" fmla="*/ 2147483647 h 729"/>
                <a:gd name="T70" fmla="*/ 2147483647 w 1312"/>
                <a:gd name="T71" fmla="*/ 2147483647 h 729"/>
                <a:gd name="T72" fmla="*/ 2147483647 w 1312"/>
                <a:gd name="T73" fmla="*/ 2147483647 h 729"/>
                <a:gd name="T74" fmla="*/ 2147483647 w 1312"/>
                <a:gd name="T75" fmla="*/ 2147483647 h 729"/>
                <a:gd name="T76" fmla="*/ 2147483647 w 1312"/>
                <a:gd name="T77" fmla="*/ 2147483647 h 729"/>
                <a:gd name="T78" fmla="*/ 2147483647 w 1312"/>
                <a:gd name="T79" fmla="*/ 2147483647 h 729"/>
                <a:gd name="T80" fmla="*/ 2147483647 w 1312"/>
                <a:gd name="T81" fmla="*/ 2147483647 h 729"/>
                <a:gd name="T82" fmla="*/ 2147483647 w 1312"/>
                <a:gd name="T83" fmla="*/ 2147483647 h 729"/>
                <a:gd name="T84" fmla="*/ 2147483647 w 1312"/>
                <a:gd name="T85" fmla="*/ 2147483647 h 729"/>
                <a:gd name="T86" fmla="*/ 2147483647 w 1312"/>
                <a:gd name="T87" fmla="*/ 2147483647 h 729"/>
                <a:gd name="T88" fmla="*/ 2147483647 w 1312"/>
                <a:gd name="T89" fmla="*/ 2147483647 h 729"/>
                <a:gd name="T90" fmla="*/ 2147483647 w 1312"/>
                <a:gd name="T91" fmla="*/ 2147483647 h 729"/>
                <a:gd name="T92" fmla="*/ 2147483647 w 1312"/>
                <a:gd name="T93" fmla="*/ 2147483647 h 729"/>
                <a:gd name="T94" fmla="*/ 2147483647 w 1312"/>
                <a:gd name="T95" fmla="*/ 2147483647 h 729"/>
                <a:gd name="T96" fmla="*/ 2147483647 w 1312"/>
                <a:gd name="T97" fmla="*/ 2147483647 h 729"/>
                <a:gd name="T98" fmla="*/ 2147483647 w 1312"/>
                <a:gd name="T99" fmla="*/ 2147483647 h 729"/>
                <a:gd name="T100" fmla="*/ 2147483647 w 1312"/>
                <a:gd name="T101" fmla="*/ 2147483647 h 729"/>
                <a:gd name="T102" fmla="*/ 2147483647 w 1312"/>
                <a:gd name="T103" fmla="*/ 2147483647 h 729"/>
                <a:gd name="T104" fmla="*/ 2147483647 w 1312"/>
                <a:gd name="T105" fmla="*/ 2147483647 h 729"/>
                <a:gd name="T106" fmla="*/ 2147483647 w 1312"/>
                <a:gd name="T107" fmla="*/ 2147483647 h 729"/>
                <a:gd name="T108" fmla="*/ 2147483647 w 1312"/>
                <a:gd name="T109" fmla="*/ 2147483647 h 729"/>
                <a:gd name="T110" fmla="*/ 2147483647 w 1312"/>
                <a:gd name="T111" fmla="*/ 2147483647 h 729"/>
                <a:gd name="T112" fmla="*/ 2147483647 w 1312"/>
                <a:gd name="T113" fmla="*/ 2147483647 h 729"/>
                <a:gd name="T114" fmla="*/ 2147483647 w 1312"/>
                <a:gd name="T115" fmla="*/ 2147483647 h 72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12"/>
                <a:gd name="T175" fmla="*/ 0 h 729"/>
                <a:gd name="T176" fmla="*/ 1312 w 1312"/>
                <a:gd name="T177" fmla="*/ 729 h 72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12" h="729">
                  <a:moveTo>
                    <a:pt x="1303" y="334"/>
                  </a:moveTo>
                  <a:lnTo>
                    <a:pt x="1303" y="334"/>
                  </a:lnTo>
                  <a:cubicBezTo>
                    <a:pt x="1277" y="334"/>
                    <a:pt x="1277" y="317"/>
                    <a:pt x="1268" y="300"/>
                  </a:cubicBezTo>
                  <a:cubicBezTo>
                    <a:pt x="1268" y="283"/>
                    <a:pt x="1191" y="249"/>
                    <a:pt x="1165" y="240"/>
                  </a:cubicBezTo>
                  <a:cubicBezTo>
                    <a:pt x="1140" y="232"/>
                    <a:pt x="1131" y="240"/>
                    <a:pt x="1114" y="249"/>
                  </a:cubicBezTo>
                  <a:cubicBezTo>
                    <a:pt x="1097" y="257"/>
                    <a:pt x="1097" y="232"/>
                    <a:pt x="1088" y="232"/>
                  </a:cubicBezTo>
                  <a:cubicBezTo>
                    <a:pt x="1071" y="232"/>
                    <a:pt x="1080" y="215"/>
                    <a:pt x="1088" y="197"/>
                  </a:cubicBezTo>
                  <a:cubicBezTo>
                    <a:pt x="1097" y="180"/>
                    <a:pt x="1080" y="180"/>
                    <a:pt x="1071" y="189"/>
                  </a:cubicBezTo>
                  <a:cubicBezTo>
                    <a:pt x="1054" y="197"/>
                    <a:pt x="1002" y="172"/>
                    <a:pt x="968" y="163"/>
                  </a:cubicBezTo>
                  <a:cubicBezTo>
                    <a:pt x="934" y="146"/>
                    <a:pt x="934" y="146"/>
                    <a:pt x="925" y="155"/>
                  </a:cubicBezTo>
                  <a:cubicBezTo>
                    <a:pt x="908" y="163"/>
                    <a:pt x="934" y="172"/>
                    <a:pt x="943" y="189"/>
                  </a:cubicBezTo>
                  <a:cubicBezTo>
                    <a:pt x="960" y="206"/>
                    <a:pt x="900" y="240"/>
                    <a:pt x="883" y="249"/>
                  </a:cubicBezTo>
                  <a:cubicBezTo>
                    <a:pt x="865" y="257"/>
                    <a:pt x="865" y="232"/>
                    <a:pt x="857" y="232"/>
                  </a:cubicBezTo>
                  <a:cubicBezTo>
                    <a:pt x="848" y="223"/>
                    <a:pt x="814" y="180"/>
                    <a:pt x="788" y="163"/>
                  </a:cubicBezTo>
                  <a:cubicBezTo>
                    <a:pt x="762" y="146"/>
                    <a:pt x="814" y="146"/>
                    <a:pt x="831" y="129"/>
                  </a:cubicBezTo>
                  <a:cubicBezTo>
                    <a:pt x="848" y="103"/>
                    <a:pt x="780" y="103"/>
                    <a:pt x="762" y="103"/>
                  </a:cubicBezTo>
                  <a:cubicBezTo>
                    <a:pt x="745" y="103"/>
                    <a:pt x="728" y="103"/>
                    <a:pt x="694" y="86"/>
                  </a:cubicBezTo>
                  <a:cubicBezTo>
                    <a:pt x="660" y="69"/>
                    <a:pt x="617" y="52"/>
                    <a:pt x="608" y="34"/>
                  </a:cubicBezTo>
                  <a:cubicBezTo>
                    <a:pt x="600" y="17"/>
                    <a:pt x="574" y="9"/>
                    <a:pt x="557" y="9"/>
                  </a:cubicBezTo>
                  <a:cubicBezTo>
                    <a:pt x="548" y="9"/>
                    <a:pt x="548" y="9"/>
                    <a:pt x="548" y="9"/>
                  </a:cubicBezTo>
                  <a:cubicBezTo>
                    <a:pt x="522" y="34"/>
                    <a:pt x="514" y="60"/>
                    <a:pt x="505" y="69"/>
                  </a:cubicBezTo>
                  <a:cubicBezTo>
                    <a:pt x="497" y="77"/>
                    <a:pt x="463" y="26"/>
                    <a:pt x="445" y="9"/>
                  </a:cubicBezTo>
                  <a:cubicBezTo>
                    <a:pt x="428" y="0"/>
                    <a:pt x="420" y="17"/>
                    <a:pt x="428" y="43"/>
                  </a:cubicBezTo>
                  <a:cubicBezTo>
                    <a:pt x="437" y="60"/>
                    <a:pt x="368" y="77"/>
                    <a:pt x="317" y="103"/>
                  </a:cubicBezTo>
                  <a:cubicBezTo>
                    <a:pt x="265" y="120"/>
                    <a:pt x="214" y="172"/>
                    <a:pt x="188" y="197"/>
                  </a:cubicBezTo>
                  <a:cubicBezTo>
                    <a:pt x="163" y="223"/>
                    <a:pt x="163" y="197"/>
                    <a:pt x="111" y="206"/>
                  </a:cubicBezTo>
                  <a:cubicBezTo>
                    <a:pt x="68" y="223"/>
                    <a:pt x="68" y="249"/>
                    <a:pt x="60" y="274"/>
                  </a:cubicBezTo>
                  <a:cubicBezTo>
                    <a:pt x="51" y="300"/>
                    <a:pt x="42" y="240"/>
                    <a:pt x="25" y="240"/>
                  </a:cubicBezTo>
                  <a:cubicBezTo>
                    <a:pt x="0" y="232"/>
                    <a:pt x="25" y="249"/>
                    <a:pt x="34" y="283"/>
                  </a:cubicBezTo>
                  <a:cubicBezTo>
                    <a:pt x="42" y="326"/>
                    <a:pt x="77" y="326"/>
                    <a:pt x="94" y="352"/>
                  </a:cubicBezTo>
                  <a:cubicBezTo>
                    <a:pt x="111" y="377"/>
                    <a:pt x="77" y="395"/>
                    <a:pt x="94" y="412"/>
                  </a:cubicBezTo>
                  <a:cubicBezTo>
                    <a:pt x="103" y="429"/>
                    <a:pt x="128" y="496"/>
                    <a:pt x="145" y="513"/>
                  </a:cubicBezTo>
                  <a:cubicBezTo>
                    <a:pt x="163" y="531"/>
                    <a:pt x="180" y="505"/>
                    <a:pt x="214" y="548"/>
                  </a:cubicBezTo>
                  <a:cubicBezTo>
                    <a:pt x="248" y="591"/>
                    <a:pt x="265" y="608"/>
                    <a:pt x="300" y="625"/>
                  </a:cubicBezTo>
                  <a:cubicBezTo>
                    <a:pt x="334" y="642"/>
                    <a:pt x="351" y="659"/>
                    <a:pt x="368" y="676"/>
                  </a:cubicBezTo>
                  <a:cubicBezTo>
                    <a:pt x="368" y="676"/>
                    <a:pt x="377" y="685"/>
                    <a:pt x="385" y="694"/>
                  </a:cubicBezTo>
                  <a:cubicBezTo>
                    <a:pt x="411" y="702"/>
                    <a:pt x="411" y="711"/>
                    <a:pt x="411" y="711"/>
                  </a:cubicBezTo>
                  <a:cubicBezTo>
                    <a:pt x="411" y="711"/>
                    <a:pt x="445" y="728"/>
                    <a:pt x="463" y="728"/>
                  </a:cubicBezTo>
                  <a:cubicBezTo>
                    <a:pt x="488" y="728"/>
                    <a:pt x="505" y="719"/>
                    <a:pt x="540" y="719"/>
                  </a:cubicBezTo>
                  <a:cubicBezTo>
                    <a:pt x="583" y="719"/>
                    <a:pt x="540" y="719"/>
                    <a:pt x="540" y="694"/>
                  </a:cubicBezTo>
                  <a:cubicBezTo>
                    <a:pt x="540" y="659"/>
                    <a:pt x="557" y="668"/>
                    <a:pt x="574" y="659"/>
                  </a:cubicBezTo>
                  <a:cubicBezTo>
                    <a:pt x="591" y="651"/>
                    <a:pt x="583" y="616"/>
                    <a:pt x="583" y="599"/>
                  </a:cubicBezTo>
                  <a:cubicBezTo>
                    <a:pt x="583" y="582"/>
                    <a:pt x="608" y="599"/>
                    <a:pt x="651" y="599"/>
                  </a:cubicBezTo>
                  <a:cubicBezTo>
                    <a:pt x="685" y="599"/>
                    <a:pt x="685" y="616"/>
                    <a:pt x="737" y="625"/>
                  </a:cubicBezTo>
                  <a:cubicBezTo>
                    <a:pt x="788" y="634"/>
                    <a:pt x="762" y="634"/>
                    <a:pt x="780" y="651"/>
                  </a:cubicBezTo>
                  <a:cubicBezTo>
                    <a:pt x="797" y="668"/>
                    <a:pt x="806" y="642"/>
                    <a:pt x="840" y="642"/>
                  </a:cubicBezTo>
                  <a:cubicBezTo>
                    <a:pt x="883" y="642"/>
                    <a:pt x="874" y="642"/>
                    <a:pt x="900" y="634"/>
                  </a:cubicBezTo>
                  <a:cubicBezTo>
                    <a:pt x="925" y="634"/>
                    <a:pt x="943" y="642"/>
                    <a:pt x="985" y="659"/>
                  </a:cubicBezTo>
                  <a:cubicBezTo>
                    <a:pt x="994" y="651"/>
                    <a:pt x="1002" y="625"/>
                    <a:pt x="1020" y="599"/>
                  </a:cubicBezTo>
                  <a:cubicBezTo>
                    <a:pt x="1037" y="573"/>
                    <a:pt x="1046" y="599"/>
                    <a:pt x="1088" y="599"/>
                  </a:cubicBezTo>
                  <a:cubicBezTo>
                    <a:pt x="1123" y="599"/>
                    <a:pt x="1114" y="591"/>
                    <a:pt x="1148" y="582"/>
                  </a:cubicBezTo>
                  <a:cubicBezTo>
                    <a:pt x="1174" y="582"/>
                    <a:pt x="1174" y="539"/>
                    <a:pt x="1191" y="513"/>
                  </a:cubicBezTo>
                  <a:cubicBezTo>
                    <a:pt x="1208" y="496"/>
                    <a:pt x="1191" y="471"/>
                    <a:pt x="1200" y="455"/>
                  </a:cubicBezTo>
                  <a:cubicBezTo>
                    <a:pt x="1208" y="446"/>
                    <a:pt x="1225" y="437"/>
                    <a:pt x="1242" y="420"/>
                  </a:cubicBezTo>
                  <a:cubicBezTo>
                    <a:pt x="1260" y="403"/>
                    <a:pt x="1311" y="377"/>
                    <a:pt x="1311" y="377"/>
                  </a:cubicBezTo>
                  <a:cubicBezTo>
                    <a:pt x="1311" y="377"/>
                    <a:pt x="1311" y="369"/>
                    <a:pt x="1311" y="360"/>
                  </a:cubicBezTo>
                  <a:cubicBezTo>
                    <a:pt x="1311" y="352"/>
                    <a:pt x="1311" y="343"/>
                    <a:pt x="1303" y="33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69" name="Freeform 70"/>
            <p:cNvSpPr>
              <a:spLocks noChangeArrowheads="1"/>
            </p:cNvSpPr>
            <p:nvPr/>
          </p:nvSpPr>
          <p:spPr bwMode="auto">
            <a:xfrm>
              <a:off x="3216275" y="3303588"/>
              <a:ext cx="392113" cy="215900"/>
            </a:xfrm>
            <a:custGeom>
              <a:avLst/>
              <a:gdLst>
                <a:gd name="T0" fmla="*/ 2147483647 w 1090"/>
                <a:gd name="T1" fmla="*/ 2147483647 h 600"/>
                <a:gd name="T2" fmla="*/ 2147483647 w 1090"/>
                <a:gd name="T3" fmla="*/ 2147483647 h 600"/>
                <a:gd name="T4" fmla="*/ 2147483647 w 1090"/>
                <a:gd name="T5" fmla="*/ 2147483647 h 600"/>
                <a:gd name="T6" fmla="*/ 2147483647 w 1090"/>
                <a:gd name="T7" fmla="*/ 2147483647 h 600"/>
                <a:gd name="T8" fmla="*/ 2147483647 w 1090"/>
                <a:gd name="T9" fmla="*/ 2147483647 h 600"/>
                <a:gd name="T10" fmla="*/ 2147483647 w 1090"/>
                <a:gd name="T11" fmla="*/ 2147483647 h 600"/>
                <a:gd name="T12" fmla="*/ 2147483647 w 1090"/>
                <a:gd name="T13" fmla="*/ 2147483647 h 600"/>
                <a:gd name="T14" fmla="*/ 2147483647 w 1090"/>
                <a:gd name="T15" fmla="*/ 2147483647 h 600"/>
                <a:gd name="T16" fmla="*/ 2147483647 w 1090"/>
                <a:gd name="T17" fmla="*/ 2147483647 h 600"/>
                <a:gd name="T18" fmla="*/ 2147483647 w 1090"/>
                <a:gd name="T19" fmla="*/ 2147483647 h 600"/>
                <a:gd name="T20" fmla="*/ 2147483647 w 1090"/>
                <a:gd name="T21" fmla="*/ 2147483647 h 600"/>
                <a:gd name="T22" fmla="*/ 2147483647 w 1090"/>
                <a:gd name="T23" fmla="*/ 2147483647 h 600"/>
                <a:gd name="T24" fmla="*/ 2147483647 w 1090"/>
                <a:gd name="T25" fmla="*/ 2147483647 h 600"/>
                <a:gd name="T26" fmla="*/ 2147483647 w 1090"/>
                <a:gd name="T27" fmla="*/ 2147483647 h 600"/>
                <a:gd name="T28" fmla="*/ 2147483647 w 1090"/>
                <a:gd name="T29" fmla="*/ 2147483647 h 600"/>
                <a:gd name="T30" fmla="*/ 2147483647 w 1090"/>
                <a:gd name="T31" fmla="*/ 2147483647 h 600"/>
                <a:gd name="T32" fmla="*/ 2147483647 w 1090"/>
                <a:gd name="T33" fmla="*/ 2147483647 h 600"/>
                <a:gd name="T34" fmla="*/ 2147483647 w 1090"/>
                <a:gd name="T35" fmla="*/ 2147483647 h 600"/>
                <a:gd name="T36" fmla="*/ 2147483647 w 1090"/>
                <a:gd name="T37" fmla="*/ 2147483647 h 600"/>
                <a:gd name="T38" fmla="*/ 2147483647 w 1090"/>
                <a:gd name="T39" fmla="*/ 2147483647 h 600"/>
                <a:gd name="T40" fmla="*/ 2147483647 w 1090"/>
                <a:gd name="T41" fmla="*/ 2147483647 h 600"/>
                <a:gd name="T42" fmla="*/ 2147483647 w 1090"/>
                <a:gd name="T43" fmla="*/ 2147483647 h 600"/>
                <a:gd name="T44" fmla="*/ 2147483647 w 1090"/>
                <a:gd name="T45" fmla="*/ 2147483647 h 600"/>
                <a:gd name="T46" fmla="*/ 2147483647 w 1090"/>
                <a:gd name="T47" fmla="*/ 2147483647 h 600"/>
                <a:gd name="T48" fmla="*/ 2147483647 w 1090"/>
                <a:gd name="T49" fmla="*/ 2147483647 h 600"/>
                <a:gd name="T50" fmla="*/ 2147483647 w 1090"/>
                <a:gd name="T51" fmla="*/ 2147483647 h 600"/>
                <a:gd name="T52" fmla="*/ 2147483647 w 1090"/>
                <a:gd name="T53" fmla="*/ 2147483647 h 600"/>
                <a:gd name="T54" fmla="*/ 2147483647 w 1090"/>
                <a:gd name="T55" fmla="*/ 2147483647 h 600"/>
                <a:gd name="T56" fmla="*/ 2147483647 w 1090"/>
                <a:gd name="T57" fmla="*/ 2147483647 h 600"/>
                <a:gd name="T58" fmla="*/ 2147483647 w 1090"/>
                <a:gd name="T59" fmla="*/ 2147483647 h 600"/>
                <a:gd name="T60" fmla="*/ 2147483647 w 1090"/>
                <a:gd name="T61" fmla="*/ 2147483647 h 600"/>
                <a:gd name="T62" fmla="*/ 2147483647 w 1090"/>
                <a:gd name="T63" fmla="*/ 2147483647 h 600"/>
                <a:gd name="T64" fmla="*/ 2147483647 w 1090"/>
                <a:gd name="T65" fmla="*/ 2147483647 h 600"/>
                <a:gd name="T66" fmla="*/ 2147483647 w 1090"/>
                <a:gd name="T67" fmla="*/ 2147483647 h 600"/>
                <a:gd name="T68" fmla="*/ 2147483647 w 1090"/>
                <a:gd name="T69" fmla="*/ 2147483647 h 600"/>
                <a:gd name="T70" fmla="*/ 2147483647 w 1090"/>
                <a:gd name="T71" fmla="*/ 2147483647 h 600"/>
                <a:gd name="T72" fmla="*/ 2147483647 w 1090"/>
                <a:gd name="T73" fmla="*/ 2147483647 h 600"/>
                <a:gd name="T74" fmla="*/ 2147483647 w 1090"/>
                <a:gd name="T75" fmla="*/ 2147483647 h 600"/>
                <a:gd name="T76" fmla="*/ 2147483647 w 1090"/>
                <a:gd name="T77" fmla="*/ 2147483647 h 600"/>
                <a:gd name="T78" fmla="*/ 2147483647 w 1090"/>
                <a:gd name="T79" fmla="*/ 2147483647 h 600"/>
                <a:gd name="T80" fmla="*/ 2147483647 w 1090"/>
                <a:gd name="T81" fmla="*/ 2147483647 h 600"/>
                <a:gd name="T82" fmla="*/ 2147483647 w 1090"/>
                <a:gd name="T83" fmla="*/ 2147483647 h 600"/>
                <a:gd name="T84" fmla="*/ 2147483647 w 1090"/>
                <a:gd name="T85" fmla="*/ 2147483647 h 600"/>
                <a:gd name="T86" fmla="*/ 2147483647 w 1090"/>
                <a:gd name="T87" fmla="*/ 2147483647 h 6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90"/>
                <a:gd name="T133" fmla="*/ 0 h 600"/>
                <a:gd name="T134" fmla="*/ 1090 w 1090"/>
                <a:gd name="T135" fmla="*/ 600 h 6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90" h="600">
                  <a:moveTo>
                    <a:pt x="291" y="94"/>
                  </a:moveTo>
                  <a:lnTo>
                    <a:pt x="291" y="94"/>
                  </a:lnTo>
                  <a:cubicBezTo>
                    <a:pt x="274" y="111"/>
                    <a:pt x="257" y="120"/>
                    <a:pt x="249" y="129"/>
                  </a:cubicBezTo>
                  <a:cubicBezTo>
                    <a:pt x="240" y="145"/>
                    <a:pt x="257" y="170"/>
                    <a:pt x="240" y="187"/>
                  </a:cubicBezTo>
                  <a:cubicBezTo>
                    <a:pt x="223" y="213"/>
                    <a:pt x="223" y="256"/>
                    <a:pt x="197" y="256"/>
                  </a:cubicBezTo>
                  <a:cubicBezTo>
                    <a:pt x="163" y="265"/>
                    <a:pt x="172" y="273"/>
                    <a:pt x="137" y="273"/>
                  </a:cubicBezTo>
                  <a:cubicBezTo>
                    <a:pt x="95" y="273"/>
                    <a:pt x="86" y="247"/>
                    <a:pt x="69" y="273"/>
                  </a:cubicBezTo>
                  <a:cubicBezTo>
                    <a:pt x="43" y="308"/>
                    <a:pt x="34" y="333"/>
                    <a:pt x="34" y="342"/>
                  </a:cubicBezTo>
                  <a:cubicBezTo>
                    <a:pt x="26" y="350"/>
                    <a:pt x="0" y="402"/>
                    <a:pt x="17" y="419"/>
                  </a:cubicBezTo>
                  <a:cubicBezTo>
                    <a:pt x="26" y="445"/>
                    <a:pt x="51" y="462"/>
                    <a:pt x="69" y="487"/>
                  </a:cubicBezTo>
                  <a:cubicBezTo>
                    <a:pt x="69" y="487"/>
                    <a:pt x="69" y="505"/>
                    <a:pt x="77" y="513"/>
                  </a:cubicBezTo>
                  <a:cubicBezTo>
                    <a:pt x="103" y="522"/>
                    <a:pt x="137" y="539"/>
                    <a:pt x="154" y="548"/>
                  </a:cubicBezTo>
                  <a:cubicBezTo>
                    <a:pt x="180" y="573"/>
                    <a:pt x="232" y="582"/>
                    <a:pt x="257" y="582"/>
                  </a:cubicBezTo>
                  <a:cubicBezTo>
                    <a:pt x="283" y="582"/>
                    <a:pt x="369" y="599"/>
                    <a:pt x="394" y="565"/>
                  </a:cubicBezTo>
                  <a:cubicBezTo>
                    <a:pt x="429" y="539"/>
                    <a:pt x="437" y="548"/>
                    <a:pt x="429" y="522"/>
                  </a:cubicBezTo>
                  <a:cubicBezTo>
                    <a:pt x="420" y="496"/>
                    <a:pt x="420" y="479"/>
                    <a:pt x="437" y="470"/>
                  </a:cubicBezTo>
                  <a:cubicBezTo>
                    <a:pt x="463" y="462"/>
                    <a:pt x="540" y="470"/>
                    <a:pt x="549" y="445"/>
                  </a:cubicBezTo>
                  <a:cubicBezTo>
                    <a:pt x="566" y="427"/>
                    <a:pt x="540" y="410"/>
                    <a:pt x="575" y="410"/>
                  </a:cubicBezTo>
                  <a:cubicBezTo>
                    <a:pt x="609" y="410"/>
                    <a:pt x="609" y="427"/>
                    <a:pt x="634" y="410"/>
                  </a:cubicBezTo>
                  <a:cubicBezTo>
                    <a:pt x="660" y="393"/>
                    <a:pt x="694" y="402"/>
                    <a:pt x="712" y="350"/>
                  </a:cubicBezTo>
                  <a:cubicBezTo>
                    <a:pt x="729" y="299"/>
                    <a:pt x="720" y="290"/>
                    <a:pt x="754" y="290"/>
                  </a:cubicBezTo>
                  <a:cubicBezTo>
                    <a:pt x="789" y="290"/>
                    <a:pt x="815" y="299"/>
                    <a:pt x="849" y="282"/>
                  </a:cubicBezTo>
                  <a:cubicBezTo>
                    <a:pt x="883" y="265"/>
                    <a:pt x="900" y="230"/>
                    <a:pt x="917" y="256"/>
                  </a:cubicBezTo>
                  <a:cubicBezTo>
                    <a:pt x="943" y="273"/>
                    <a:pt x="934" y="308"/>
                    <a:pt x="977" y="299"/>
                  </a:cubicBezTo>
                  <a:cubicBezTo>
                    <a:pt x="1011" y="290"/>
                    <a:pt x="1029" y="290"/>
                    <a:pt x="1055" y="290"/>
                  </a:cubicBezTo>
                  <a:cubicBezTo>
                    <a:pt x="1046" y="273"/>
                    <a:pt x="1046" y="256"/>
                    <a:pt x="1046" y="239"/>
                  </a:cubicBezTo>
                  <a:cubicBezTo>
                    <a:pt x="1046" y="213"/>
                    <a:pt x="1072" y="145"/>
                    <a:pt x="1072" y="137"/>
                  </a:cubicBezTo>
                  <a:cubicBezTo>
                    <a:pt x="1072" y="129"/>
                    <a:pt x="1080" y="94"/>
                    <a:pt x="1089" y="77"/>
                  </a:cubicBezTo>
                  <a:cubicBezTo>
                    <a:pt x="1063" y="69"/>
                    <a:pt x="1011" y="69"/>
                    <a:pt x="994" y="51"/>
                  </a:cubicBezTo>
                  <a:cubicBezTo>
                    <a:pt x="969" y="34"/>
                    <a:pt x="952" y="17"/>
                    <a:pt x="917" y="17"/>
                  </a:cubicBezTo>
                  <a:cubicBezTo>
                    <a:pt x="883" y="17"/>
                    <a:pt x="840" y="0"/>
                    <a:pt x="823" y="8"/>
                  </a:cubicBezTo>
                  <a:cubicBezTo>
                    <a:pt x="797" y="17"/>
                    <a:pt x="789" y="34"/>
                    <a:pt x="780" y="43"/>
                  </a:cubicBezTo>
                  <a:cubicBezTo>
                    <a:pt x="763" y="51"/>
                    <a:pt x="729" y="26"/>
                    <a:pt x="712" y="34"/>
                  </a:cubicBezTo>
                  <a:cubicBezTo>
                    <a:pt x="686" y="34"/>
                    <a:pt x="634" y="69"/>
                    <a:pt x="626" y="77"/>
                  </a:cubicBezTo>
                  <a:cubicBezTo>
                    <a:pt x="626" y="86"/>
                    <a:pt x="609" y="111"/>
                    <a:pt x="600" y="111"/>
                  </a:cubicBezTo>
                  <a:cubicBezTo>
                    <a:pt x="583" y="103"/>
                    <a:pt x="575" y="129"/>
                    <a:pt x="566" y="103"/>
                  </a:cubicBezTo>
                  <a:cubicBezTo>
                    <a:pt x="566" y="86"/>
                    <a:pt x="566" y="77"/>
                    <a:pt x="540" y="60"/>
                  </a:cubicBezTo>
                  <a:cubicBezTo>
                    <a:pt x="523" y="43"/>
                    <a:pt x="506" y="34"/>
                    <a:pt x="497" y="26"/>
                  </a:cubicBezTo>
                  <a:cubicBezTo>
                    <a:pt x="489" y="8"/>
                    <a:pt x="480" y="0"/>
                    <a:pt x="463" y="17"/>
                  </a:cubicBezTo>
                  <a:cubicBezTo>
                    <a:pt x="454" y="34"/>
                    <a:pt x="420" y="86"/>
                    <a:pt x="403" y="77"/>
                  </a:cubicBezTo>
                  <a:cubicBezTo>
                    <a:pt x="394" y="69"/>
                    <a:pt x="386" y="43"/>
                    <a:pt x="360" y="34"/>
                  </a:cubicBezTo>
                  <a:cubicBezTo>
                    <a:pt x="360" y="43"/>
                    <a:pt x="360" y="51"/>
                    <a:pt x="360" y="51"/>
                  </a:cubicBezTo>
                  <a:cubicBezTo>
                    <a:pt x="360" y="51"/>
                    <a:pt x="309" y="77"/>
                    <a:pt x="291" y="9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0" name="Freeform 71"/>
            <p:cNvSpPr>
              <a:spLocks noChangeArrowheads="1"/>
            </p:cNvSpPr>
            <p:nvPr/>
          </p:nvSpPr>
          <p:spPr bwMode="auto">
            <a:xfrm>
              <a:off x="2986088" y="3614738"/>
              <a:ext cx="231775" cy="179387"/>
            </a:xfrm>
            <a:custGeom>
              <a:avLst/>
              <a:gdLst>
                <a:gd name="T0" fmla="*/ 2147483647 w 644"/>
                <a:gd name="T1" fmla="*/ 2147483647 h 498"/>
                <a:gd name="T2" fmla="*/ 2147483647 w 644"/>
                <a:gd name="T3" fmla="*/ 2147483647 h 498"/>
                <a:gd name="T4" fmla="*/ 2147483647 w 644"/>
                <a:gd name="T5" fmla="*/ 2147483647 h 498"/>
                <a:gd name="T6" fmla="*/ 2147483647 w 644"/>
                <a:gd name="T7" fmla="*/ 2147483647 h 498"/>
                <a:gd name="T8" fmla="*/ 2147483647 w 644"/>
                <a:gd name="T9" fmla="*/ 2147483647 h 498"/>
                <a:gd name="T10" fmla="*/ 2147483647 w 644"/>
                <a:gd name="T11" fmla="*/ 2147483647 h 498"/>
                <a:gd name="T12" fmla="*/ 2147483647 w 644"/>
                <a:gd name="T13" fmla="*/ 2147483647 h 498"/>
                <a:gd name="T14" fmla="*/ 2147483647 w 644"/>
                <a:gd name="T15" fmla="*/ 2147483647 h 498"/>
                <a:gd name="T16" fmla="*/ 2147483647 w 644"/>
                <a:gd name="T17" fmla="*/ 2147483647 h 498"/>
                <a:gd name="T18" fmla="*/ 2147483647 w 644"/>
                <a:gd name="T19" fmla="*/ 2147483647 h 498"/>
                <a:gd name="T20" fmla="*/ 2147483647 w 644"/>
                <a:gd name="T21" fmla="*/ 2147483647 h 498"/>
                <a:gd name="T22" fmla="*/ 2147483647 w 644"/>
                <a:gd name="T23" fmla="*/ 2147483647 h 498"/>
                <a:gd name="T24" fmla="*/ 2147483647 w 644"/>
                <a:gd name="T25" fmla="*/ 2147483647 h 498"/>
                <a:gd name="T26" fmla="*/ 2147483647 w 644"/>
                <a:gd name="T27" fmla="*/ 2147483647 h 498"/>
                <a:gd name="T28" fmla="*/ 2147483647 w 644"/>
                <a:gd name="T29" fmla="*/ 2147483647 h 498"/>
                <a:gd name="T30" fmla="*/ 2147483647 w 644"/>
                <a:gd name="T31" fmla="*/ 2147483647 h 498"/>
                <a:gd name="T32" fmla="*/ 2147483647 w 644"/>
                <a:gd name="T33" fmla="*/ 2147483647 h 498"/>
                <a:gd name="T34" fmla="*/ 2147483647 w 644"/>
                <a:gd name="T35" fmla="*/ 2147483647 h 498"/>
                <a:gd name="T36" fmla="*/ 2147483647 w 644"/>
                <a:gd name="T37" fmla="*/ 2147483647 h 498"/>
                <a:gd name="T38" fmla="*/ 2147483647 w 644"/>
                <a:gd name="T39" fmla="*/ 2147483647 h 498"/>
                <a:gd name="T40" fmla="*/ 2147483647 w 644"/>
                <a:gd name="T41" fmla="*/ 2147483647 h 498"/>
                <a:gd name="T42" fmla="*/ 2147483647 w 644"/>
                <a:gd name="T43" fmla="*/ 2147483647 h 498"/>
                <a:gd name="T44" fmla="*/ 2147483647 w 644"/>
                <a:gd name="T45" fmla="*/ 2147483647 h 498"/>
                <a:gd name="T46" fmla="*/ 2147483647 w 644"/>
                <a:gd name="T47" fmla="*/ 2147483647 h 498"/>
                <a:gd name="T48" fmla="*/ 2147483647 w 644"/>
                <a:gd name="T49" fmla="*/ 2147483647 h 498"/>
                <a:gd name="T50" fmla="*/ 2147483647 w 644"/>
                <a:gd name="T51" fmla="*/ 2147483647 h 498"/>
                <a:gd name="T52" fmla="*/ 2147483647 w 644"/>
                <a:gd name="T53" fmla="*/ 2147483647 h 498"/>
                <a:gd name="T54" fmla="*/ 2147483647 w 644"/>
                <a:gd name="T55" fmla="*/ 2147483647 h 498"/>
                <a:gd name="T56" fmla="*/ 2147483647 w 644"/>
                <a:gd name="T57" fmla="*/ 2147483647 h 498"/>
                <a:gd name="T58" fmla="*/ 2147483647 w 644"/>
                <a:gd name="T59" fmla="*/ 2147483647 h 498"/>
                <a:gd name="T60" fmla="*/ 2147483647 w 644"/>
                <a:gd name="T61" fmla="*/ 2147483647 h 498"/>
                <a:gd name="T62" fmla="*/ 2147483647 w 644"/>
                <a:gd name="T63" fmla="*/ 2147483647 h 498"/>
                <a:gd name="T64" fmla="*/ 2147483647 w 644"/>
                <a:gd name="T65" fmla="*/ 2147483647 h 498"/>
                <a:gd name="T66" fmla="*/ 2147483647 w 644"/>
                <a:gd name="T67" fmla="*/ 2147483647 h 498"/>
                <a:gd name="T68" fmla="*/ 2147483647 w 644"/>
                <a:gd name="T69" fmla="*/ 2147483647 h 498"/>
                <a:gd name="T70" fmla="*/ 2147483647 w 644"/>
                <a:gd name="T71" fmla="*/ 2147483647 h 498"/>
                <a:gd name="T72" fmla="*/ 2147483647 w 644"/>
                <a:gd name="T73" fmla="*/ 2147483647 h 498"/>
                <a:gd name="T74" fmla="*/ 2147483647 w 644"/>
                <a:gd name="T75" fmla="*/ 2147483647 h 498"/>
                <a:gd name="T76" fmla="*/ 2147483647 w 644"/>
                <a:gd name="T77" fmla="*/ 2147483647 h 498"/>
                <a:gd name="T78" fmla="*/ 2147483647 w 644"/>
                <a:gd name="T79" fmla="*/ 2147483647 h 498"/>
                <a:gd name="T80" fmla="*/ 2147483647 w 644"/>
                <a:gd name="T81" fmla="*/ 2147483647 h 498"/>
                <a:gd name="T82" fmla="*/ 2147483647 w 644"/>
                <a:gd name="T83" fmla="*/ 2147483647 h 498"/>
                <a:gd name="T84" fmla="*/ 2147483647 w 644"/>
                <a:gd name="T85" fmla="*/ 2147483647 h 498"/>
                <a:gd name="T86" fmla="*/ 2147483647 w 644"/>
                <a:gd name="T87" fmla="*/ 2147483647 h 4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44"/>
                <a:gd name="T133" fmla="*/ 0 h 498"/>
                <a:gd name="T134" fmla="*/ 644 w 644"/>
                <a:gd name="T135" fmla="*/ 498 h 4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44" h="498">
                  <a:moveTo>
                    <a:pt x="146" y="463"/>
                  </a:moveTo>
                  <a:lnTo>
                    <a:pt x="146" y="463"/>
                  </a:lnTo>
                  <a:cubicBezTo>
                    <a:pt x="155" y="445"/>
                    <a:pt x="155" y="454"/>
                    <a:pt x="172" y="454"/>
                  </a:cubicBezTo>
                  <a:cubicBezTo>
                    <a:pt x="189" y="454"/>
                    <a:pt x="206" y="445"/>
                    <a:pt x="232" y="437"/>
                  </a:cubicBezTo>
                  <a:cubicBezTo>
                    <a:pt x="266" y="437"/>
                    <a:pt x="258" y="411"/>
                    <a:pt x="266" y="394"/>
                  </a:cubicBezTo>
                  <a:cubicBezTo>
                    <a:pt x="266" y="385"/>
                    <a:pt x="300" y="428"/>
                    <a:pt x="326" y="454"/>
                  </a:cubicBezTo>
                  <a:cubicBezTo>
                    <a:pt x="343" y="471"/>
                    <a:pt x="343" y="445"/>
                    <a:pt x="352" y="437"/>
                  </a:cubicBezTo>
                  <a:cubicBezTo>
                    <a:pt x="369" y="437"/>
                    <a:pt x="369" y="437"/>
                    <a:pt x="386" y="445"/>
                  </a:cubicBezTo>
                  <a:cubicBezTo>
                    <a:pt x="403" y="463"/>
                    <a:pt x="412" y="463"/>
                    <a:pt x="420" y="445"/>
                  </a:cubicBezTo>
                  <a:cubicBezTo>
                    <a:pt x="429" y="437"/>
                    <a:pt x="412" y="403"/>
                    <a:pt x="429" y="385"/>
                  </a:cubicBezTo>
                  <a:cubicBezTo>
                    <a:pt x="437" y="368"/>
                    <a:pt x="420" y="377"/>
                    <a:pt x="403" y="368"/>
                  </a:cubicBezTo>
                  <a:cubicBezTo>
                    <a:pt x="377" y="360"/>
                    <a:pt x="412" y="351"/>
                    <a:pt x="437" y="343"/>
                  </a:cubicBezTo>
                  <a:cubicBezTo>
                    <a:pt x="454" y="334"/>
                    <a:pt x="472" y="326"/>
                    <a:pt x="489" y="326"/>
                  </a:cubicBezTo>
                  <a:cubicBezTo>
                    <a:pt x="498" y="326"/>
                    <a:pt x="498" y="300"/>
                    <a:pt x="498" y="282"/>
                  </a:cubicBezTo>
                  <a:cubicBezTo>
                    <a:pt x="498" y="257"/>
                    <a:pt x="506" y="231"/>
                    <a:pt x="515" y="231"/>
                  </a:cubicBezTo>
                  <a:cubicBezTo>
                    <a:pt x="523" y="223"/>
                    <a:pt x="549" y="171"/>
                    <a:pt x="549" y="163"/>
                  </a:cubicBezTo>
                  <a:cubicBezTo>
                    <a:pt x="557" y="154"/>
                    <a:pt x="592" y="145"/>
                    <a:pt x="592" y="145"/>
                  </a:cubicBezTo>
                  <a:cubicBezTo>
                    <a:pt x="609" y="111"/>
                    <a:pt x="609" y="111"/>
                    <a:pt x="609" y="111"/>
                  </a:cubicBezTo>
                  <a:cubicBezTo>
                    <a:pt x="609" y="103"/>
                    <a:pt x="626" y="103"/>
                    <a:pt x="643" y="103"/>
                  </a:cubicBezTo>
                  <a:cubicBezTo>
                    <a:pt x="635" y="94"/>
                    <a:pt x="626" y="86"/>
                    <a:pt x="617" y="77"/>
                  </a:cubicBezTo>
                  <a:cubicBezTo>
                    <a:pt x="617" y="68"/>
                    <a:pt x="617" y="51"/>
                    <a:pt x="609" y="25"/>
                  </a:cubicBezTo>
                  <a:cubicBezTo>
                    <a:pt x="592" y="0"/>
                    <a:pt x="592" y="17"/>
                    <a:pt x="575" y="17"/>
                  </a:cubicBezTo>
                  <a:cubicBezTo>
                    <a:pt x="566" y="17"/>
                    <a:pt x="557" y="8"/>
                    <a:pt x="557" y="8"/>
                  </a:cubicBezTo>
                  <a:cubicBezTo>
                    <a:pt x="549" y="8"/>
                    <a:pt x="540" y="8"/>
                    <a:pt x="540" y="25"/>
                  </a:cubicBezTo>
                  <a:cubicBezTo>
                    <a:pt x="540" y="42"/>
                    <a:pt x="557" y="86"/>
                    <a:pt x="532" y="77"/>
                  </a:cubicBezTo>
                  <a:cubicBezTo>
                    <a:pt x="515" y="68"/>
                    <a:pt x="515" y="42"/>
                    <a:pt x="489" y="68"/>
                  </a:cubicBezTo>
                  <a:cubicBezTo>
                    <a:pt x="454" y="94"/>
                    <a:pt x="454" y="103"/>
                    <a:pt x="429" y="103"/>
                  </a:cubicBezTo>
                  <a:cubicBezTo>
                    <a:pt x="395" y="103"/>
                    <a:pt x="309" y="103"/>
                    <a:pt x="292" y="128"/>
                  </a:cubicBezTo>
                  <a:cubicBezTo>
                    <a:pt x="275" y="145"/>
                    <a:pt x="275" y="171"/>
                    <a:pt x="249" y="171"/>
                  </a:cubicBezTo>
                  <a:cubicBezTo>
                    <a:pt x="214" y="171"/>
                    <a:pt x="172" y="180"/>
                    <a:pt x="146" y="171"/>
                  </a:cubicBezTo>
                  <a:cubicBezTo>
                    <a:pt x="120" y="154"/>
                    <a:pt x="86" y="154"/>
                    <a:pt x="77" y="154"/>
                  </a:cubicBezTo>
                  <a:cubicBezTo>
                    <a:pt x="77" y="154"/>
                    <a:pt x="69" y="154"/>
                    <a:pt x="69" y="163"/>
                  </a:cubicBezTo>
                  <a:cubicBezTo>
                    <a:pt x="52" y="171"/>
                    <a:pt x="26" y="188"/>
                    <a:pt x="18" y="205"/>
                  </a:cubicBezTo>
                  <a:cubicBezTo>
                    <a:pt x="9" y="231"/>
                    <a:pt x="18" y="240"/>
                    <a:pt x="26" y="240"/>
                  </a:cubicBezTo>
                  <a:cubicBezTo>
                    <a:pt x="43" y="248"/>
                    <a:pt x="86" y="240"/>
                    <a:pt x="60" y="265"/>
                  </a:cubicBezTo>
                  <a:cubicBezTo>
                    <a:pt x="35" y="282"/>
                    <a:pt x="0" y="300"/>
                    <a:pt x="35" y="308"/>
                  </a:cubicBezTo>
                  <a:cubicBezTo>
                    <a:pt x="69" y="326"/>
                    <a:pt x="86" y="317"/>
                    <a:pt x="69" y="343"/>
                  </a:cubicBezTo>
                  <a:cubicBezTo>
                    <a:pt x="69" y="360"/>
                    <a:pt x="60" y="377"/>
                    <a:pt x="60" y="394"/>
                  </a:cubicBezTo>
                  <a:cubicBezTo>
                    <a:pt x="60" y="385"/>
                    <a:pt x="69" y="385"/>
                    <a:pt x="69" y="394"/>
                  </a:cubicBezTo>
                  <a:cubicBezTo>
                    <a:pt x="86" y="403"/>
                    <a:pt x="103" y="420"/>
                    <a:pt x="86" y="437"/>
                  </a:cubicBezTo>
                  <a:cubicBezTo>
                    <a:pt x="77" y="437"/>
                    <a:pt x="60" y="445"/>
                    <a:pt x="52" y="454"/>
                  </a:cubicBezTo>
                  <a:cubicBezTo>
                    <a:pt x="77" y="463"/>
                    <a:pt x="103" y="471"/>
                    <a:pt x="120" y="480"/>
                  </a:cubicBezTo>
                  <a:cubicBezTo>
                    <a:pt x="146" y="497"/>
                    <a:pt x="137" y="471"/>
                    <a:pt x="146" y="46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1" name="Freeform 72"/>
            <p:cNvSpPr>
              <a:spLocks noChangeArrowheads="1"/>
            </p:cNvSpPr>
            <p:nvPr/>
          </p:nvSpPr>
          <p:spPr bwMode="auto">
            <a:xfrm>
              <a:off x="3182938" y="3386138"/>
              <a:ext cx="476250" cy="339725"/>
            </a:xfrm>
            <a:custGeom>
              <a:avLst/>
              <a:gdLst>
                <a:gd name="T0" fmla="*/ 2147483647 w 1321"/>
                <a:gd name="T1" fmla="*/ 2147483647 h 944"/>
                <a:gd name="T2" fmla="*/ 2147483647 w 1321"/>
                <a:gd name="T3" fmla="*/ 2147483647 h 944"/>
                <a:gd name="T4" fmla="*/ 2147483647 w 1321"/>
                <a:gd name="T5" fmla="*/ 2147483647 h 944"/>
                <a:gd name="T6" fmla="*/ 2147483647 w 1321"/>
                <a:gd name="T7" fmla="*/ 2147483647 h 944"/>
                <a:gd name="T8" fmla="*/ 2147483647 w 1321"/>
                <a:gd name="T9" fmla="*/ 2147483647 h 944"/>
                <a:gd name="T10" fmla="*/ 2147483647 w 1321"/>
                <a:gd name="T11" fmla="*/ 2147483647 h 944"/>
                <a:gd name="T12" fmla="*/ 2147483647 w 1321"/>
                <a:gd name="T13" fmla="*/ 2147483647 h 944"/>
                <a:gd name="T14" fmla="*/ 2147483647 w 1321"/>
                <a:gd name="T15" fmla="*/ 2147483647 h 944"/>
                <a:gd name="T16" fmla="*/ 2147483647 w 1321"/>
                <a:gd name="T17" fmla="*/ 2147483647 h 944"/>
                <a:gd name="T18" fmla="*/ 2147483647 w 1321"/>
                <a:gd name="T19" fmla="*/ 2147483647 h 944"/>
                <a:gd name="T20" fmla="*/ 2147483647 w 1321"/>
                <a:gd name="T21" fmla="*/ 2147483647 h 944"/>
                <a:gd name="T22" fmla="*/ 2147483647 w 1321"/>
                <a:gd name="T23" fmla="*/ 2147483647 h 944"/>
                <a:gd name="T24" fmla="*/ 2147483647 w 1321"/>
                <a:gd name="T25" fmla="*/ 2147483647 h 944"/>
                <a:gd name="T26" fmla="*/ 2147483647 w 1321"/>
                <a:gd name="T27" fmla="*/ 2147483647 h 944"/>
                <a:gd name="T28" fmla="*/ 2147483647 w 1321"/>
                <a:gd name="T29" fmla="*/ 2147483647 h 944"/>
                <a:gd name="T30" fmla="*/ 2147483647 w 1321"/>
                <a:gd name="T31" fmla="*/ 2147483647 h 944"/>
                <a:gd name="T32" fmla="*/ 2147483647 w 1321"/>
                <a:gd name="T33" fmla="*/ 2147483647 h 944"/>
                <a:gd name="T34" fmla="*/ 2147483647 w 1321"/>
                <a:gd name="T35" fmla="*/ 2147483647 h 944"/>
                <a:gd name="T36" fmla="*/ 2147483647 w 1321"/>
                <a:gd name="T37" fmla="*/ 2147483647 h 944"/>
                <a:gd name="T38" fmla="*/ 2147483647 w 1321"/>
                <a:gd name="T39" fmla="*/ 2147483647 h 944"/>
                <a:gd name="T40" fmla="*/ 2147483647 w 1321"/>
                <a:gd name="T41" fmla="*/ 2147483647 h 944"/>
                <a:gd name="T42" fmla="*/ 2147483647 w 1321"/>
                <a:gd name="T43" fmla="*/ 2147483647 h 944"/>
                <a:gd name="T44" fmla="*/ 2147483647 w 1321"/>
                <a:gd name="T45" fmla="*/ 2147483647 h 944"/>
                <a:gd name="T46" fmla="*/ 2147483647 w 1321"/>
                <a:gd name="T47" fmla="*/ 2147483647 h 944"/>
                <a:gd name="T48" fmla="*/ 2147483647 w 1321"/>
                <a:gd name="T49" fmla="*/ 2147483647 h 944"/>
                <a:gd name="T50" fmla="*/ 2147483647 w 1321"/>
                <a:gd name="T51" fmla="*/ 2147483647 h 944"/>
                <a:gd name="T52" fmla="*/ 2147483647 w 1321"/>
                <a:gd name="T53" fmla="*/ 2147483647 h 944"/>
                <a:gd name="T54" fmla="*/ 2147483647 w 1321"/>
                <a:gd name="T55" fmla="*/ 2147483647 h 944"/>
                <a:gd name="T56" fmla="*/ 2147483647 w 1321"/>
                <a:gd name="T57" fmla="*/ 2147483647 h 944"/>
                <a:gd name="T58" fmla="*/ 2147483647 w 1321"/>
                <a:gd name="T59" fmla="*/ 2147483647 h 944"/>
                <a:gd name="T60" fmla="*/ 2147483647 w 1321"/>
                <a:gd name="T61" fmla="*/ 2147483647 h 944"/>
                <a:gd name="T62" fmla="*/ 2147483647 w 1321"/>
                <a:gd name="T63" fmla="*/ 2147483647 h 944"/>
                <a:gd name="T64" fmla="*/ 2147483647 w 1321"/>
                <a:gd name="T65" fmla="*/ 2147483647 h 944"/>
                <a:gd name="T66" fmla="*/ 2147483647 w 1321"/>
                <a:gd name="T67" fmla="*/ 2147483647 h 944"/>
                <a:gd name="T68" fmla="*/ 2147483647 w 1321"/>
                <a:gd name="T69" fmla="*/ 2147483647 h 944"/>
                <a:gd name="T70" fmla="*/ 2147483647 w 1321"/>
                <a:gd name="T71" fmla="*/ 2147483647 h 944"/>
                <a:gd name="T72" fmla="*/ 2147483647 w 1321"/>
                <a:gd name="T73" fmla="*/ 2147483647 h 944"/>
                <a:gd name="T74" fmla="*/ 2147483647 w 1321"/>
                <a:gd name="T75" fmla="*/ 2147483647 h 944"/>
                <a:gd name="T76" fmla="*/ 2147483647 w 1321"/>
                <a:gd name="T77" fmla="*/ 2147483647 h 944"/>
                <a:gd name="T78" fmla="*/ 2147483647 w 1321"/>
                <a:gd name="T79" fmla="*/ 2147483647 h 944"/>
                <a:gd name="T80" fmla="*/ 2147483647 w 1321"/>
                <a:gd name="T81" fmla="*/ 2147483647 h 944"/>
                <a:gd name="T82" fmla="*/ 2147483647 w 1321"/>
                <a:gd name="T83" fmla="*/ 2147483647 h 944"/>
                <a:gd name="T84" fmla="*/ 2147483647 w 1321"/>
                <a:gd name="T85" fmla="*/ 2147483647 h 944"/>
                <a:gd name="T86" fmla="*/ 2147483647 w 1321"/>
                <a:gd name="T87" fmla="*/ 2147483647 h 944"/>
                <a:gd name="T88" fmla="*/ 2147483647 w 1321"/>
                <a:gd name="T89" fmla="*/ 2147483647 h 944"/>
                <a:gd name="T90" fmla="*/ 2147483647 w 1321"/>
                <a:gd name="T91" fmla="*/ 2147483647 h 944"/>
                <a:gd name="T92" fmla="*/ 2147483647 w 1321"/>
                <a:gd name="T93" fmla="*/ 2147483647 h 944"/>
                <a:gd name="T94" fmla="*/ 2147483647 w 1321"/>
                <a:gd name="T95" fmla="*/ 2147483647 h 944"/>
                <a:gd name="T96" fmla="*/ 2147483647 w 1321"/>
                <a:gd name="T97" fmla="*/ 2147483647 h 944"/>
                <a:gd name="T98" fmla="*/ 2147483647 w 1321"/>
                <a:gd name="T99" fmla="*/ 2147483647 h 944"/>
                <a:gd name="T100" fmla="*/ 2147483647 w 1321"/>
                <a:gd name="T101" fmla="*/ 2147483647 h 944"/>
                <a:gd name="T102" fmla="*/ 2147483647 w 1321"/>
                <a:gd name="T103" fmla="*/ 2147483647 h 944"/>
                <a:gd name="T104" fmla="*/ 2147483647 w 1321"/>
                <a:gd name="T105" fmla="*/ 2147483647 h 944"/>
                <a:gd name="T106" fmla="*/ 2147483647 w 1321"/>
                <a:gd name="T107" fmla="*/ 2147483647 h 944"/>
                <a:gd name="T108" fmla="*/ 2147483647 w 1321"/>
                <a:gd name="T109" fmla="*/ 2147483647 h 944"/>
                <a:gd name="T110" fmla="*/ 2147483647 w 1321"/>
                <a:gd name="T111" fmla="*/ 2147483647 h 944"/>
                <a:gd name="T112" fmla="*/ 2147483647 w 1321"/>
                <a:gd name="T113" fmla="*/ 2147483647 h 944"/>
                <a:gd name="T114" fmla="*/ 2147483647 w 1321"/>
                <a:gd name="T115" fmla="*/ 2147483647 h 944"/>
                <a:gd name="T116" fmla="*/ 2147483647 w 1321"/>
                <a:gd name="T117" fmla="*/ 2147483647 h 9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21"/>
                <a:gd name="T178" fmla="*/ 0 h 944"/>
                <a:gd name="T179" fmla="*/ 1321 w 1321"/>
                <a:gd name="T180" fmla="*/ 944 h 94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21" h="944">
                  <a:moveTo>
                    <a:pt x="1303" y="129"/>
                  </a:moveTo>
                  <a:lnTo>
                    <a:pt x="1303" y="129"/>
                  </a:lnTo>
                  <a:cubicBezTo>
                    <a:pt x="1294" y="112"/>
                    <a:pt x="1260" y="138"/>
                    <a:pt x="1251" y="112"/>
                  </a:cubicBezTo>
                  <a:cubicBezTo>
                    <a:pt x="1234" y="86"/>
                    <a:pt x="1226" y="95"/>
                    <a:pt x="1200" y="86"/>
                  </a:cubicBezTo>
                  <a:cubicBezTo>
                    <a:pt x="1174" y="86"/>
                    <a:pt x="1183" y="69"/>
                    <a:pt x="1157" y="60"/>
                  </a:cubicBezTo>
                  <a:cubicBezTo>
                    <a:pt x="1140" y="52"/>
                    <a:pt x="1114" y="60"/>
                    <a:pt x="1071" y="69"/>
                  </a:cubicBezTo>
                  <a:cubicBezTo>
                    <a:pt x="1028" y="78"/>
                    <a:pt x="1037" y="43"/>
                    <a:pt x="1011" y="26"/>
                  </a:cubicBezTo>
                  <a:cubicBezTo>
                    <a:pt x="994" y="0"/>
                    <a:pt x="977" y="35"/>
                    <a:pt x="943" y="52"/>
                  </a:cubicBezTo>
                  <a:cubicBezTo>
                    <a:pt x="909" y="69"/>
                    <a:pt x="883" y="60"/>
                    <a:pt x="848" y="60"/>
                  </a:cubicBezTo>
                  <a:cubicBezTo>
                    <a:pt x="814" y="60"/>
                    <a:pt x="823" y="69"/>
                    <a:pt x="806" y="120"/>
                  </a:cubicBezTo>
                  <a:cubicBezTo>
                    <a:pt x="788" y="172"/>
                    <a:pt x="754" y="163"/>
                    <a:pt x="728" y="180"/>
                  </a:cubicBezTo>
                  <a:cubicBezTo>
                    <a:pt x="703" y="197"/>
                    <a:pt x="703" y="180"/>
                    <a:pt x="669" y="180"/>
                  </a:cubicBezTo>
                  <a:cubicBezTo>
                    <a:pt x="634" y="180"/>
                    <a:pt x="660" y="197"/>
                    <a:pt x="643" y="215"/>
                  </a:cubicBezTo>
                  <a:cubicBezTo>
                    <a:pt x="634" y="240"/>
                    <a:pt x="557" y="232"/>
                    <a:pt x="531" y="240"/>
                  </a:cubicBezTo>
                  <a:cubicBezTo>
                    <a:pt x="514" y="249"/>
                    <a:pt x="514" y="266"/>
                    <a:pt x="523" y="292"/>
                  </a:cubicBezTo>
                  <a:cubicBezTo>
                    <a:pt x="531" y="318"/>
                    <a:pt x="523" y="309"/>
                    <a:pt x="488" y="335"/>
                  </a:cubicBezTo>
                  <a:cubicBezTo>
                    <a:pt x="463" y="369"/>
                    <a:pt x="377" y="352"/>
                    <a:pt x="351" y="352"/>
                  </a:cubicBezTo>
                  <a:cubicBezTo>
                    <a:pt x="326" y="352"/>
                    <a:pt x="274" y="343"/>
                    <a:pt x="248" y="318"/>
                  </a:cubicBezTo>
                  <a:cubicBezTo>
                    <a:pt x="231" y="309"/>
                    <a:pt x="197" y="292"/>
                    <a:pt x="171" y="283"/>
                  </a:cubicBezTo>
                  <a:cubicBezTo>
                    <a:pt x="171" y="300"/>
                    <a:pt x="171" y="318"/>
                    <a:pt x="171" y="343"/>
                  </a:cubicBezTo>
                  <a:cubicBezTo>
                    <a:pt x="163" y="369"/>
                    <a:pt x="163" y="386"/>
                    <a:pt x="145" y="395"/>
                  </a:cubicBezTo>
                  <a:cubicBezTo>
                    <a:pt x="128" y="395"/>
                    <a:pt x="120" y="412"/>
                    <a:pt x="111" y="395"/>
                  </a:cubicBezTo>
                  <a:cubicBezTo>
                    <a:pt x="94" y="386"/>
                    <a:pt x="94" y="369"/>
                    <a:pt x="77" y="378"/>
                  </a:cubicBezTo>
                  <a:cubicBezTo>
                    <a:pt x="51" y="386"/>
                    <a:pt x="34" y="403"/>
                    <a:pt x="51" y="403"/>
                  </a:cubicBezTo>
                  <a:cubicBezTo>
                    <a:pt x="77" y="412"/>
                    <a:pt x="94" y="412"/>
                    <a:pt x="103" y="420"/>
                  </a:cubicBezTo>
                  <a:cubicBezTo>
                    <a:pt x="103" y="429"/>
                    <a:pt x="111" y="481"/>
                    <a:pt x="94" y="481"/>
                  </a:cubicBezTo>
                  <a:cubicBezTo>
                    <a:pt x="77" y="481"/>
                    <a:pt x="86" y="472"/>
                    <a:pt x="68" y="506"/>
                  </a:cubicBezTo>
                  <a:cubicBezTo>
                    <a:pt x="60" y="540"/>
                    <a:pt x="68" y="558"/>
                    <a:pt x="68" y="583"/>
                  </a:cubicBezTo>
                  <a:cubicBezTo>
                    <a:pt x="60" y="600"/>
                    <a:pt x="43" y="609"/>
                    <a:pt x="17" y="618"/>
                  </a:cubicBezTo>
                  <a:cubicBezTo>
                    <a:pt x="0" y="626"/>
                    <a:pt x="0" y="635"/>
                    <a:pt x="8" y="643"/>
                  </a:cubicBezTo>
                  <a:cubicBezTo>
                    <a:pt x="8" y="643"/>
                    <a:pt x="17" y="652"/>
                    <a:pt x="26" y="652"/>
                  </a:cubicBezTo>
                  <a:cubicBezTo>
                    <a:pt x="43" y="652"/>
                    <a:pt x="43" y="635"/>
                    <a:pt x="60" y="660"/>
                  </a:cubicBezTo>
                  <a:cubicBezTo>
                    <a:pt x="68" y="686"/>
                    <a:pt x="68" y="703"/>
                    <a:pt x="68" y="712"/>
                  </a:cubicBezTo>
                  <a:cubicBezTo>
                    <a:pt x="77" y="721"/>
                    <a:pt x="103" y="755"/>
                    <a:pt x="111" y="763"/>
                  </a:cubicBezTo>
                  <a:cubicBezTo>
                    <a:pt x="120" y="763"/>
                    <a:pt x="120" y="746"/>
                    <a:pt x="163" y="789"/>
                  </a:cubicBezTo>
                  <a:cubicBezTo>
                    <a:pt x="206" y="823"/>
                    <a:pt x="206" y="823"/>
                    <a:pt x="231" y="840"/>
                  </a:cubicBezTo>
                  <a:cubicBezTo>
                    <a:pt x="257" y="858"/>
                    <a:pt x="266" y="892"/>
                    <a:pt x="283" y="892"/>
                  </a:cubicBezTo>
                  <a:cubicBezTo>
                    <a:pt x="291" y="900"/>
                    <a:pt x="308" y="900"/>
                    <a:pt x="334" y="909"/>
                  </a:cubicBezTo>
                  <a:cubicBezTo>
                    <a:pt x="351" y="917"/>
                    <a:pt x="377" y="943"/>
                    <a:pt x="411" y="935"/>
                  </a:cubicBezTo>
                  <a:cubicBezTo>
                    <a:pt x="437" y="935"/>
                    <a:pt x="488" y="935"/>
                    <a:pt x="514" y="926"/>
                  </a:cubicBezTo>
                  <a:cubicBezTo>
                    <a:pt x="531" y="917"/>
                    <a:pt x="540" y="900"/>
                    <a:pt x="557" y="892"/>
                  </a:cubicBezTo>
                  <a:cubicBezTo>
                    <a:pt x="574" y="875"/>
                    <a:pt x="617" y="858"/>
                    <a:pt x="634" y="849"/>
                  </a:cubicBezTo>
                  <a:cubicBezTo>
                    <a:pt x="660" y="832"/>
                    <a:pt x="677" y="858"/>
                    <a:pt x="686" y="840"/>
                  </a:cubicBezTo>
                  <a:cubicBezTo>
                    <a:pt x="694" y="823"/>
                    <a:pt x="711" y="789"/>
                    <a:pt x="746" y="780"/>
                  </a:cubicBezTo>
                  <a:cubicBezTo>
                    <a:pt x="771" y="772"/>
                    <a:pt x="831" y="780"/>
                    <a:pt x="874" y="772"/>
                  </a:cubicBezTo>
                  <a:cubicBezTo>
                    <a:pt x="917" y="763"/>
                    <a:pt x="943" y="780"/>
                    <a:pt x="960" y="755"/>
                  </a:cubicBezTo>
                  <a:cubicBezTo>
                    <a:pt x="968" y="738"/>
                    <a:pt x="951" y="721"/>
                    <a:pt x="977" y="712"/>
                  </a:cubicBezTo>
                  <a:cubicBezTo>
                    <a:pt x="1003" y="712"/>
                    <a:pt x="1011" y="721"/>
                    <a:pt x="1037" y="703"/>
                  </a:cubicBezTo>
                  <a:cubicBezTo>
                    <a:pt x="1063" y="677"/>
                    <a:pt x="1046" y="626"/>
                    <a:pt x="1071" y="600"/>
                  </a:cubicBezTo>
                  <a:cubicBezTo>
                    <a:pt x="1097" y="566"/>
                    <a:pt x="1105" y="566"/>
                    <a:pt x="1105" y="558"/>
                  </a:cubicBezTo>
                  <a:cubicBezTo>
                    <a:pt x="1105" y="540"/>
                    <a:pt x="1114" y="506"/>
                    <a:pt x="1114" y="481"/>
                  </a:cubicBezTo>
                  <a:cubicBezTo>
                    <a:pt x="1114" y="455"/>
                    <a:pt x="1123" y="437"/>
                    <a:pt x="1131" y="420"/>
                  </a:cubicBezTo>
                  <a:cubicBezTo>
                    <a:pt x="1140" y="403"/>
                    <a:pt x="1149" y="378"/>
                    <a:pt x="1157" y="360"/>
                  </a:cubicBezTo>
                  <a:cubicBezTo>
                    <a:pt x="1166" y="343"/>
                    <a:pt x="1157" y="309"/>
                    <a:pt x="1166" y="300"/>
                  </a:cubicBezTo>
                  <a:cubicBezTo>
                    <a:pt x="1174" y="283"/>
                    <a:pt x="1191" y="275"/>
                    <a:pt x="1200" y="249"/>
                  </a:cubicBezTo>
                  <a:cubicBezTo>
                    <a:pt x="1217" y="223"/>
                    <a:pt x="1226" y="223"/>
                    <a:pt x="1243" y="215"/>
                  </a:cubicBezTo>
                  <a:cubicBezTo>
                    <a:pt x="1260" y="215"/>
                    <a:pt x="1277" y="189"/>
                    <a:pt x="1294" y="172"/>
                  </a:cubicBezTo>
                  <a:cubicBezTo>
                    <a:pt x="1303" y="163"/>
                    <a:pt x="1311" y="163"/>
                    <a:pt x="1320" y="138"/>
                  </a:cubicBezTo>
                  <a:cubicBezTo>
                    <a:pt x="1311" y="138"/>
                    <a:pt x="1311" y="138"/>
                    <a:pt x="1303" y="12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2" name="Freeform 73"/>
            <p:cNvSpPr>
              <a:spLocks noChangeArrowheads="1"/>
            </p:cNvSpPr>
            <p:nvPr/>
          </p:nvSpPr>
          <p:spPr bwMode="auto">
            <a:xfrm>
              <a:off x="2466975" y="942975"/>
              <a:ext cx="1085850" cy="1516063"/>
            </a:xfrm>
            <a:custGeom>
              <a:avLst/>
              <a:gdLst>
                <a:gd name="T0" fmla="*/ 2147483647 w 3017"/>
                <a:gd name="T1" fmla="*/ 2147483647 h 4210"/>
                <a:gd name="T2" fmla="*/ 2147483647 w 3017"/>
                <a:gd name="T3" fmla="*/ 2147483647 h 4210"/>
                <a:gd name="T4" fmla="*/ 2147483647 w 3017"/>
                <a:gd name="T5" fmla="*/ 2147483647 h 4210"/>
                <a:gd name="T6" fmla="*/ 2147483647 w 3017"/>
                <a:gd name="T7" fmla="*/ 2147483647 h 4210"/>
                <a:gd name="T8" fmla="*/ 2147483647 w 3017"/>
                <a:gd name="T9" fmla="*/ 2147483647 h 4210"/>
                <a:gd name="T10" fmla="*/ 2147483647 w 3017"/>
                <a:gd name="T11" fmla="*/ 2147483647 h 4210"/>
                <a:gd name="T12" fmla="*/ 2147483647 w 3017"/>
                <a:gd name="T13" fmla="*/ 2147483647 h 4210"/>
                <a:gd name="T14" fmla="*/ 2147483647 w 3017"/>
                <a:gd name="T15" fmla="*/ 2147483647 h 4210"/>
                <a:gd name="T16" fmla="*/ 2147483647 w 3017"/>
                <a:gd name="T17" fmla="*/ 2147483647 h 4210"/>
                <a:gd name="T18" fmla="*/ 2147483647 w 3017"/>
                <a:gd name="T19" fmla="*/ 2147483647 h 4210"/>
                <a:gd name="T20" fmla="*/ 2147483647 w 3017"/>
                <a:gd name="T21" fmla="*/ 2147483647 h 4210"/>
                <a:gd name="T22" fmla="*/ 2147483647 w 3017"/>
                <a:gd name="T23" fmla="*/ 2147483647 h 4210"/>
                <a:gd name="T24" fmla="*/ 2147483647 w 3017"/>
                <a:gd name="T25" fmla="*/ 2147483647 h 4210"/>
                <a:gd name="T26" fmla="*/ 2147483647 w 3017"/>
                <a:gd name="T27" fmla="*/ 2147483647 h 4210"/>
                <a:gd name="T28" fmla="*/ 2147483647 w 3017"/>
                <a:gd name="T29" fmla="*/ 2147483647 h 4210"/>
                <a:gd name="T30" fmla="*/ 2147483647 w 3017"/>
                <a:gd name="T31" fmla="*/ 2147483647 h 4210"/>
                <a:gd name="T32" fmla="*/ 2147483647 w 3017"/>
                <a:gd name="T33" fmla="*/ 2147483647 h 4210"/>
                <a:gd name="T34" fmla="*/ 2147483647 w 3017"/>
                <a:gd name="T35" fmla="*/ 2147483647 h 4210"/>
                <a:gd name="T36" fmla="*/ 2147483647 w 3017"/>
                <a:gd name="T37" fmla="*/ 2147483647 h 4210"/>
                <a:gd name="T38" fmla="*/ 2147483647 w 3017"/>
                <a:gd name="T39" fmla="*/ 2147483647 h 4210"/>
                <a:gd name="T40" fmla="*/ 2147483647 w 3017"/>
                <a:gd name="T41" fmla="*/ 2147483647 h 4210"/>
                <a:gd name="T42" fmla="*/ 2147483647 w 3017"/>
                <a:gd name="T43" fmla="*/ 2147483647 h 4210"/>
                <a:gd name="T44" fmla="*/ 2147483647 w 3017"/>
                <a:gd name="T45" fmla="*/ 2147483647 h 4210"/>
                <a:gd name="T46" fmla="*/ 2147483647 w 3017"/>
                <a:gd name="T47" fmla="*/ 2147483647 h 4210"/>
                <a:gd name="T48" fmla="*/ 2147483647 w 3017"/>
                <a:gd name="T49" fmla="*/ 2147483647 h 4210"/>
                <a:gd name="T50" fmla="*/ 2147483647 w 3017"/>
                <a:gd name="T51" fmla="*/ 2147483647 h 4210"/>
                <a:gd name="T52" fmla="*/ 2147483647 w 3017"/>
                <a:gd name="T53" fmla="*/ 2147483647 h 4210"/>
                <a:gd name="T54" fmla="*/ 2147483647 w 3017"/>
                <a:gd name="T55" fmla="*/ 2147483647 h 4210"/>
                <a:gd name="T56" fmla="*/ 2147483647 w 3017"/>
                <a:gd name="T57" fmla="*/ 2147483647 h 4210"/>
                <a:gd name="T58" fmla="*/ 2147483647 w 3017"/>
                <a:gd name="T59" fmla="*/ 2147483647 h 4210"/>
                <a:gd name="T60" fmla="*/ 2147483647 w 3017"/>
                <a:gd name="T61" fmla="*/ 2147483647 h 4210"/>
                <a:gd name="T62" fmla="*/ 2147483647 w 3017"/>
                <a:gd name="T63" fmla="*/ 2147483647 h 4210"/>
                <a:gd name="T64" fmla="*/ 2147483647 w 3017"/>
                <a:gd name="T65" fmla="*/ 2147483647 h 4210"/>
                <a:gd name="T66" fmla="*/ 2147483647 w 3017"/>
                <a:gd name="T67" fmla="*/ 2147483647 h 4210"/>
                <a:gd name="T68" fmla="*/ 2147483647 w 3017"/>
                <a:gd name="T69" fmla="*/ 2147483647 h 4210"/>
                <a:gd name="T70" fmla="*/ 2147483647 w 3017"/>
                <a:gd name="T71" fmla="*/ 2147483647 h 4210"/>
                <a:gd name="T72" fmla="*/ 2147483647 w 3017"/>
                <a:gd name="T73" fmla="*/ 2147483647 h 4210"/>
                <a:gd name="T74" fmla="*/ 2147483647 w 3017"/>
                <a:gd name="T75" fmla="*/ 2147483647 h 4210"/>
                <a:gd name="T76" fmla="*/ 2147483647 w 3017"/>
                <a:gd name="T77" fmla="*/ 2147483647 h 4210"/>
                <a:gd name="T78" fmla="*/ 2147483647 w 3017"/>
                <a:gd name="T79" fmla="*/ 2147483647 h 4210"/>
                <a:gd name="T80" fmla="*/ 2147483647 w 3017"/>
                <a:gd name="T81" fmla="*/ 2147483647 h 4210"/>
                <a:gd name="T82" fmla="*/ 2147483647 w 3017"/>
                <a:gd name="T83" fmla="*/ 2147483647 h 4210"/>
                <a:gd name="T84" fmla="*/ 2147483647 w 3017"/>
                <a:gd name="T85" fmla="*/ 2147483647 h 4210"/>
                <a:gd name="T86" fmla="*/ 2147483647 w 3017"/>
                <a:gd name="T87" fmla="*/ 2147483647 h 4210"/>
                <a:gd name="T88" fmla="*/ 2147483647 w 3017"/>
                <a:gd name="T89" fmla="*/ 2147483647 h 4210"/>
                <a:gd name="T90" fmla="*/ 2147483647 w 3017"/>
                <a:gd name="T91" fmla="*/ 2147483647 h 4210"/>
                <a:gd name="T92" fmla="*/ 2147483647 w 3017"/>
                <a:gd name="T93" fmla="*/ 2147483647 h 4210"/>
                <a:gd name="T94" fmla="*/ 2147483647 w 3017"/>
                <a:gd name="T95" fmla="*/ 2147483647 h 4210"/>
                <a:gd name="T96" fmla="*/ 2147483647 w 3017"/>
                <a:gd name="T97" fmla="*/ 2147483647 h 4210"/>
                <a:gd name="T98" fmla="*/ 2147483647 w 3017"/>
                <a:gd name="T99" fmla="*/ 2147483647 h 4210"/>
                <a:gd name="T100" fmla="*/ 2147483647 w 3017"/>
                <a:gd name="T101" fmla="*/ 2147483647 h 4210"/>
                <a:gd name="T102" fmla="*/ 2147483647 w 3017"/>
                <a:gd name="T103" fmla="*/ 2147483647 h 4210"/>
                <a:gd name="T104" fmla="*/ 2147483647 w 3017"/>
                <a:gd name="T105" fmla="*/ 2147483647 h 4210"/>
                <a:gd name="T106" fmla="*/ 2147483647 w 3017"/>
                <a:gd name="T107" fmla="*/ 2147483647 h 4210"/>
                <a:gd name="T108" fmla="*/ 2147483647 w 3017"/>
                <a:gd name="T109" fmla="*/ 2147483647 h 4210"/>
                <a:gd name="T110" fmla="*/ 2147483647 w 3017"/>
                <a:gd name="T111" fmla="*/ 2147483647 h 4210"/>
                <a:gd name="T112" fmla="*/ 2147483647 w 3017"/>
                <a:gd name="T113" fmla="*/ 2147483647 h 4210"/>
                <a:gd name="T114" fmla="*/ 2147483647 w 3017"/>
                <a:gd name="T115" fmla="*/ 2147483647 h 4210"/>
                <a:gd name="T116" fmla="*/ 2147483647 w 3017"/>
                <a:gd name="T117" fmla="*/ 2147483647 h 4210"/>
                <a:gd name="T118" fmla="*/ 2147483647 w 3017"/>
                <a:gd name="T119" fmla="*/ 2147483647 h 4210"/>
                <a:gd name="T120" fmla="*/ 2147483647 w 3017"/>
                <a:gd name="T121" fmla="*/ 2147483647 h 4210"/>
                <a:gd name="T122" fmla="*/ 2147483647 w 3017"/>
                <a:gd name="T123" fmla="*/ 2147483647 h 42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017"/>
                <a:gd name="T187" fmla="*/ 0 h 4210"/>
                <a:gd name="T188" fmla="*/ 3017 w 3017"/>
                <a:gd name="T189" fmla="*/ 4210 h 42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017" h="4210">
                  <a:moveTo>
                    <a:pt x="1945" y="763"/>
                  </a:moveTo>
                  <a:lnTo>
                    <a:pt x="1945" y="763"/>
                  </a:lnTo>
                  <a:cubicBezTo>
                    <a:pt x="1954" y="755"/>
                    <a:pt x="1971" y="763"/>
                    <a:pt x="1979" y="737"/>
                  </a:cubicBezTo>
                  <a:cubicBezTo>
                    <a:pt x="1996" y="720"/>
                    <a:pt x="1971" y="712"/>
                    <a:pt x="1971" y="703"/>
                  </a:cubicBezTo>
                  <a:cubicBezTo>
                    <a:pt x="1971" y="686"/>
                    <a:pt x="2014" y="695"/>
                    <a:pt x="2048" y="695"/>
                  </a:cubicBezTo>
                  <a:cubicBezTo>
                    <a:pt x="2074" y="695"/>
                    <a:pt x="2125" y="806"/>
                    <a:pt x="2142" y="823"/>
                  </a:cubicBezTo>
                  <a:cubicBezTo>
                    <a:pt x="2151" y="849"/>
                    <a:pt x="2211" y="849"/>
                    <a:pt x="2228" y="858"/>
                  </a:cubicBezTo>
                  <a:cubicBezTo>
                    <a:pt x="2254" y="866"/>
                    <a:pt x="2288" y="798"/>
                    <a:pt x="2296" y="789"/>
                  </a:cubicBezTo>
                  <a:cubicBezTo>
                    <a:pt x="2305" y="780"/>
                    <a:pt x="2356" y="789"/>
                    <a:pt x="2365" y="806"/>
                  </a:cubicBezTo>
                  <a:cubicBezTo>
                    <a:pt x="2382" y="815"/>
                    <a:pt x="2417" y="823"/>
                    <a:pt x="2425" y="832"/>
                  </a:cubicBezTo>
                  <a:cubicBezTo>
                    <a:pt x="2442" y="840"/>
                    <a:pt x="2442" y="780"/>
                    <a:pt x="2442" y="763"/>
                  </a:cubicBezTo>
                  <a:cubicBezTo>
                    <a:pt x="2442" y="755"/>
                    <a:pt x="2468" y="737"/>
                    <a:pt x="2485" y="729"/>
                  </a:cubicBezTo>
                  <a:cubicBezTo>
                    <a:pt x="2502" y="720"/>
                    <a:pt x="2511" y="669"/>
                    <a:pt x="2494" y="643"/>
                  </a:cubicBezTo>
                  <a:cubicBezTo>
                    <a:pt x="2476" y="626"/>
                    <a:pt x="2468" y="497"/>
                    <a:pt x="2476" y="472"/>
                  </a:cubicBezTo>
                  <a:cubicBezTo>
                    <a:pt x="2476" y="455"/>
                    <a:pt x="2502" y="420"/>
                    <a:pt x="2511" y="412"/>
                  </a:cubicBezTo>
                  <a:cubicBezTo>
                    <a:pt x="2519" y="395"/>
                    <a:pt x="2562" y="369"/>
                    <a:pt x="2579" y="369"/>
                  </a:cubicBezTo>
                  <a:cubicBezTo>
                    <a:pt x="2605" y="360"/>
                    <a:pt x="2631" y="300"/>
                    <a:pt x="2648" y="292"/>
                  </a:cubicBezTo>
                  <a:cubicBezTo>
                    <a:pt x="2657" y="292"/>
                    <a:pt x="2699" y="343"/>
                    <a:pt x="2725" y="369"/>
                  </a:cubicBezTo>
                  <a:cubicBezTo>
                    <a:pt x="2751" y="386"/>
                    <a:pt x="2759" y="378"/>
                    <a:pt x="2811" y="395"/>
                  </a:cubicBezTo>
                  <a:cubicBezTo>
                    <a:pt x="2853" y="412"/>
                    <a:pt x="2828" y="412"/>
                    <a:pt x="2836" y="437"/>
                  </a:cubicBezTo>
                  <a:cubicBezTo>
                    <a:pt x="2845" y="472"/>
                    <a:pt x="2828" y="523"/>
                    <a:pt x="2819" y="540"/>
                  </a:cubicBezTo>
                  <a:cubicBezTo>
                    <a:pt x="2811" y="557"/>
                    <a:pt x="2828" y="574"/>
                    <a:pt x="2845" y="583"/>
                  </a:cubicBezTo>
                  <a:cubicBezTo>
                    <a:pt x="2853" y="583"/>
                    <a:pt x="2853" y="574"/>
                    <a:pt x="2862" y="566"/>
                  </a:cubicBezTo>
                  <a:cubicBezTo>
                    <a:pt x="2879" y="540"/>
                    <a:pt x="2879" y="532"/>
                    <a:pt x="2879" y="515"/>
                  </a:cubicBezTo>
                  <a:cubicBezTo>
                    <a:pt x="2879" y="497"/>
                    <a:pt x="2897" y="489"/>
                    <a:pt x="2914" y="472"/>
                  </a:cubicBezTo>
                  <a:cubicBezTo>
                    <a:pt x="2939" y="455"/>
                    <a:pt x="2931" y="403"/>
                    <a:pt x="2931" y="395"/>
                  </a:cubicBezTo>
                  <a:cubicBezTo>
                    <a:pt x="2931" y="386"/>
                    <a:pt x="2956" y="386"/>
                    <a:pt x="2974" y="395"/>
                  </a:cubicBezTo>
                  <a:cubicBezTo>
                    <a:pt x="2999" y="403"/>
                    <a:pt x="3016" y="378"/>
                    <a:pt x="3016" y="360"/>
                  </a:cubicBezTo>
                  <a:cubicBezTo>
                    <a:pt x="3016" y="352"/>
                    <a:pt x="2999" y="334"/>
                    <a:pt x="2982" y="309"/>
                  </a:cubicBezTo>
                  <a:cubicBezTo>
                    <a:pt x="2965" y="309"/>
                    <a:pt x="2948" y="309"/>
                    <a:pt x="2948" y="317"/>
                  </a:cubicBezTo>
                  <a:cubicBezTo>
                    <a:pt x="2948" y="326"/>
                    <a:pt x="2956" y="360"/>
                    <a:pt x="2948" y="352"/>
                  </a:cubicBezTo>
                  <a:cubicBezTo>
                    <a:pt x="2939" y="334"/>
                    <a:pt x="2922" y="300"/>
                    <a:pt x="2914" y="309"/>
                  </a:cubicBezTo>
                  <a:cubicBezTo>
                    <a:pt x="2914" y="309"/>
                    <a:pt x="2897" y="309"/>
                    <a:pt x="2905" y="326"/>
                  </a:cubicBezTo>
                  <a:cubicBezTo>
                    <a:pt x="2914" y="334"/>
                    <a:pt x="2922" y="369"/>
                    <a:pt x="2914" y="360"/>
                  </a:cubicBezTo>
                  <a:cubicBezTo>
                    <a:pt x="2905" y="352"/>
                    <a:pt x="2905" y="352"/>
                    <a:pt x="2888" y="360"/>
                  </a:cubicBezTo>
                  <a:cubicBezTo>
                    <a:pt x="2871" y="369"/>
                    <a:pt x="2845" y="386"/>
                    <a:pt x="2853" y="369"/>
                  </a:cubicBezTo>
                  <a:cubicBezTo>
                    <a:pt x="2862" y="360"/>
                    <a:pt x="2871" y="352"/>
                    <a:pt x="2862" y="326"/>
                  </a:cubicBezTo>
                  <a:cubicBezTo>
                    <a:pt x="2853" y="309"/>
                    <a:pt x="2845" y="317"/>
                    <a:pt x="2836" y="317"/>
                  </a:cubicBezTo>
                  <a:cubicBezTo>
                    <a:pt x="2836" y="317"/>
                    <a:pt x="2811" y="334"/>
                    <a:pt x="2819" y="317"/>
                  </a:cubicBezTo>
                  <a:cubicBezTo>
                    <a:pt x="2828" y="300"/>
                    <a:pt x="2836" y="292"/>
                    <a:pt x="2828" y="292"/>
                  </a:cubicBezTo>
                  <a:cubicBezTo>
                    <a:pt x="2819" y="283"/>
                    <a:pt x="2725" y="275"/>
                    <a:pt x="2725" y="266"/>
                  </a:cubicBezTo>
                  <a:cubicBezTo>
                    <a:pt x="2716" y="257"/>
                    <a:pt x="2716" y="257"/>
                    <a:pt x="2725" y="257"/>
                  </a:cubicBezTo>
                  <a:cubicBezTo>
                    <a:pt x="2742" y="257"/>
                    <a:pt x="2845" y="249"/>
                    <a:pt x="2871" y="249"/>
                  </a:cubicBezTo>
                  <a:cubicBezTo>
                    <a:pt x="2905" y="240"/>
                    <a:pt x="2905" y="240"/>
                    <a:pt x="2905" y="206"/>
                  </a:cubicBezTo>
                  <a:cubicBezTo>
                    <a:pt x="2905" y="180"/>
                    <a:pt x="2905" y="189"/>
                    <a:pt x="2922" y="172"/>
                  </a:cubicBezTo>
                  <a:cubicBezTo>
                    <a:pt x="2939" y="155"/>
                    <a:pt x="2956" y="146"/>
                    <a:pt x="2956" y="129"/>
                  </a:cubicBezTo>
                  <a:cubicBezTo>
                    <a:pt x="2948" y="112"/>
                    <a:pt x="2931" y="112"/>
                    <a:pt x="2914" y="103"/>
                  </a:cubicBezTo>
                  <a:cubicBezTo>
                    <a:pt x="2897" y="103"/>
                    <a:pt x="2888" y="94"/>
                    <a:pt x="2871" y="94"/>
                  </a:cubicBezTo>
                  <a:cubicBezTo>
                    <a:pt x="2862" y="94"/>
                    <a:pt x="2828" y="112"/>
                    <a:pt x="2845" y="103"/>
                  </a:cubicBezTo>
                  <a:cubicBezTo>
                    <a:pt x="2853" y="94"/>
                    <a:pt x="2871" y="86"/>
                    <a:pt x="2853" y="77"/>
                  </a:cubicBezTo>
                  <a:cubicBezTo>
                    <a:pt x="2836" y="69"/>
                    <a:pt x="2828" y="43"/>
                    <a:pt x="2828" y="52"/>
                  </a:cubicBezTo>
                  <a:cubicBezTo>
                    <a:pt x="2819" y="60"/>
                    <a:pt x="2811" y="120"/>
                    <a:pt x="2802" y="94"/>
                  </a:cubicBezTo>
                  <a:cubicBezTo>
                    <a:pt x="2794" y="69"/>
                    <a:pt x="2794" y="60"/>
                    <a:pt x="2785" y="60"/>
                  </a:cubicBezTo>
                  <a:cubicBezTo>
                    <a:pt x="2768" y="60"/>
                    <a:pt x="2785" y="112"/>
                    <a:pt x="2768" y="86"/>
                  </a:cubicBezTo>
                  <a:cubicBezTo>
                    <a:pt x="2742" y="60"/>
                    <a:pt x="2742" y="35"/>
                    <a:pt x="2725" y="35"/>
                  </a:cubicBezTo>
                  <a:cubicBezTo>
                    <a:pt x="2699" y="35"/>
                    <a:pt x="2674" y="35"/>
                    <a:pt x="2665" y="69"/>
                  </a:cubicBezTo>
                  <a:cubicBezTo>
                    <a:pt x="2657" y="103"/>
                    <a:pt x="2648" y="146"/>
                    <a:pt x="2665" y="155"/>
                  </a:cubicBezTo>
                  <a:cubicBezTo>
                    <a:pt x="2682" y="163"/>
                    <a:pt x="2665" y="180"/>
                    <a:pt x="2657" y="189"/>
                  </a:cubicBezTo>
                  <a:cubicBezTo>
                    <a:pt x="2657" y="197"/>
                    <a:pt x="2665" y="206"/>
                    <a:pt x="2657" y="206"/>
                  </a:cubicBezTo>
                  <a:cubicBezTo>
                    <a:pt x="2657" y="206"/>
                    <a:pt x="2657" y="172"/>
                    <a:pt x="2648" y="172"/>
                  </a:cubicBezTo>
                  <a:cubicBezTo>
                    <a:pt x="2639" y="180"/>
                    <a:pt x="2605" y="197"/>
                    <a:pt x="2613" y="180"/>
                  </a:cubicBezTo>
                  <a:cubicBezTo>
                    <a:pt x="2631" y="172"/>
                    <a:pt x="2665" y="120"/>
                    <a:pt x="2648" y="120"/>
                  </a:cubicBezTo>
                  <a:cubicBezTo>
                    <a:pt x="2631" y="120"/>
                    <a:pt x="2579" y="163"/>
                    <a:pt x="2588" y="146"/>
                  </a:cubicBezTo>
                  <a:cubicBezTo>
                    <a:pt x="2605" y="129"/>
                    <a:pt x="2622" y="112"/>
                    <a:pt x="2613" y="103"/>
                  </a:cubicBezTo>
                  <a:cubicBezTo>
                    <a:pt x="2596" y="94"/>
                    <a:pt x="2588" y="77"/>
                    <a:pt x="2605" y="77"/>
                  </a:cubicBezTo>
                  <a:cubicBezTo>
                    <a:pt x="2613" y="77"/>
                    <a:pt x="2631" y="77"/>
                    <a:pt x="2639" y="60"/>
                  </a:cubicBezTo>
                  <a:cubicBezTo>
                    <a:pt x="2648" y="35"/>
                    <a:pt x="2674" y="26"/>
                    <a:pt x="2648" y="17"/>
                  </a:cubicBezTo>
                  <a:cubicBezTo>
                    <a:pt x="2631" y="9"/>
                    <a:pt x="2605" y="26"/>
                    <a:pt x="2605" y="9"/>
                  </a:cubicBezTo>
                  <a:cubicBezTo>
                    <a:pt x="2605" y="0"/>
                    <a:pt x="2631" y="0"/>
                    <a:pt x="2605" y="0"/>
                  </a:cubicBezTo>
                  <a:cubicBezTo>
                    <a:pt x="2588" y="0"/>
                    <a:pt x="2571" y="26"/>
                    <a:pt x="2554" y="17"/>
                  </a:cubicBezTo>
                  <a:cubicBezTo>
                    <a:pt x="2545" y="0"/>
                    <a:pt x="2536" y="9"/>
                    <a:pt x="2536" y="17"/>
                  </a:cubicBezTo>
                  <a:cubicBezTo>
                    <a:pt x="2536" y="26"/>
                    <a:pt x="2554" y="43"/>
                    <a:pt x="2536" y="43"/>
                  </a:cubicBezTo>
                  <a:cubicBezTo>
                    <a:pt x="2519" y="43"/>
                    <a:pt x="2511" y="26"/>
                    <a:pt x="2511" y="43"/>
                  </a:cubicBezTo>
                  <a:cubicBezTo>
                    <a:pt x="2511" y="69"/>
                    <a:pt x="2494" y="77"/>
                    <a:pt x="2511" y="77"/>
                  </a:cubicBezTo>
                  <a:cubicBezTo>
                    <a:pt x="2536" y="77"/>
                    <a:pt x="2588" y="103"/>
                    <a:pt x="2571" y="103"/>
                  </a:cubicBezTo>
                  <a:cubicBezTo>
                    <a:pt x="2554" y="103"/>
                    <a:pt x="2536" y="103"/>
                    <a:pt x="2536" y="120"/>
                  </a:cubicBezTo>
                  <a:cubicBezTo>
                    <a:pt x="2536" y="138"/>
                    <a:pt x="2502" y="155"/>
                    <a:pt x="2519" y="180"/>
                  </a:cubicBezTo>
                  <a:cubicBezTo>
                    <a:pt x="2536" y="197"/>
                    <a:pt x="2562" y="206"/>
                    <a:pt x="2536" y="206"/>
                  </a:cubicBezTo>
                  <a:cubicBezTo>
                    <a:pt x="2519" y="206"/>
                    <a:pt x="2485" y="266"/>
                    <a:pt x="2485" y="249"/>
                  </a:cubicBezTo>
                  <a:cubicBezTo>
                    <a:pt x="2485" y="232"/>
                    <a:pt x="2485" y="215"/>
                    <a:pt x="2485" y="189"/>
                  </a:cubicBezTo>
                  <a:cubicBezTo>
                    <a:pt x="2476" y="163"/>
                    <a:pt x="2434" y="180"/>
                    <a:pt x="2451" y="163"/>
                  </a:cubicBezTo>
                  <a:cubicBezTo>
                    <a:pt x="2468" y="138"/>
                    <a:pt x="2468" y="129"/>
                    <a:pt x="2468" y="112"/>
                  </a:cubicBezTo>
                  <a:cubicBezTo>
                    <a:pt x="2468" y="103"/>
                    <a:pt x="2468" y="60"/>
                    <a:pt x="2459" y="69"/>
                  </a:cubicBezTo>
                  <a:cubicBezTo>
                    <a:pt x="2442" y="77"/>
                    <a:pt x="2425" y="138"/>
                    <a:pt x="2417" y="163"/>
                  </a:cubicBezTo>
                  <a:cubicBezTo>
                    <a:pt x="2399" y="189"/>
                    <a:pt x="2365" y="292"/>
                    <a:pt x="2373" y="300"/>
                  </a:cubicBezTo>
                  <a:cubicBezTo>
                    <a:pt x="2382" y="300"/>
                    <a:pt x="2373" y="326"/>
                    <a:pt x="2365" y="343"/>
                  </a:cubicBezTo>
                  <a:cubicBezTo>
                    <a:pt x="2365" y="360"/>
                    <a:pt x="2356" y="369"/>
                    <a:pt x="2356" y="369"/>
                  </a:cubicBezTo>
                  <a:cubicBezTo>
                    <a:pt x="2348" y="369"/>
                    <a:pt x="2356" y="360"/>
                    <a:pt x="2356" y="360"/>
                  </a:cubicBezTo>
                  <a:cubicBezTo>
                    <a:pt x="2348" y="360"/>
                    <a:pt x="2348" y="378"/>
                    <a:pt x="2339" y="369"/>
                  </a:cubicBezTo>
                  <a:cubicBezTo>
                    <a:pt x="2339" y="360"/>
                    <a:pt x="2339" y="309"/>
                    <a:pt x="2339" y="300"/>
                  </a:cubicBezTo>
                  <a:cubicBezTo>
                    <a:pt x="2348" y="283"/>
                    <a:pt x="2356" y="275"/>
                    <a:pt x="2356" y="257"/>
                  </a:cubicBezTo>
                  <a:cubicBezTo>
                    <a:pt x="2348" y="249"/>
                    <a:pt x="2331" y="257"/>
                    <a:pt x="2339" y="232"/>
                  </a:cubicBezTo>
                  <a:cubicBezTo>
                    <a:pt x="2348" y="197"/>
                    <a:pt x="2373" y="172"/>
                    <a:pt x="2373" y="155"/>
                  </a:cubicBezTo>
                  <a:cubicBezTo>
                    <a:pt x="2382" y="138"/>
                    <a:pt x="2365" y="146"/>
                    <a:pt x="2373" y="138"/>
                  </a:cubicBezTo>
                  <a:cubicBezTo>
                    <a:pt x="2382" y="120"/>
                    <a:pt x="2399" y="112"/>
                    <a:pt x="2382" y="112"/>
                  </a:cubicBezTo>
                  <a:cubicBezTo>
                    <a:pt x="2373" y="112"/>
                    <a:pt x="2322" y="138"/>
                    <a:pt x="2322" y="138"/>
                  </a:cubicBezTo>
                  <a:cubicBezTo>
                    <a:pt x="2322" y="146"/>
                    <a:pt x="2322" y="112"/>
                    <a:pt x="2305" y="120"/>
                  </a:cubicBezTo>
                  <a:cubicBezTo>
                    <a:pt x="2296" y="138"/>
                    <a:pt x="2305" y="155"/>
                    <a:pt x="2296" y="138"/>
                  </a:cubicBezTo>
                  <a:cubicBezTo>
                    <a:pt x="2288" y="112"/>
                    <a:pt x="2279" y="94"/>
                    <a:pt x="2271" y="103"/>
                  </a:cubicBezTo>
                  <a:cubicBezTo>
                    <a:pt x="2271" y="112"/>
                    <a:pt x="2236" y="103"/>
                    <a:pt x="2245" y="112"/>
                  </a:cubicBezTo>
                  <a:cubicBezTo>
                    <a:pt x="2254" y="129"/>
                    <a:pt x="2271" y="138"/>
                    <a:pt x="2262" y="138"/>
                  </a:cubicBezTo>
                  <a:cubicBezTo>
                    <a:pt x="2254" y="146"/>
                    <a:pt x="2271" y="172"/>
                    <a:pt x="2254" y="163"/>
                  </a:cubicBezTo>
                  <a:cubicBezTo>
                    <a:pt x="2236" y="163"/>
                    <a:pt x="2211" y="146"/>
                    <a:pt x="2228" y="163"/>
                  </a:cubicBezTo>
                  <a:cubicBezTo>
                    <a:pt x="2236" y="180"/>
                    <a:pt x="2296" y="223"/>
                    <a:pt x="2279" y="215"/>
                  </a:cubicBezTo>
                  <a:cubicBezTo>
                    <a:pt x="2262" y="206"/>
                    <a:pt x="2236" y="197"/>
                    <a:pt x="2236" y="215"/>
                  </a:cubicBezTo>
                  <a:cubicBezTo>
                    <a:pt x="2228" y="223"/>
                    <a:pt x="2228" y="240"/>
                    <a:pt x="2236" y="249"/>
                  </a:cubicBezTo>
                  <a:cubicBezTo>
                    <a:pt x="2245" y="266"/>
                    <a:pt x="2245" y="257"/>
                    <a:pt x="2245" y="266"/>
                  </a:cubicBezTo>
                  <a:cubicBezTo>
                    <a:pt x="2245" y="266"/>
                    <a:pt x="2219" y="266"/>
                    <a:pt x="2202" y="275"/>
                  </a:cubicBezTo>
                  <a:cubicBezTo>
                    <a:pt x="2194" y="283"/>
                    <a:pt x="2194" y="300"/>
                    <a:pt x="2185" y="309"/>
                  </a:cubicBezTo>
                  <a:cubicBezTo>
                    <a:pt x="2177" y="317"/>
                    <a:pt x="2151" y="334"/>
                    <a:pt x="2168" y="334"/>
                  </a:cubicBezTo>
                  <a:cubicBezTo>
                    <a:pt x="2185" y="334"/>
                    <a:pt x="2185" y="334"/>
                    <a:pt x="2185" y="334"/>
                  </a:cubicBezTo>
                  <a:cubicBezTo>
                    <a:pt x="2185" y="334"/>
                    <a:pt x="2159" y="360"/>
                    <a:pt x="2159" y="378"/>
                  </a:cubicBezTo>
                  <a:cubicBezTo>
                    <a:pt x="2159" y="386"/>
                    <a:pt x="2151" y="412"/>
                    <a:pt x="2159" y="420"/>
                  </a:cubicBezTo>
                  <a:cubicBezTo>
                    <a:pt x="2168" y="420"/>
                    <a:pt x="2177" y="429"/>
                    <a:pt x="2185" y="437"/>
                  </a:cubicBezTo>
                  <a:cubicBezTo>
                    <a:pt x="2185" y="437"/>
                    <a:pt x="2168" y="463"/>
                    <a:pt x="2159" y="455"/>
                  </a:cubicBezTo>
                  <a:cubicBezTo>
                    <a:pt x="2159" y="446"/>
                    <a:pt x="2133" y="437"/>
                    <a:pt x="2133" y="429"/>
                  </a:cubicBezTo>
                  <a:cubicBezTo>
                    <a:pt x="2133" y="420"/>
                    <a:pt x="2151" y="395"/>
                    <a:pt x="2133" y="403"/>
                  </a:cubicBezTo>
                  <a:cubicBezTo>
                    <a:pt x="2116" y="412"/>
                    <a:pt x="2065" y="446"/>
                    <a:pt x="2074" y="437"/>
                  </a:cubicBezTo>
                  <a:cubicBezTo>
                    <a:pt x="2074" y="429"/>
                    <a:pt x="2116" y="412"/>
                    <a:pt x="2116" y="403"/>
                  </a:cubicBezTo>
                  <a:cubicBezTo>
                    <a:pt x="2116" y="395"/>
                    <a:pt x="2125" y="369"/>
                    <a:pt x="2108" y="369"/>
                  </a:cubicBezTo>
                  <a:cubicBezTo>
                    <a:pt x="2091" y="369"/>
                    <a:pt x="2074" y="369"/>
                    <a:pt x="2065" y="369"/>
                  </a:cubicBezTo>
                  <a:cubicBezTo>
                    <a:pt x="2056" y="369"/>
                    <a:pt x="2056" y="395"/>
                    <a:pt x="2065" y="403"/>
                  </a:cubicBezTo>
                  <a:cubicBezTo>
                    <a:pt x="2074" y="403"/>
                    <a:pt x="2082" y="403"/>
                    <a:pt x="2082" y="412"/>
                  </a:cubicBezTo>
                  <a:cubicBezTo>
                    <a:pt x="2082" y="412"/>
                    <a:pt x="2048" y="403"/>
                    <a:pt x="2048" y="395"/>
                  </a:cubicBezTo>
                  <a:cubicBezTo>
                    <a:pt x="2048" y="386"/>
                    <a:pt x="2048" y="369"/>
                    <a:pt x="2039" y="369"/>
                  </a:cubicBezTo>
                  <a:cubicBezTo>
                    <a:pt x="2031" y="378"/>
                    <a:pt x="2022" y="386"/>
                    <a:pt x="2022" y="378"/>
                  </a:cubicBezTo>
                  <a:cubicBezTo>
                    <a:pt x="2014" y="369"/>
                    <a:pt x="1996" y="352"/>
                    <a:pt x="1996" y="360"/>
                  </a:cubicBezTo>
                  <a:cubicBezTo>
                    <a:pt x="1996" y="360"/>
                    <a:pt x="2005" y="412"/>
                    <a:pt x="1996" y="403"/>
                  </a:cubicBezTo>
                  <a:cubicBezTo>
                    <a:pt x="1988" y="395"/>
                    <a:pt x="1979" y="386"/>
                    <a:pt x="1971" y="395"/>
                  </a:cubicBezTo>
                  <a:cubicBezTo>
                    <a:pt x="1954" y="395"/>
                    <a:pt x="1971" y="403"/>
                    <a:pt x="1962" y="403"/>
                  </a:cubicBezTo>
                  <a:cubicBezTo>
                    <a:pt x="1937" y="395"/>
                    <a:pt x="1937" y="395"/>
                    <a:pt x="1937" y="395"/>
                  </a:cubicBezTo>
                  <a:cubicBezTo>
                    <a:pt x="1937" y="403"/>
                    <a:pt x="1954" y="420"/>
                    <a:pt x="1962" y="429"/>
                  </a:cubicBezTo>
                  <a:cubicBezTo>
                    <a:pt x="1979" y="429"/>
                    <a:pt x="1988" y="437"/>
                    <a:pt x="2005" y="437"/>
                  </a:cubicBezTo>
                  <a:cubicBezTo>
                    <a:pt x="2014" y="437"/>
                    <a:pt x="2022" y="437"/>
                    <a:pt x="2022" y="437"/>
                  </a:cubicBezTo>
                  <a:cubicBezTo>
                    <a:pt x="2022" y="446"/>
                    <a:pt x="2022" y="446"/>
                    <a:pt x="2022" y="446"/>
                  </a:cubicBezTo>
                  <a:cubicBezTo>
                    <a:pt x="2031" y="472"/>
                    <a:pt x="2022" y="472"/>
                    <a:pt x="2031" y="489"/>
                  </a:cubicBezTo>
                  <a:cubicBezTo>
                    <a:pt x="2039" y="506"/>
                    <a:pt x="2056" y="532"/>
                    <a:pt x="2048" y="532"/>
                  </a:cubicBezTo>
                  <a:cubicBezTo>
                    <a:pt x="2048" y="532"/>
                    <a:pt x="2039" y="523"/>
                    <a:pt x="2031" y="515"/>
                  </a:cubicBezTo>
                  <a:cubicBezTo>
                    <a:pt x="2014" y="506"/>
                    <a:pt x="2014" y="515"/>
                    <a:pt x="1996" y="497"/>
                  </a:cubicBezTo>
                  <a:cubicBezTo>
                    <a:pt x="1988" y="489"/>
                    <a:pt x="1962" y="463"/>
                    <a:pt x="1962" y="472"/>
                  </a:cubicBezTo>
                  <a:cubicBezTo>
                    <a:pt x="1954" y="480"/>
                    <a:pt x="1962" y="523"/>
                    <a:pt x="1954" y="523"/>
                  </a:cubicBezTo>
                  <a:cubicBezTo>
                    <a:pt x="1945" y="523"/>
                    <a:pt x="1945" y="549"/>
                    <a:pt x="1937" y="549"/>
                  </a:cubicBezTo>
                  <a:cubicBezTo>
                    <a:pt x="1937" y="549"/>
                    <a:pt x="1928" y="515"/>
                    <a:pt x="1919" y="523"/>
                  </a:cubicBezTo>
                  <a:cubicBezTo>
                    <a:pt x="1911" y="532"/>
                    <a:pt x="1911" y="557"/>
                    <a:pt x="1902" y="566"/>
                  </a:cubicBezTo>
                  <a:cubicBezTo>
                    <a:pt x="1893" y="566"/>
                    <a:pt x="1885" y="574"/>
                    <a:pt x="1893" y="592"/>
                  </a:cubicBezTo>
                  <a:cubicBezTo>
                    <a:pt x="1893" y="609"/>
                    <a:pt x="1919" y="626"/>
                    <a:pt x="1919" y="626"/>
                  </a:cubicBezTo>
                  <a:cubicBezTo>
                    <a:pt x="1919" y="635"/>
                    <a:pt x="1885" y="609"/>
                    <a:pt x="1885" y="626"/>
                  </a:cubicBezTo>
                  <a:cubicBezTo>
                    <a:pt x="1885" y="643"/>
                    <a:pt x="1868" y="677"/>
                    <a:pt x="1868" y="677"/>
                  </a:cubicBezTo>
                  <a:cubicBezTo>
                    <a:pt x="1859" y="686"/>
                    <a:pt x="1859" y="712"/>
                    <a:pt x="1851" y="712"/>
                  </a:cubicBezTo>
                  <a:cubicBezTo>
                    <a:pt x="1851" y="703"/>
                    <a:pt x="1876" y="635"/>
                    <a:pt x="1876" y="609"/>
                  </a:cubicBezTo>
                  <a:cubicBezTo>
                    <a:pt x="1876" y="583"/>
                    <a:pt x="1885" y="506"/>
                    <a:pt x="1868" y="506"/>
                  </a:cubicBezTo>
                  <a:cubicBezTo>
                    <a:pt x="1851" y="506"/>
                    <a:pt x="1851" y="515"/>
                    <a:pt x="1842" y="540"/>
                  </a:cubicBezTo>
                  <a:cubicBezTo>
                    <a:pt x="1834" y="557"/>
                    <a:pt x="1816" y="557"/>
                    <a:pt x="1816" y="574"/>
                  </a:cubicBezTo>
                  <a:cubicBezTo>
                    <a:pt x="1825" y="592"/>
                    <a:pt x="1851" y="618"/>
                    <a:pt x="1851" y="618"/>
                  </a:cubicBezTo>
                  <a:cubicBezTo>
                    <a:pt x="1851" y="618"/>
                    <a:pt x="1851" y="618"/>
                    <a:pt x="1834" y="618"/>
                  </a:cubicBezTo>
                  <a:cubicBezTo>
                    <a:pt x="1816" y="626"/>
                    <a:pt x="1825" y="669"/>
                    <a:pt x="1816" y="669"/>
                  </a:cubicBezTo>
                  <a:cubicBezTo>
                    <a:pt x="1816" y="669"/>
                    <a:pt x="1808" y="618"/>
                    <a:pt x="1799" y="609"/>
                  </a:cubicBezTo>
                  <a:cubicBezTo>
                    <a:pt x="1799" y="600"/>
                    <a:pt x="1808" y="566"/>
                    <a:pt x="1791" y="566"/>
                  </a:cubicBezTo>
                  <a:cubicBezTo>
                    <a:pt x="1774" y="566"/>
                    <a:pt x="1774" y="566"/>
                    <a:pt x="1765" y="574"/>
                  </a:cubicBezTo>
                  <a:cubicBezTo>
                    <a:pt x="1748" y="583"/>
                    <a:pt x="1739" y="609"/>
                    <a:pt x="1739" y="609"/>
                  </a:cubicBezTo>
                  <a:cubicBezTo>
                    <a:pt x="1739" y="609"/>
                    <a:pt x="1748" y="618"/>
                    <a:pt x="1748" y="643"/>
                  </a:cubicBezTo>
                  <a:cubicBezTo>
                    <a:pt x="1748" y="669"/>
                    <a:pt x="1739" y="695"/>
                    <a:pt x="1748" y="695"/>
                  </a:cubicBezTo>
                  <a:cubicBezTo>
                    <a:pt x="1765" y="695"/>
                    <a:pt x="1799" y="729"/>
                    <a:pt x="1791" y="729"/>
                  </a:cubicBezTo>
                  <a:cubicBezTo>
                    <a:pt x="1791" y="729"/>
                    <a:pt x="1782" y="720"/>
                    <a:pt x="1765" y="712"/>
                  </a:cubicBezTo>
                  <a:cubicBezTo>
                    <a:pt x="1756" y="712"/>
                    <a:pt x="1722" y="695"/>
                    <a:pt x="1722" y="677"/>
                  </a:cubicBezTo>
                  <a:cubicBezTo>
                    <a:pt x="1722" y="652"/>
                    <a:pt x="1739" y="643"/>
                    <a:pt x="1722" y="643"/>
                  </a:cubicBezTo>
                  <a:cubicBezTo>
                    <a:pt x="1714" y="652"/>
                    <a:pt x="1714" y="660"/>
                    <a:pt x="1697" y="669"/>
                  </a:cubicBezTo>
                  <a:cubicBezTo>
                    <a:pt x="1679" y="669"/>
                    <a:pt x="1679" y="677"/>
                    <a:pt x="1688" y="686"/>
                  </a:cubicBezTo>
                  <a:cubicBezTo>
                    <a:pt x="1697" y="703"/>
                    <a:pt x="1739" y="712"/>
                    <a:pt x="1739" y="712"/>
                  </a:cubicBezTo>
                  <a:cubicBezTo>
                    <a:pt x="1739" y="720"/>
                    <a:pt x="1731" y="720"/>
                    <a:pt x="1714" y="720"/>
                  </a:cubicBezTo>
                  <a:cubicBezTo>
                    <a:pt x="1688" y="729"/>
                    <a:pt x="1679" y="755"/>
                    <a:pt x="1679" y="746"/>
                  </a:cubicBezTo>
                  <a:cubicBezTo>
                    <a:pt x="1679" y="737"/>
                    <a:pt x="1688" y="729"/>
                    <a:pt x="1671" y="720"/>
                  </a:cubicBezTo>
                  <a:cubicBezTo>
                    <a:pt x="1662" y="703"/>
                    <a:pt x="1662" y="677"/>
                    <a:pt x="1653" y="695"/>
                  </a:cubicBezTo>
                  <a:cubicBezTo>
                    <a:pt x="1645" y="712"/>
                    <a:pt x="1628" y="712"/>
                    <a:pt x="1636" y="737"/>
                  </a:cubicBezTo>
                  <a:cubicBezTo>
                    <a:pt x="1645" y="755"/>
                    <a:pt x="1653" y="789"/>
                    <a:pt x="1645" y="789"/>
                  </a:cubicBezTo>
                  <a:cubicBezTo>
                    <a:pt x="1645" y="789"/>
                    <a:pt x="1636" y="772"/>
                    <a:pt x="1619" y="789"/>
                  </a:cubicBezTo>
                  <a:cubicBezTo>
                    <a:pt x="1594" y="815"/>
                    <a:pt x="1594" y="832"/>
                    <a:pt x="1594" y="849"/>
                  </a:cubicBezTo>
                  <a:cubicBezTo>
                    <a:pt x="1594" y="858"/>
                    <a:pt x="1611" y="866"/>
                    <a:pt x="1619" y="866"/>
                  </a:cubicBezTo>
                  <a:cubicBezTo>
                    <a:pt x="1619" y="875"/>
                    <a:pt x="1611" y="900"/>
                    <a:pt x="1611" y="900"/>
                  </a:cubicBezTo>
                  <a:cubicBezTo>
                    <a:pt x="1602" y="900"/>
                    <a:pt x="1576" y="892"/>
                    <a:pt x="1585" y="909"/>
                  </a:cubicBezTo>
                  <a:cubicBezTo>
                    <a:pt x="1585" y="917"/>
                    <a:pt x="1611" y="926"/>
                    <a:pt x="1602" y="926"/>
                  </a:cubicBezTo>
                  <a:cubicBezTo>
                    <a:pt x="1594" y="926"/>
                    <a:pt x="1576" y="926"/>
                    <a:pt x="1559" y="926"/>
                  </a:cubicBezTo>
                  <a:cubicBezTo>
                    <a:pt x="1551" y="935"/>
                    <a:pt x="1551" y="943"/>
                    <a:pt x="1551" y="943"/>
                  </a:cubicBezTo>
                  <a:cubicBezTo>
                    <a:pt x="1551" y="943"/>
                    <a:pt x="1525" y="926"/>
                    <a:pt x="1516" y="943"/>
                  </a:cubicBezTo>
                  <a:cubicBezTo>
                    <a:pt x="1508" y="952"/>
                    <a:pt x="1491" y="952"/>
                    <a:pt x="1499" y="969"/>
                  </a:cubicBezTo>
                  <a:cubicBezTo>
                    <a:pt x="1499" y="986"/>
                    <a:pt x="1491" y="1012"/>
                    <a:pt x="1508" y="1012"/>
                  </a:cubicBezTo>
                  <a:cubicBezTo>
                    <a:pt x="1525" y="1003"/>
                    <a:pt x="1542" y="995"/>
                    <a:pt x="1542" y="995"/>
                  </a:cubicBezTo>
                  <a:cubicBezTo>
                    <a:pt x="1542" y="995"/>
                    <a:pt x="1551" y="1012"/>
                    <a:pt x="1559" y="1003"/>
                  </a:cubicBezTo>
                  <a:cubicBezTo>
                    <a:pt x="1576" y="995"/>
                    <a:pt x="1594" y="977"/>
                    <a:pt x="1602" y="986"/>
                  </a:cubicBezTo>
                  <a:cubicBezTo>
                    <a:pt x="1619" y="995"/>
                    <a:pt x="1645" y="1012"/>
                    <a:pt x="1636" y="1012"/>
                  </a:cubicBezTo>
                  <a:cubicBezTo>
                    <a:pt x="1636" y="1012"/>
                    <a:pt x="1602" y="1003"/>
                    <a:pt x="1611" y="1012"/>
                  </a:cubicBezTo>
                  <a:cubicBezTo>
                    <a:pt x="1628" y="1029"/>
                    <a:pt x="1551" y="1012"/>
                    <a:pt x="1585" y="1055"/>
                  </a:cubicBezTo>
                  <a:cubicBezTo>
                    <a:pt x="1611" y="1089"/>
                    <a:pt x="1594" y="1089"/>
                    <a:pt x="1594" y="1080"/>
                  </a:cubicBezTo>
                  <a:cubicBezTo>
                    <a:pt x="1594" y="1080"/>
                    <a:pt x="1568" y="1038"/>
                    <a:pt x="1559" y="1038"/>
                  </a:cubicBezTo>
                  <a:cubicBezTo>
                    <a:pt x="1551" y="1038"/>
                    <a:pt x="1542" y="1046"/>
                    <a:pt x="1542" y="1046"/>
                  </a:cubicBezTo>
                  <a:cubicBezTo>
                    <a:pt x="1534" y="1046"/>
                    <a:pt x="1516" y="1020"/>
                    <a:pt x="1499" y="1020"/>
                  </a:cubicBezTo>
                  <a:cubicBezTo>
                    <a:pt x="1482" y="1029"/>
                    <a:pt x="1465" y="1055"/>
                    <a:pt x="1482" y="1055"/>
                  </a:cubicBezTo>
                  <a:cubicBezTo>
                    <a:pt x="1491" y="1055"/>
                    <a:pt x="1508" y="1063"/>
                    <a:pt x="1508" y="1080"/>
                  </a:cubicBezTo>
                  <a:cubicBezTo>
                    <a:pt x="1516" y="1089"/>
                    <a:pt x="1508" y="1089"/>
                    <a:pt x="1508" y="1106"/>
                  </a:cubicBezTo>
                  <a:cubicBezTo>
                    <a:pt x="1508" y="1123"/>
                    <a:pt x="1499" y="1149"/>
                    <a:pt x="1499" y="1175"/>
                  </a:cubicBezTo>
                  <a:cubicBezTo>
                    <a:pt x="1499" y="1192"/>
                    <a:pt x="1499" y="1209"/>
                    <a:pt x="1499" y="1209"/>
                  </a:cubicBezTo>
                  <a:cubicBezTo>
                    <a:pt x="1499" y="1209"/>
                    <a:pt x="1457" y="1175"/>
                    <a:pt x="1457" y="1149"/>
                  </a:cubicBezTo>
                  <a:cubicBezTo>
                    <a:pt x="1457" y="1123"/>
                    <a:pt x="1457" y="1115"/>
                    <a:pt x="1457" y="1106"/>
                  </a:cubicBezTo>
                  <a:cubicBezTo>
                    <a:pt x="1448" y="1089"/>
                    <a:pt x="1448" y="1080"/>
                    <a:pt x="1439" y="1080"/>
                  </a:cubicBezTo>
                  <a:cubicBezTo>
                    <a:pt x="1439" y="1080"/>
                    <a:pt x="1431" y="1123"/>
                    <a:pt x="1422" y="1123"/>
                  </a:cubicBezTo>
                  <a:cubicBezTo>
                    <a:pt x="1422" y="1123"/>
                    <a:pt x="1371" y="1149"/>
                    <a:pt x="1388" y="1149"/>
                  </a:cubicBezTo>
                  <a:cubicBezTo>
                    <a:pt x="1405" y="1157"/>
                    <a:pt x="1439" y="1149"/>
                    <a:pt x="1431" y="1157"/>
                  </a:cubicBezTo>
                  <a:cubicBezTo>
                    <a:pt x="1422" y="1166"/>
                    <a:pt x="1405" y="1183"/>
                    <a:pt x="1396" y="1183"/>
                  </a:cubicBezTo>
                  <a:cubicBezTo>
                    <a:pt x="1388" y="1192"/>
                    <a:pt x="1362" y="1209"/>
                    <a:pt x="1345" y="1209"/>
                  </a:cubicBezTo>
                  <a:cubicBezTo>
                    <a:pt x="1328" y="1217"/>
                    <a:pt x="1311" y="1235"/>
                    <a:pt x="1319" y="1235"/>
                  </a:cubicBezTo>
                  <a:cubicBezTo>
                    <a:pt x="1336" y="1235"/>
                    <a:pt x="1345" y="1235"/>
                    <a:pt x="1345" y="1243"/>
                  </a:cubicBezTo>
                  <a:cubicBezTo>
                    <a:pt x="1345" y="1243"/>
                    <a:pt x="1302" y="1278"/>
                    <a:pt x="1319" y="1278"/>
                  </a:cubicBezTo>
                  <a:cubicBezTo>
                    <a:pt x="1336" y="1278"/>
                    <a:pt x="1379" y="1226"/>
                    <a:pt x="1379" y="1217"/>
                  </a:cubicBezTo>
                  <a:cubicBezTo>
                    <a:pt x="1388" y="1209"/>
                    <a:pt x="1405" y="1226"/>
                    <a:pt x="1413" y="1235"/>
                  </a:cubicBezTo>
                  <a:cubicBezTo>
                    <a:pt x="1422" y="1235"/>
                    <a:pt x="1431" y="1252"/>
                    <a:pt x="1431" y="1252"/>
                  </a:cubicBezTo>
                  <a:cubicBezTo>
                    <a:pt x="1431" y="1252"/>
                    <a:pt x="1405" y="1252"/>
                    <a:pt x="1388" y="1260"/>
                  </a:cubicBezTo>
                  <a:cubicBezTo>
                    <a:pt x="1371" y="1269"/>
                    <a:pt x="1371" y="1312"/>
                    <a:pt x="1388" y="1320"/>
                  </a:cubicBezTo>
                  <a:cubicBezTo>
                    <a:pt x="1405" y="1320"/>
                    <a:pt x="1431" y="1286"/>
                    <a:pt x="1431" y="1295"/>
                  </a:cubicBezTo>
                  <a:cubicBezTo>
                    <a:pt x="1431" y="1295"/>
                    <a:pt x="1405" y="1329"/>
                    <a:pt x="1413" y="1338"/>
                  </a:cubicBezTo>
                  <a:cubicBezTo>
                    <a:pt x="1413" y="1338"/>
                    <a:pt x="1422" y="1338"/>
                    <a:pt x="1396" y="1329"/>
                  </a:cubicBezTo>
                  <a:cubicBezTo>
                    <a:pt x="1371" y="1320"/>
                    <a:pt x="1371" y="1338"/>
                    <a:pt x="1354" y="1329"/>
                  </a:cubicBezTo>
                  <a:cubicBezTo>
                    <a:pt x="1336" y="1312"/>
                    <a:pt x="1328" y="1338"/>
                    <a:pt x="1328" y="1338"/>
                  </a:cubicBezTo>
                  <a:cubicBezTo>
                    <a:pt x="1328" y="1346"/>
                    <a:pt x="1294" y="1372"/>
                    <a:pt x="1285" y="1380"/>
                  </a:cubicBezTo>
                  <a:cubicBezTo>
                    <a:pt x="1276" y="1389"/>
                    <a:pt x="1294" y="1397"/>
                    <a:pt x="1319" y="1389"/>
                  </a:cubicBezTo>
                  <a:cubicBezTo>
                    <a:pt x="1345" y="1389"/>
                    <a:pt x="1371" y="1389"/>
                    <a:pt x="1396" y="1389"/>
                  </a:cubicBezTo>
                  <a:cubicBezTo>
                    <a:pt x="1422" y="1397"/>
                    <a:pt x="1431" y="1406"/>
                    <a:pt x="1422" y="1397"/>
                  </a:cubicBezTo>
                  <a:cubicBezTo>
                    <a:pt x="1388" y="1397"/>
                    <a:pt x="1413" y="1423"/>
                    <a:pt x="1405" y="1423"/>
                  </a:cubicBezTo>
                  <a:cubicBezTo>
                    <a:pt x="1405" y="1432"/>
                    <a:pt x="1405" y="1415"/>
                    <a:pt x="1379" y="1415"/>
                  </a:cubicBezTo>
                  <a:cubicBezTo>
                    <a:pt x="1354" y="1415"/>
                    <a:pt x="1345" y="1397"/>
                    <a:pt x="1345" y="1415"/>
                  </a:cubicBezTo>
                  <a:cubicBezTo>
                    <a:pt x="1345" y="1432"/>
                    <a:pt x="1345" y="1440"/>
                    <a:pt x="1345" y="1440"/>
                  </a:cubicBezTo>
                  <a:cubicBezTo>
                    <a:pt x="1336" y="1440"/>
                    <a:pt x="1345" y="1406"/>
                    <a:pt x="1328" y="1406"/>
                  </a:cubicBezTo>
                  <a:cubicBezTo>
                    <a:pt x="1302" y="1415"/>
                    <a:pt x="1302" y="1423"/>
                    <a:pt x="1294" y="1423"/>
                  </a:cubicBezTo>
                  <a:cubicBezTo>
                    <a:pt x="1276" y="1423"/>
                    <a:pt x="1242" y="1423"/>
                    <a:pt x="1259" y="1440"/>
                  </a:cubicBezTo>
                  <a:cubicBezTo>
                    <a:pt x="1276" y="1449"/>
                    <a:pt x="1294" y="1457"/>
                    <a:pt x="1294" y="1457"/>
                  </a:cubicBezTo>
                  <a:cubicBezTo>
                    <a:pt x="1294" y="1457"/>
                    <a:pt x="1276" y="1457"/>
                    <a:pt x="1268" y="1466"/>
                  </a:cubicBezTo>
                  <a:cubicBezTo>
                    <a:pt x="1242" y="1483"/>
                    <a:pt x="1242" y="1492"/>
                    <a:pt x="1234" y="1492"/>
                  </a:cubicBezTo>
                  <a:cubicBezTo>
                    <a:pt x="1217" y="1492"/>
                    <a:pt x="1165" y="1500"/>
                    <a:pt x="1191" y="1509"/>
                  </a:cubicBezTo>
                  <a:cubicBezTo>
                    <a:pt x="1208" y="1509"/>
                    <a:pt x="1234" y="1543"/>
                    <a:pt x="1234" y="1543"/>
                  </a:cubicBezTo>
                  <a:cubicBezTo>
                    <a:pt x="1234" y="1543"/>
                    <a:pt x="1217" y="1543"/>
                    <a:pt x="1199" y="1560"/>
                  </a:cubicBezTo>
                  <a:cubicBezTo>
                    <a:pt x="1182" y="1578"/>
                    <a:pt x="1217" y="1560"/>
                    <a:pt x="1217" y="1560"/>
                  </a:cubicBezTo>
                  <a:cubicBezTo>
                    <a:pt x="1217" y="1560"/>
                    <a:pt x="1208" y="1578"/>
                    <a:pt x="1182" y="1586"/>
                  </a:cubicBezTo>
                  <a:cubicBezTo>
                    <a:pt x="1165" y="1595"/>
                    <a:pt x="1139" y="1595"/>
                    <a:pt x="1139" y="1612"/>
                  </a:cubicBezTo>
                  <a:cubicBezTo>
                    <a:pt x="1139" y="1612"/>
                    <a:pt x="1173" y="1612"/>
                    <a:pt x="1173" y="1620"/>
                  </a:cubicBezTo>
                  <a:cubicBezTo>
                    <a:pt x="1173" y="1620"/>
                    <a:pt x="1165" y="1620"/>
                    <a:pt x="1156" y="1629"/>
                  </a:cubicBezTo>
                  <a:cubicBezTo>
                    <a:pt x="1139" y="1646"/>
                    <a:pt x="1148" y="1646"/>
                    <a:pt x="1139" y="1663"/>
                  </a:cubicBezTo>
                  <a:cubicBezTo>
                    <a:pt x="1122" y="1672"/>
                    <a:pt x="1105" y="1706"/>
                    <a:pt x="1122" y="1706"/>
                  </a:cubicBezTo>
                  <a:cubicBezTo>
                    <a:pt x="1148" y="1706"/>
                    <a:pt x="1156" y="1698"/>
                    <a:pt x="1173" y="1706"/>
                  </a:cubicBezTo>
                  <a:cubicBezTo>
                    <a:pt x="1182" y="1723"/>
                    <a:pt x="1199" y="1723"/>
                    <a:pt x="1217" y="1715"/>
                  </a:cubicBezTo>
                  <a:cubicBezTo>
                    <a:pt x="1225" y="1715"/>
                    <a:pt x="1234" y="1698"/>
                    <a:pt x="1234" y="1698"/>
                  </a:cubicBezTo>
                  <a:cubicBezTo>
                    <a:pt x="1234" y="1706"/>
                    <a:pt x="1208" y="1723"/>
                    <a:pt x="1208" y="1732"/>
                  </a:cubicBezTo>
                  <a:cubicBezTo>
                    <a:pt x="1199" y="1740"/>
                    <a:pt x="1208" y="1740"/>
                    <a:pt x="1182" y="1732"/>
                  </a:cubicBezTo>
                  <a:cubicBezTo>
                    <a:pt x="1165" y="1723"/>
                    <a:pt x="1165" y="1715"/>
                    <a:pt x="1148" y="1723"/>
                  </a:cubicBezTo>
                  <a:cubicBezTo>
                    <a:pt x="1139" y="1740"/>
                    <a:pt x="1131" y="1749"/>
                    <a:pt x="1122" y="1758"/>
                  </a:cubicBezTo>
                  <a:cubicBezTo>
                    <a:pt x="1105" y="1758"/>
                    <a:pt x="1079" y="1766"/>
                    <a:pt x="1096" y="1775"/>
                  </a:cubicBezTo>
                  <a:cubicBezTo>
                    <a:pt x="1114" y="1792"/>
                    <a:pt x="1105" y="1783"/>
                    <a:pt x="1114" y="1800"/>
                  </a:cubicBezTo>
                  <a:cubicBezTo>
                    <a:pt x="1131" y="1817"/>
                    <a:pt x="1148" y="1800"/>
                    <a:pt x="1148" y="1826"/>
                  </a:cubicBezTo>
                  <a:cubicBezTo>
                    <a:pt x="1148" y="1835"/>
                    <a:pt x="1148" y="1843"/>
                    <a:pt x="1148" y="1843"/>
                  </a:cubicBezTo>
                  <a:cubicBezTo>
                    <a:pt x="1148" y="1843"/>
                    <a:pt x="1139" y="1826"/>
                    <a:pt x="1131" y="1826"/>
                  </a:cubicBezTo>
                  <a:cubicBezTo>
                    <a:pt x="1105" y="1817"/>
                    <a:pt x="1105" y="1800"/>
                    <a:pt x="1096" y="1817"/>
                  </a:cubicBezTo>
                  <a:cubicBezTo>
                    <a:pt x="1079" y="1835"/>
                    <a:pt x="1071" y="1843"/>
                    <a:pt x="1062" y="1843"/>
                  </a:cubicBezTo>
                  <a:cubicBezTo>
                    <a:pt x="1062" y="1852"/>
                    <a:pt x="1062" y="1852"/>
                    <a:pt x="1071" y="1860"/>
                  </a:cubicBezTo>
                  <a:cubicBezTo>
                    <a:pt x="1079" y="1860"/>
                    <a:pt x="1079" y="1886"/>
                    <a:pt x="1062" y="1886"/>
                  </a:cubicBezTo>
                  <a:cubicBezTo>
                    <a:pt x="1054" y="1886"/>
                    <a:pt x="1019" y="1886"/>
                    <a:pt x="1054" y="1895"/>
                  </a:cubicBezTo>
                  <a:cubicBezTo>
                    <a:pt x="1088" y="1912"/>
                    <a:pt x="1105" y="1912"/>
                    <a:pt x="1096" y="1929"/>
                  </a:cubicBezTo>
                  <a:cubicBezTo>
                    <a:pt x="1096" y="1946"/>
                    <a:pt x="1079" y="1955"/>
                    <a:pt x="1062" y="1955"/>
                  </a:cubicBezTo>
                  <a:cubicBezTo>
                    <a:pt x="1054" y="1946"/>
                    <a:pt x="1062" y="1972"/>
                    <a:pt x="1045" y="1989"/>
                  </a:cubicBezTo>
                  <a:cubicBezTo>
                    <a:pt x="1036" y="2006"/>
                    <a:pt x="1011" y="1998"/>
                    <a:pt x="1019" y="2006"/>
                  </a:cubicBezTo>
                  <a:cubicBezTo>
                    <a:pt x="1028" y="2023"/>
                    <a:pt x="1071" y="2023"/>
                    <a:pt x="1071" y="2032"/>
                  </a:cubicBezTo>
                  <a:cubicBezTo>
                    <a:pt x="1071" y="2040"/>
                    <a:pt x="1054" y="2066"/>
                    <a:pt x="1071" y="2057"/>
                  </a:cubicBezTo>
                  <a:cubicBezTo>
                    <a:pt x="1105" y="2032"/>
                    <a:pt x="1122" y="2006"/>
                    <a:pt x="1122" y="2006"/>
                  </a:cubicBezTo>
                  <a:cubicBezTo>
                    <a:pt x="1122" y="2015"/>
                    <a:pt x="1079" y="2075"/>
                    <a:pt x="1054" y="2083"/>
                  </a:cubicBezTo>
                  <a:cubicBezTo>
                    <a:pt x="1019" y="2092"/>
                    <a:pt x="1019" y="2075"/>
                    <a:pt x="1002" y="2092"/>
                  </a:cubicBezTo>
                  <a:cubicBezTo>
                    <a:pt x="977" y="2109"/>
                    <a:pt x="968" y="2109"/>
                    <a:pt x="959" y="2117"/>
                  </a:cubicBezTo>
                  <a:cubicBezTo>
                    <a:pt x="942" y="2135"/>
                    <a:pt x="908" y="2186"/>
                    <a:pt x="925" y="2178"/>
                  </a:cubicBezTo>
                  <a:cubicBezTo>
                    <a:pt x="933" y="2169"/>
                    <a:pt x="942" y="2152"/>
                    <a:pt x="968" y="2143"/>
                  </a:cubicBezTo>
                  <a:cubicBezTo>
                    <a:pt x="985" y="2135"/>
                    <a:pt x="1036" y="2109"/>
                    <a:pt x="1036" y="2117"/>
                  </a:cubicBezTo>
                  <a:cubicBezTo>
                    <a:pt x="1045" y="2126"/>
                    <a:pt x="1019" y="2117"/>
                    <a:pt x="994" y="2135"/>
                  </a:cubicBezTo>
                  <a:cubicBezTo>
                    <a:pt x="977" y="2152"/>
                    <a:pt x="959" y="2161"/>
                    <a:pt x="959" y="2161"/>
                  </a:cubicBezTo>
                  <a:cubicBezTo>
                    <a:pt x="959" y="2161"/>
                    <a:pt x="959" y="2178"/>
                    <a:pt x="942" y="2178"/>
                  </a:cubicBezTo>
                  <a:cubicBezTo>
                    <a:pt x="933" y="2186"/>
                    <a:pt x="899" y="2203"/>
                    <a:pt x="925" y="2212"/>
                  </a:cubicBezTo>
                  <a:cubicBezTo>
                    <a:pt x="942" y="2229"/>
                    <a:pt x="968" y="2238"/>
                    <a:pt x="968" y="2238"/>
                  </a:cubicBezTo>
                  <a:cubicBezTo>
                    <a:pt x="968" y="2238"/>
                    <a:pt x="951" y="2238"/>
                    <a:pt x="951" y="2246"/>
                  </a:cubicBezTo>
                  <a:cubicBezTo>
                    <a:pt x="951" y="2255"/>
                    <a:pt x="977" y="2263"/>
                    <a:pt x="977" y="2272"/>
                  </a:cubicBezTo>
                  <a:cubicBezTo>
                    <a:pt x="968" y="2272"/>
                    <a:pt x="951" y="2263"/>
                    <a:pt x="942" y="2272"/>
                  </a:cubicBezTo>
                  <a:cubicBezTo>
                    <a:pt x="933" y="2289"/>
                    <a:pt x="916" y="2315"/>
                    <a:pt x="908" y="2306"/>
                  </a:cubicBezTo>
                  <a:cubicBezTo>
                    <a:pt x="908" y="2306"/>
                    <a:pt x="925" y="2280"/>
                    <a:pt x="916" y="2280"/>
                  </a:cubicBezTo>
                  <a:cubicBezTo>
                    <a:pt x="899" y="2272"/>
                    <a:pt x="899" y="2272"/>
                    <a:pt x="891" y="2255"/>
                  </a:cubicBezTo>
                  <a:cubicBezTo>
                    <a:pt x="882" y="2238"/>
                    <a:pt x="873" y="2238"/>
                    <a:pt x="873" y="2246"/>
                  </a:cubicBezTo>
                  <a:cubicBezTo>
                    <a:pt x="865" y="2263"/>
                    <a:pt x="856" y="2263"/>
                    <a:pt x="848" y="2272"/>
                  </a:cubicBezTo>
                  <a:cubicBezTo>
                    <a:pt x="831" y="2280"/>
                    <a:pt x="839" y="2298"/>
                    <a:pt x="822" y="2315"/>
                  </a:cubicBezTo>
                  <a:cubicBezTo>
                    <a:pt x="805" y="2323"/>
                    <a:pt x="788" y="2315"/>
                    <a:pt x="788" y="2340"/>
                  </a:cubicBezTo>
                  <a:cubicBezTo>
                    <a:pt x="779" y="2357"/>
                    <a:pt x="796" y="2375"/>
                    <a:pt x="771" y="2383"/>
                  </a:cubicBezTo>
                  <a:cubicBezTo>
                    <a:pt x="754" y="2392"/>
                    <a:pt x="745" y="2401"/>
                    <a:pt x="754" y="2409"/>
                  </a:cubicBezTo>
                  <a:cubicBezTo>
                    <a:pt x="762" y="2418"/>
                    <a:pt x="771" y="2418"/>
                    <a:pt x="754" y="2435"/>
                  </a:cubicBezTo>
                  <a:cubicBezTo>
                    <a:pt x="745" y="2452"/>
                    <a:pt x="703" y="2486"/>
                    <a:pt x="703" y="2486"/>
                  </a:cubicBezTo>
                  <a:cubicBezTo>
                    <a:pt x="703" y="2486"/>
                    <a:pt x="712" y="2503"/>
                    <a:pt x="729" y="2495"/>
                  </a:cubicBezTo>
                  <a:cubicBezTo>
                    <a:pt x="754" y="2486"/>
                    <a:pt x="762" y="2469"/>
                    <a:pt x="762" y="2478"/>
                  </a:cubicBezTo>
                  <a:cubicBezTo>
                    <a:pt x="754" y="2495"/>
                    <a:pt x="737" y="2503"/>
                    <a:pt x="737" y="2520"/>
                  </a:cubicBezTo>
                  <a:cubicBezTo>
                    <a:pt x="737" y="2538"/>
                    <a:pt x="729" y="2546"/>
                    <a:pt x="745" y="2546"/>
                  </a:cubicBezTo>
                  <a:cubicBezTo>
                    <a:pt x="754" y="2546"/>
                    <a:pt x="779" y="2555"/>
                    <a:pt x="805" y="2529"/>
                  </a:cubicBezTo>
                  <a:cubicBezTo>
                    <a:pt x="839" y="2512"/>
                    <a:pt x="865" y="2503"/>
                    <a:pt x="882" y="2486"/>
                  </a:cubicBezTo>
                  <a:cubicBezTo>
                    <a:pt x="899" y="2469"/>
                    <a:pt x="899" y="2443"/>
                    <a:pt x="891" y="2452"/>
                  </a:cubicBezTo>
                  <a:cubicBezTo>
                    <a:pt x="873" y="2452"/>
                    <a:pt x="848" y="2469"/>
                    <a:pt x="848" y="2469"/>
                  </a:cubicBezTo>
                  <a:cubicBezTo>
                    <a:pt x="848" y="2469"/>
                    <a:pt x="865" y="2443"/>
                    <a:pt x="882" y="2426"/>
                  </a:cubicBezTo>
                  <a:cubicBezTo>
                    <a:pt x="899" y="2418"/>
                    <a:pt x="916" y="2383"/>
                    <a:pt x="925" y="2383"/>
                  </a:cubicBezTo>
                  <a:cubicBezTo>
                    <a:pt x="925" y="2383"/>
                    <a:pt x="968" y="2383"/>
                    <a:pt x="951" y="2392"/>
                  </a:cubicBezTo>
                  <a:cubicBezTo>
                    <a:pt x="933" y="2409"/>
                    <a:pt x="891" y="2443"/>
                    <a:pt x="908" y="2452"/>
                  </a:cubicBezTo>
                  <a:cubicBezTo>
                    <a:pt x="925" y="2460"/>
                    <a:pt x="951" y="2460"/>
                    <a:pt x="933" y="2469"/>
                  </a:cubicBezTo>
                  <a:cubicBezTo>
                    <a:pt x="916" y="2478"/>
                    <a:pt x="916" y="2486"/>
                    <a:pt x="891" y="2503"/>
                  </a:cubicBezTo>
                  <a:cubicBezTo>
                    <a:pt x="865" y="2520"/>
                    <a:pt x="839" y="2512"/>
                    <a:pt x="856" y="2538"/>
                  </a:cubicBezTo>
                  <a:cubicBezTo>
                    <a:pt x="865" y="2572"/>
                    <a:pt x="865" y="2581"/>
                    <a:pt x="856" y="2581"/>
                  </a:cubicBezTo>
                  <a:cubicBezTo>
                    <a:pt x="839" y="2589"/>
                    <a:pt x="788" y="2589"/>
                    <a:pt x="771" y="2589"/>
                  </a:cubicBezTo>
                  <a:cubicBezTo>
                    <a:pt x="762" y="2598"/>
                    <a:pt x="737" y="2606"/>
                    <a:pt x="737" y="2606"/>
                  </a:cubicBezTo>
                  <a:cubicBezTo>
                    <a:pt x="737" y="2606"/>
                    <a:pt x="737" y="2572"/>
                    <a:pt x="729" y="2572"/>
                  </a:cubicBezTo>
                  <a:cubicBezTo>
                    <a:pt x="720" y="2572"/>
                    <a:pt x="720" y="2589"/>
                    <a:pt x="712" y="2572"/>
                  </a:cubicBezTo>
                  <a:cubicBezTo>
                    <a:pt x="712" y="2555"/>
                    <a:pt x="703" y="2529"/>
                    <a:pt x="694" y="2538"/>
                  </a:cubicBezTo>
                  <a:cubicBezTo>
                    <a:pt x="677" y="2546"/>
                    <a:pt x="660" y="2563"/>
                    <a:pt x="652" y="2563"/>
                  </a:cubicBezTo>
                  <a:cubicBezTo>
                    <a:pt x="643" y="2563"/>
                    <a:pt x="626" y="2581"/>
                    <a:pt x="643" y="2589"/>
                  </a:cubicBezTo>
                  <a:cubicBezTo>
                    <a:pt x="660" y="2598"/>
                    <a:pt x="669" y="2598"/>
                    <a:pt x="669" y="2598"/>
                  </a:cubicBezTo>
                  <a:cubicBezTo>
                    <a:pt x="669" y="2598"/>
                    <a:pt x="652" y="2598"/>
                    <a:pt x="643" y="2615"/>
                  </a:cubicBezTo>
                  <a:cubicBezTo>
                    <a:pt x="635" y="2623"/>
                    <a:pt x="609" y="2641"/>
                    <a:pt x="609" y="2641"/>
                  </a:cubicBezTo>
                  <a:cubicBezTo>
                    <a:pt x="600" y="2641"/>
                    <a:pt x="626" y="2589"/>
                    <a:pt x="617" y="2581"/>
                  </a:cubicBezTo>
                  <a:cubicBezTo>
                    <a:pt x="600" y="2581"/>
                    <a:pt x="592" y="2589"/>
                    <a:pt x="583" y="2589"/>
                  </a:cubicBezTo>
                  <a:cubicBezTo>
                    <a:pt x="575" y="2598"/>
                    <a:pt x="575" y="2606"/>
                    <a:pt x="566" y="2606"/>
                  </a:cubicBezTo>
                  <a:cubicBezTo>
                    <a:pt x="566" y="2606"/>
                    <a:pt x="557" y="2606"/>
                    <a:pt x="557" y="2623"/>
                  </a:cubicBezTo>
                  <a:cubicBezTo>
                    <a:pt x="557" y="2641"/>
                    <a:pt x="532" y="2658"/>
                    <a:pt x="557" y="2658"/>
                  </a:cubicBezTo>
                  <a:cubicBezTo>
                    <a:pt x="592" y="2658"/>
                    <a:pt x="609" y="2658"/>
                    <a:pt x="609" y="2658"/>
                  </a:cubicBezTo>
                  <a:cubicBezTo>
                    <a:pt x="609" y="2658"/>
                    <a:pt x="575" y="2675"/>
                    <a:pt x="557" y="2675"/>
                  </a:cubicBezTo>
                  <a:cubicBezTo>
                    <a:pt x="549" y="2675"/>
                    <a:pt x="515" y="2666"/>
                    <a:pt x="515" y="2683"/>
                  </a:cubicBezTo>
                  <a:cubicBezTo>
                    <a:pt x="515" y="2700"/>
                    <a:pt x="523" y="2718"/>
                    <a:pt x="549" y="2718"/>
                  </a:cubicBezTo>
                  <a:cubicBezTo>
                    <a:pt x="575" y="2718"/>
                    <a:pt x="583" y="2709"/>
                    <a:pt x="575" y="2718"/>
                  </a:cubicBezTo>
                  <a:cubicBezTo>
                    <a:pt x="566" y="2718"/>
                    <a:pt x="523" y="2726"/>
                    <a:pt x="557" y="2752"/>
                  </a:cubicBezTo>
                  <a:cubicBezTo>
                    <a:pt x="566" y="2752"/>
                    <a:pt x="557" y="2752"/>
                    <a:pt x="540" y="2752"/>
                  </a:cubicBezTo>
                  <a:cubicBezTo>
                    <a:pt x="532" y="2752"/>
                    <a:pt x="506" y="2735"/>
                    <a:pt x="506" y="2752"/>
                  </a:cubicBezTo>
                  <a:cubicBezTo>
                    <a:pt x="515" y="2778"/>
                    <a:pt x="557" y="2795"/>
                    <a:pt x="557" y="2803"/>
                  </a:cubicBezTo>
                  <a:cubicBezTo>
                    <a:pt x="549" y="2803"/>
                    <a:pt x="515" y="2786"/>
                    <a:pt x="498" y="2760"/>
                  </a:cubicBezTo>
                  <a:cubicBezTo>
                    <a:pt x="489" y="2726"/>
                    <a:pt x="480" y="2709"/>
                    <a:pt x="472" y="2709"/>
                  </a:cubicBezTo>
                  <a:cubicBezTo>
                    <a:pt x="463" y="2709"/>
                    <a:pt x="463" y="2726"/>
                    <a:pt x="446" y="2726"/>
                  </a:cubicBezTo>
                  <a:cubicBezTo>
                    <a:pt x="429" y="2726"/>
                    <a:pt x="437" y="2718"/>
                    <a:pt x="420" y="2735"/>
                  </a:cubicBezTo>
                  <a:cubicBezTo>
                    <a:pt x="395" y="2743"/>
                    <a:pt x="395" y="2709"/>
                    <a:pt x="377" y="2709"/>
                  </a:cubicBezTo>
                  <a:cubicBezTo>
                    <a:pt x="360" y="2718"/>
                    <a:pt x="326" y="2718"/>
                    <a:pt x="335" y="2735"/>
                  </a:cubicBezTo>
                  <a:cubicBezTo>
                    <a:pt x="343" y="2743"/>
                    <a:pt x="360" y="2752"/>
                    <a:pt x="360" y="2752"/>
                  </a:cubicBezTo>
                  <a:cubicBezTo>
                    <a:pt x="360" y="2760"/>
                    <a:pt x="343" y="2752"/>
                    <a:pt x="335" y="2769"/>
                  </a:cubicBezTo>
                  <a:cubicBezTo>
                    <a:pt x="326" y="2778"/>
                    <a:pt x="335" y="2786"/>
                    <a:pt x="352" y="2786"/>
                  </a:cubicBezTo>
                  <a:cubicBezTo>
                    <a:pt x="369" y="2786"/>
                    <a:pt x="412" y="2760"/>
                    <a:pt x="412" y="2769"/>
                  </a:cubicBezTo>
                  <a:cubicBezTo>
                    <a:pt x="412" y="2769"/>
                    <a:pt x="395" y="2778"/>
                    <a:pt x="395" y="2786"/>
                  </a:cubicBezTo>
                  <a:cubicBezTo>
                    <a:pt x="395" y="2795"/>
                    <a:pt x="386" y="2812"/>
                    <a:pt x="412" y="2812"/>
                  </a:cubicBezTo>
                  <a:cubicBezTo>
                    <a:pt x="429" y="2803"/>
                    <a:pt x="454" y="2769"/>
                    <a:pt x="472" y="2786"/>
                  </a:cubicBezTo>
                  <a:cubicBezTo>
                    <a:pt x="480" y="2803"/>
                    <a:pt x="480" y="2803"/>
                    <a:pt x="480" y="2803"/>
                  </a:cubicBezTo>
                  <a:cubicBezTo>
                    <a:pt x="480" y="2803"/>
                    <a:pt x="472" y="2795"/>
                    <a:pt x="454" y="2795"/>
                  </a:cubicBezTo>
                  <a:cubicBezTo>
                    <a:pt x="429" y="2803"/>
                    <a:pt x="403" y="2812"/>
                    <a:pt x="412" y="2821"/>
                  </a:cubicBezTo>
                  <a:cubicBezTo>
                    <a:pt x="420" y="2829"/>
                    <a:pt x="429" y="2838"/>
                    <a:pt x="429" y="2846"/>
                  </a:cubicBezTo>
                  <a:cubicBezTo>
                    <a:pt x="429" y="2846"/>
                    <a:pt x="429" y="2855"/>
                    <a:pt x="403" y="2846"/>
                  </a:cubicBezTo>
                  <a:cubicBezTo>
                    <a:pt x="386" y="2829"/>
                    <a:pt x="395" y="2829"/>
                    <a:pt x="369" y="2821"/>
                  </a:cubicBezTo>
                  <a:cubicBezTo>
                    <a:pt x="352" y="2821"/>
                    <a:pt x="352" y="2829"/>
                    <a:pt x="335" y="2821"/>
                  </a:cubicBezTo>
                  <a:cubicBezTo>
                    <a:pt x="309" y="2821"/>
                    <a:pt x="283" y="2829"/>
                    <a:pt x="283" y="2829"/>
                  </a:cubicBezTo>
                  <a:cubicBezTo>
                    <a:pt x="283" y="2829"/>
                    <a:pt x="223" y="2812"/>
                    <a:pt x="240" y="2829"/>
                  </a:cubicBezTo>
                  <a:cubicBezTo>
                    <a:pt x="258" y="2846"/>
                    <a:pt x="266" y="2846"/>
                    <a:pt x="283" y="2855"/>
                  </a:cubicBezTo>
                  <a:cubicBezTo>
                    <a:pt x="300" y="2872"/>
                    <a:pt x="326" y="2889"/>
                    <a:pt x="326" y="2906"/>
                  </a:cubicBezTo>
                  <a:cubicBezTo>
                    <a:pt x="326" y="2923"/>
                    <a:pt x="369" y="2923"/>
                    <a:pt x="369" y="2923"/>
                  </a:cubicBezTo>
                  <a:cubicBezTo>
                    <a:pt x="377" y="2932"/>
                    <a:pt x="343" y="2932"/>
                    <a:pt x="335" y="2932"/>
                  </a:cubicBezTo>
                  <a:cubicBezTo>
                    <a:pt x="335" y="2932"/>
                    <a:pt x="326" y="2958"/>
                    <a:pt x="335" y="2975"/>
                  </a:cubicBezTo>
                  <a:cubicBezTo>
                    <a:pt x="343" y="2992"/>
                    <a:pt x="317" y="2975"/>
                    <a:pt x="317" y="2949"/>
                  </a:cubicBezTo>
                  <a:cubicBezTo>
                    <a:pt x="326" y="2923"/>
                    <a:pt x="317" y="2915"/>
                    <a:pt x="317" y="2915"/>
                  </a:cubicBezTo>
                  <a:cubicBezTo>
                    <a:pt x="309" y="2906"/>
                    <a:pt x="317" y="2881"/>
                    <a:pt x="292" y="2881"/>
                  </a:cubicBezTo>
                  <a:cubicBezTo>
                    <a:pt x="266" y="2872"/>
                    <a:pt x="275" y="2881"/>
                    <a:pt x="258" y="2889"/>
                  </a:cubicBezTo>
                  <a:cubicBezTo>
                    <a:pt x="249" y="2898"/>
                    <a:pt x="249" y="2889"/>
                    <a:pt x="258" y="2923"/>
                  </a:cubicBezTo>
                  <a:cubicBezTo>
                    <a:pt x="266" y="2949"/>
                    <a:pt x="266" y="2966"/>
                    <a:pt x="266" y="2966"/>
                  </a:cubicBezTo>
                  <a:cubicBezTo>
                    <a:pt x="266" y="2966"/>
                    <a:pt x="258" y="2932"/>
                    <a:pt x="249" y="2915"/>
                  </a:cubicBezTo>
                  <a:cubicBezTo>
                    <a:pt x="232" y="2889"/>
                    <a:pt x="232" y="2889"/>
                    <a:pt x="214" y="2889"/>
                  </a:cubicBezTo>
                  <a:cubicBezTo>
                    <a:pt x="197" y="2898"/>
                    <a:pt x="180" y="2906"/>
                    <a:pt x="180" y="2923"/>
                  </a:cubicBezTo>
                  <a:cubicBezTo>
                    <a:pt x="180" y="2949"/>
                    <a:pt x="223" y="2975"/>
                    <a:pt x="223" y="2983"/>
                  </a:cubicBezTo>
                  <a:cubicBezTo>
                    <a:pt x="223" y="2983"/>
                    <a:pt x="214" y="2975"/>
                    <a:pt x="189" y="2983"/>
                  </a:cubicBezTo>
                  <a:cubicBezTo>
                    <a:pt x="172" y="2983"/>
                    <a:pt x="155" y="2992"/>
                    <a:pt x="155" y="2992"/>
                  </a:cubicBezTo>
                  <a:cubicBezTo>
                    <a:pt x="155" y="2983"/>
                    <a:pt x="189" y="2983"/>
                    <a:pt x="189" y="2958"/>
                  </a:cubicBezTo>
                  <a:cubicBezTo>
                    <a:pt x="180" y="2940"/>
                    <a:pt x="180" y="2915"/>
                    <a:pt x="155" y="2923"/>
                  </a:cubicBezTo>
                  <a:cubicBezTo>
                    <a:pt x="129" y="2932"/>
                    <a:pt x="155" y="2949"/>
                    <a:pt x="146" y="2949"/>
                  </a:cubicBezTo>
                  <a:cubicBezTo>
                    <a:pt x="137" y="2949"/>
                    <a:pt x="146" y="2940"/>
                    <a:pt x="129" y="2940"/>
                  </a:cubicBezTo>
                  <a:cubicBezTo>
                    <a:pt x="112" y="2949"/>
                    <a:pt x="95" y="2958"/>
                    <a:pt x="112" y="2966"/>
                  </a:cubicBezTo>
                  <a:cubicBezTo>
                    <a:pt x="129" y="2983"/>
                    <a:pt x="129" y="2983"/>
                    <a:pt x="120" y="2983"/>
                  </a:cubicBezTo>
                  <a:cubicBezTo>
                    <a:pt x="103" y="2992"/>
                    <a:pt x="69" y="2983"/>
                    <a:pt x="60" y="3000"/>
                  </a:cubicBezTo>
                  <a:cubicBezTo>
                    <a:pt x="60" y="3018"/>
                    <a:pt x="69" y="3018"/>
                    <a:pt x="95" y="3018"/>
                  </a:cubicBezTo>
                  <a:cubicBezTo>
                    <a:pt x="120" y="3018"/>
                    <a:pt x="129" y="3018"/>
                    <a:pt x="172" y="3035"/>
                  </a:cubicBezTo>
                  <a:cubicBezTo>
                    <a:pt x="214" y="3043"/>
                    <a:pt x="240" y="3061"/>
                    <a:pt x="258" y="3052"/>
                  </a:cubicBezTo>
                  <a:cubicBezTo>
                    <a:pt x="283" y="3052"/>
                    <a:pt x="292" y="3043"/>
                    <a:pt x="300" y="3043"/>
                  </a:cubicBezTo>
                  <a:cubicBezTo>
                    <a:pt x="300" y="3043"/>
                    <a:pt x="283" y="3061"/>
                    <a:pt x="258" y="3061"/>
                  </a:cubicBezTo>
                  <a:cubicBezTo>
                    <a:pt x="232" y="3061"/>
                    <a:pt x="197" y="3052"/>
                    <a:pt x="172" y="3043"/>
                  </a:cubicBezTo>
                  <a:cubicBezTo>
                    <a:pt x="137" y="3035"/>
                    <a:pt x="120" y="3026"/>
                    <a:pt x="95" y="3035"/>
                  </a:cubicBezTo>
                  <a:cubicBezTo>
                    <a:pt x="69" y="3035"/>
                    <a:pt x="69" y="3069"/>
                    <a:pt x="60" y="3069"/>
                  </a:cubicBezTo>
                  <a:cubicBezTo>
                    <a:pt x="52" y="3078"/>
                    <a:pt x="35" y="3061"/>
                    <a:pt x="35" y="3086"/>
                  </a:cubicBezTo>
                  <a:cubicBezTo>
                    <a:pt x="26" y="3103"/>
                    <a:pt x="26" y="3129"/>
                    <a:pt x="52" y="3129"/>
                  </a:cubicBezTo>
                  <a:cubicBezTo>
                    <a:pt x="77" y="3129"/>
                    <a:pt x="95" y="3121"/>
                    <a:pt x="86" y="3129"/>
                  </a:cubicBezTo>
                  <a:cubicBezTo>
                    <a:pt x="86" y="3138"/>
                    <a:pt x="77" y="3163"/>
                    <a:pt x="86" y="3163"/>
                  </a:cubicBezTo>
                  <a:cubicBezTo>
                    <a:pt x="103" y="3163"/>
                    <a:pt x="137" y="3146"/>
                    <a:pt x="146" y="3155"/>
                  </a:cubicBezTo>
                  <a:cubicBezTo>
                    <a:pt x="146" y="3163"/>
                    <a:pt x="112" y="3163"/>
                    <a:pt x="103" y="3163"/>
                  </a:cubicBezTo>
                  <a:cubicBezTo>
                    <a:pt x="86" y="3172"/>
                    <a:pt x="60" y="3172"/>
                    <a:pt x="52" y="3163"/>
                  </a:cubicBezTo>
                  <a:cubicBezTo>
                    <a:pt x="43" y="3155"/>
                    <a:pt x="18" y="3180"/>
                    <a:pt x="26" y="3189"/>
                  </a:cubicBezTo>
                  <a:cubicBezTo>
                    <a:pt x="43" y="3198"/>
                    <a:pt x="95" y="3189"/>
                    <a:pt x="95" y="3198"/>
                  </a:cubicBezTo>
                  <a:cubicBezTo>
                    <a:pt x="103" y="3198"/>
                    <a:pt x="52" y="3206"/>
                    <a:pt x="43" y="3206"/>
                  </a:cubicBezTo>
                  <a:cubicBezTo>
                    <a:pt x="26" y="3206"/>
                    <a:pt x="9" y="3215"/>
                    <a:pt x="26" y="3232"/>
                  </a:cubicBezTo>
                  <a:cubicBezTo>
                    <a:pt x="52" y="3240"/>
                    <a:pt x="60" y="3240"/>
                    <a:pt x="60" y="3258"/>
                  </a:cubicBezTo>
                  <a:cubicBezTo>
                    <a:pt x="69" y="3275"/>
                    <a:pt x="95" y="3266"/>
                    <a:pt x="120" y="3258"/>
                  </a:cubicBezTo>
                  <a:cubicBezTo>
                    <a:pt x="137" y="3258"/>
                    <a:pt x="155" y="3240"/>
                    <a:pt x="189" y="3258"/>
                  </a:cubicBezTo>
                  <a:cubicBezTo>
                    <a:pt x="223" y="3266"/>
                    <a:pt x="214" y="3275"/>
                    <a:pt x="232" y="3266"/>
                  </a:cubicBezTo>
                  <a:cubicBezTo>
                    <a:pt x="249" y="3266"/>
                    <a:pt x="275" y="3189"/>
                    <a:pt x="283" y="3198"/>
                  </a:cubicBezTo>
                  <a:cubicBezTo>
                    <a:pt x="283" y="3198"/>
                    <a:pt x="266" y="3249"/>
                    <a:pt x="283" y="3249"/>
                  </a:cubicBezTo>
                  <a:cubicBezTo>
                    <a:pt x="300" y="3249"/>
                    <a:pt x="317" y="3240"/>
                    <a:pt x="326" y="3249"/>
                  </a:cubicBezTo>
                  <a:cubicBezTo>
                    <a:pt x="335" y="3258"/>
                    <a:pt x="335" y="3266"/>
                    <a:pt x="352" y="3266"/>
                  </a:cubicBezTo>
                  <a:cubicBezTo>
                    <a:pt x="369" y="3258"/>
                    <a:pt x="386" y="3266"/>
                    <a:pt x="369" y="3240"/>
                  </a:cubicBezTo>
                  <a:cubicBezTo>
                    <a:pt x="360" y="3223"/>
                    <a:pt x="352" y="3206"/>
                    <a:pt x="360" y="3198"/>
                  </a:cubicBezTo>
                  <a:cubicBezTo>
                    <a:pt x="369" y="3189"/>
                    <a:pt x="395" y="3163"/>
                    <a:pt x="395" y="3163"/>
                  </a:cubicBezTo>
                  <a:cubicBezTo>
                    <a:pt x="369" y="3206"/>
                    <a:pt x="369" y="3206"/>
                    <a:pt x="369" y="3206"/>
                  </a:cubicBezTo>
                  <a:cubicBezTo>
                    <a:pt x="369" y="3206"/>
                    <a:pt x="369" y="3232"/>
                    <a:pt x="377" y="3232"/>
                  </a:cubicBezTo>
                  <a:cubicBezTo>
                    <a:pt x="386" y="3240"/>
                    <a:pt x="386" y="3258"/>
                    <a:pt x="395" y="3249"/>
                  </a:cubicBezTo>
                  <a:cubicBezTo>
                    <a:pt x="403" y="3240"/>
                    <a:pt x="412" y="3240"/>
                    <a:pt x="412" y="3240"/>
                  </a:cubicBezTo>
                  <a:cubicBezTo>
                    <a:pt x="420" y="3240"/>
                    <a:pt x="412" y="3258"/>
                    <a:pt x="403" y="3258"/>
                  </a:cubicBezTo>
                  <a:cubicBezTo>
                    <a:pt x="395" y="3258"/>
                    <a:pt x="369" y="3266"/>
                    <a:pt x="360" y="3266"/>
                  </a:cubicBezTo>
                  <a:cubicBezTo>
                    <a:pt x="360" y="3275"/>
                    <a:pt x="335" y="3275"/>
                    <a:pt x="326" y="3275"/>
                  </a:cubicBezTo>
                  <a:cubicBezTo>
                    <a:pt x="326" y="3275"/>
                    <a:pt x="300" y="3266"/>
                    <a:pt x="292" y="3266"/>
                  </a:cubicBezTo>
                  <a:cubicBezTo>
                    <a:pt x="292" y="3266"/>
                    <a:pt x="317" y="3292"/>
                    <a:pt x="326" y="3301"/>
                  </a:cubicBezTo>
                  <a:cubicBezTo>
                    <a:pt x="335" y="3309"/>
                    <a:pt x="335" y="3326"/>
                    <a:pt x="335" y="3326"/>
                  </a:cubicBezTo>
                  <a:cubicBezTo>
                    <a:pt x="335" y="3326"/>
                    <a:pt x="317" y="3318"/>
                    <a:pt x="309" y="3301"/>
                  </a:cubicBezTo>
                  <a:cubicBezTo>
                    <a:pt x="300" y="3292"/>
                    <a:pt x="283" y="3258"/>
                    <a:pt x="275" y="3258"/>
                  </a:cubicBezTo>
                  <a:cubicBezTo>
                    <a:pt x="266" y="3266"/>
                    <a:pt x="258" y="3266"/>
                    <a:pt x="249" y="3283"/>
                  </a:cubicBezTo>
                  <a:cubicBezTo>
                    <a:pt x="232" y="3292"/>
                    <a:pt x="232" y="3301"/>
                    <a:pt x="214" y="3292"/>
                  </a:cubicBezTo>
                  <a:cubicBezTo>
                    <a:pt x="197" y="3283"/>
                    <a:pt x="189" y="3266"/>
                    <a:pt x="163" y="3266"/>
                  </a:cubicBezTo>
                  <a:cubicBezTo>
                    <a:pt x="137" y="3266"/>
                    <a:pt x="120" y="3275"/>
                    <a:pt x="112" y="3275"/>
                  </a:cubicBezTo>
                  <a:cubicBezTo>
                    <a:pt x="95" y="3283"/>
                    <a:pt x="86" y="3292"/>
                    <a:pt x="69" y="3283"/>
                  </a:cubicBezTo>
                  <a:cubicBezTo>
                    <a:pt x="52" y="3275"/>
                    <a:pt x="35" y="3266"/>
                    <a:pt x="26" y="3275"/>
                  </a:cubicBezTo>
                  <a:cubicBezTo>
                    <a:pt x="26" y="3275"/>
                    <a:pt x="0" y="3292"/>
                    <a:pt x="26" y="3301"/>
                  </a:cubicBezTo>
                  <a:cubicBezTo>
                    <a:pt x="43" y="3301"/>
                    <a:pt x="60" y="3301"/>
                    <a:pt x="52" y="3309"/>
                  </a:cubicBezTo>
                  <a:cubicBezTo>
                    <a:pt x="52" y="3309"/>
                    <a:pt x="26" y="3318"/>
                    <a:pt x="35" y="3335"/>
                  </a:cubicBezTo>
                  <a:cubicBezTo>
                    <a:pt x="35" y="3352"/>
                    <a:pt x="43" y="3361"/>
                    <a:pt x="52" y="3352"/>
                  </a:cubicBezTo>
                  <a:cubicBezTo>
                    <a:pt x="69" y="3335"/>
                    <a:pt x="86" y="3326"/>
                    <a:pt x="95" y="3335"/>
                  </a:cubicBezTo>
                  <a:cubicBezTo>
                    <a:pt x="95" y="3335"/>
                    <a:pt x="69" y="3343"/>
                    <a:pt x="69" y="3361"/>
                  </a:cubicBezTo>
                  <a:cubicBezTo>
                    <a:pt x="69" y="3386"/>
                    <a:pt x="69" y="3403"/>
                    <a:pt x="86" y="3395"/>
                  </a:cubicBezTo>
                  <a:cubicBezTo>
                    <a:pt x="112" y="3395"/>
                    <a:pt x="129" y="3369"/>
                    <a:pt x="129" y="3378"/>
                  </a:cubicBezTo>
                  <a:cubicBezTo>
                    <a:pt x="129" y="3378"/>
                    <a:pt x="137" y="3403"/>
                    <a:pt x="129" y="3429"/>
                  </a:cubicBezTo>
                  <a:cubicBezTo>
                    <a:pt x="120" y="3463"/>
                    <a:pt x="112" y="3481"/>
                    <a:pt x="103" y="3489"/>
                  </a:cubicBezTo>
                  <a:cubicBezTo>
                    <a:pt x="103" y="3498"/>
                    <a:pt x="86" y="3532"/>
                    <a:pt x="95" y="3541"/>
                  </a:cubicBezTo>
                  <a:cubicBezTo>
                    <a:pt x="95" y="3549"/>
                    <a:pt x="112" y="3541"/>
                    <a:pt x="112" y="3558"/>
                  </a:cubicBezTo>
                  <a:cubicBezTo>
                    <a:pt x="112" y="3566"/>
                    <a:pt x="112" y="3601"/>
                    <a:pt x="129" y="3601"/>
                  </a:cubicBezTo>
                  <a:cubicBezTo>
                    <a:pt x="137" y="3601"/>
                    <a:pt x="146" y="3575"/>
                    <a:pt x="146" y="3558"/>
                  </a:cubicBezTo>
                  <a:cubicBezTo>
                    <a:pt x="146" y="3532"/>
                    <a:pt x="155" y="3515"/>
                    <a:pt x="180" y="3506"/>
                  </a:cubicBezTo>
                  <a:cubicBezTo>
                    <a:pt x="206" y="3498"/>
                    <a:pt x="232" y="3481"/>
                    <a:pt x="240" y="3472"/>
                  </a:cubicBezTo>
                  <a:cubicBezTo>
                    <a:pt x="249" y="3463"/>
                    <a:pt x="275" y="3463"/>
                    <a:pt x="283" y="3463"/>
                  </a:cubicBezTo>
                  <a:cubicBezTo>
                    <a:pt x="317" y="3438"/>
                    <a:pt x="317" y="3438"/>
                    <a:pt x="317" y="3438"/>
                  </a:cubicBezTo>
                  <a:cubicBezTo>
                    <a:pt x="317" y="3429"/>
                    <a:pt x="309" y="3455"/>
                    <a:pt x="309" y="3455"/>
                  </a:cubicBezTo>
                  <a:cubicBezTo>
                    <a:pt x="309" y="3463"/>
                    <a:pt x="317" y="3463"/>
                    <a:pt x="326" y="3463"/>
                  </a:cubicBezTo>
                  <a:cubicBezTo>
                    <a:pt x="326" y="3463"/>
                    <a:pt x="317" y="3463"/>
                    <a:pt x="300" y="3472"/>
                  </a:cubicBezTo>
                  <a:cubicBezTo>
                    <a:pt x="283" y="3472"/>
                    <a:pt x="266" y="3472"/>
                    <a:pt x="258" y="3489"/>
                  </a:cubicBezTo>
                  <a:cubicBezTo>
                    <a:pt x="258" y="3506"/>
                    <a:pt x="240" y="3566"/>
                    <a:pt x="232" y="3566"/>
                  </a:cubicBezTo>
                  <a:cubicBezTo>
                    <a:pt x="232" y="3558"/>
                    <a:pt x="232" y="3498"/>
                    <a:pt x="232" y="3498"/>
                  </a:cubicBezTo>
                  <a:cubicBezTo>
                    <a:pt x="232" y="3498"/>
                    <a:pt x="223" y="3506"/>
                    <a:pt x="206" y="3515"/>
                  </a:cubicBezTo>
                  <a:cubicBezTo>
                    <a:pt x="189" y="3532"/>
                    <a:pt x="155" y="3558"/>
                    <a:pt x="172" y="3558"/>
                  </a:cubicBezTo>
                  <a:cubicBezTo>
                    <a:pt x="189" y="3558"/>
                    <a:pt x="197" y="3558"/>
                    <a:pt x="197" y="3558"/>
                  </a:cubicBezTo>
                  <a:cubicBezTo>
                    <a:pt x="206" y="3566"/>
                    <a:pt x="180" y="3566"/>
                    <a:pt x="172" y="3575"/>
                  </a:cubicBezTo>
                  <a:cubicBezTo>
                    <a:pt x="163" y="3592"/>
                    <a:pt x="146" y="3609"/>
                    <a:pt x="137" y="3618"/>
                  </a:cubicBezTo>
                  <a:cubicBezTo>
                    <a:pt x="129" y="3635"/>
                    <a:pt x="120" y="3635"/>
                    <a:pt x="120" y="3643"/>
                  </a:cubicBezTo>
                  <a:cubicBezTo>
                    <a:pt x="112" y="3643"/>
                    <a:pt x="120" y="3660"/>
                    <a:pt x="137" y="3669"/>
                  </a:cubicBezTo>
                  <a:cubicBezTo>
                    <a:pt x="163" y="3678"/>
                    <a:pt x="180" y="3643"/>
                    <a:pt x="189" y="3643"/>
                  </a:cubicBezTo>
                  <a:cubicBezTo>
                    <a:pt x="189" y="3652"/>
                    <a:pt x="163" y="3678"/>
                    <a:pt x="146" y="3686"/>
                  </a:cubicBezTo>
                  <a:cubicBezTo>
                    <a:pt x="137" y="3686"/>
                    <a:pt x="120" y="3695"/>
                    <a:pt x="120" y="3704"/>
                  </a:cubicBezTo>
                  <a:cubicBezTo>
                    <a:pt x="120" y="3712"/>
                    <a:pt x="95" y="3686"/>
                    <a:pt x="86" y="3704"/>
                  </a:cubicBezTo>
                  <a:cubicBezTo>
                    <a:pt x="86" y="3721"/>
                    <a:pt x="77" y="3738"/>
                    <a:pt x="69" y="3738"/>
                  </a:cubicBezTo>
                  <a:cubicBezTo>
                    <a:pt x="60" y="3738"/>
                    <a:pt x="26" y="3738"/>
                    <a:pt x="26" y="3755"/>
                  </a:cubicBezTo>
                  <a:cubicBezTo>
                    <a:pt x="26" y="3772"/>
                    <a:pt x="35" y="3789"/>
                    <a:pt x="60" y="3789"/>
                  </a:cubicBezTo>
                  <a:cubicBezTo>
                    <a:pt x="77" y="3789"/>
                    <a:pt x="86" y="3823"/>
                    <a:pt x="86" y="3806"/>
                  </a:cubicBezTo>
                  <a:cubicBezTo>
                    <a:pt x="86" y="3789"/>
                    <a:pt x="77" y="3755"/>
                    <a:pt x="86" y="3755"/>
                  </a:cubicBezTo>
                  <a:cubicBezTo>
                    <a:pt x="86" y="3755"/>
                    <a:pt x="86" y="3806"/>
                    <a:pt x="95" y="3806"/>
                  </a:cubicBezTo>
                  <a:cubicBezTo>
                    <a:pt x="112" y="3806"/>
                    <a:pt x="120" y="3798"/>
                    <a:pt x="120" y="3789"/>
                  </a:cubicBezTo>
                  <a:cubicBezTo>
                    <a:pt x="120" y="3781"/>
                    <a:pt x="103" y="3763"/>
                    <a:pt x="120" y="3763"/>
                  </a:cubicBezTo>
                  <a:cubicBezTo>
                    <a:pt x="137" y="3755"/>
                    <a:pt x="129" y="3772"/>
                    <a:pt x="155" y="3763"/>
                  </a:cubicBezTo>
                  <a:cubicBezTo>
                    <a:pt x="172" y="3755"/>
                    <a:pt x="197" y="3729"/>
                    <a:pt x="197" y="3729"/>
                  </a:cubicBezTo>
                  <a:cubicBezTo>
                    <a:pt x="206" y="3729"/>
                    <a:pt x="223" y="3729"/>
                    <a:pt x="214" y="3738"/>
                  </a:cubicBezTo>
                  <a:cubicBezTo>
                    <a:pt x="206" y="3746"/>
                    <a:pt x="180" y="3746"/>
                    <a:pt x="172" y="3763"/>
                  </a:cubicBezTo>
                  <a:cubicBezTo>
                    <a:pt x="163" y="3781"/>
                    <a:pt x="146" y="3806"/>
                    <a:pt x="155" y="3806"/>
                  </a:cubicBezTo>
                  <a:cubicBezTo>
                    <a:pt x="172" y="3815"/>
                    <a:pt x="214" y="3806"/>
                    <a:pt x="214" y="3806"/>
                  </a:cubicBezTo>
                  <a:cubicBezTo>
                    <a:pt x="214" y="3806"/>
                    <a:pt x="129" y="3832"/>
                    <a:pt x="146" y="3849"/>
                  </a:cubicBezTo>
                  <a:cubicBezTo>
                    <a:pt x="163" y="3866"/>
                    <a:pt x="155" y="3849"/>
                    <a:pt x="137" y="3866"/>
                  </a:cubicBezTo>
                  <a:cubicBezTo>
                    <a:pt x="120" y="3875"/>
                    <a:pt x="129" y="3900"/>
                    <a:pt x="137" y="3909"/>
                  </a:cubicBezTo>
                  <a:cubicBezTo>
                    <a:pt x="137" y="3926"/>
                    <a:pt x="146" y="3909"/>
                    <a:pt x="163" y="3900"/>
                  </a:cubicBezTo>
                  <a:cubicBezTo>
                    <a:pt x="189" y="3892"/>
                    <a:pt x="232" y="3892"/>
                    <a:pt x="232" y="3892"/>
                  </a:cubicBezTo>
                  <a:cubicBezTo>
                    <a:pt x="232" y="3892"/>
                    <a:pt x="146" y="3909"/>
                    <a:pt x="155" y="3918"/>
                  </a:cubicBezTo>
                  <a:cubicBezTo>
                    <a:pt x="163" y="3935"/>
                    <a:pt x="172" y="3952"/>
                    <a:pt x="163" y="3952"/>
                  </a:cubicBezTo>
                  <a:cubicBezTo>
                    <a:pt x="163" y="3952"/>
                    <a:pt x="112" y="3918"/>
                    <a:pt x="103" y="3918"/>
                  </a:cubicBezTo>
                  <a:cubicBezTo>
                    <a:pt x="95" y="3918"/>
                    <a:pt x="77" y="3900"/>
                    <a:pt x="77" y="3926"/>
                  </a:cubicBezTo>
                  <a:cubicBezTo>
                    <a:pt x="69" y="3952"/>
                    <a:pt x="43" y="3986"/>
                    <a:pt x="60" y="4012"/>
                  </a:cubicBezTo>
                  <a:cubicBezTo>
                    <a:pt x="86" y="4038"/>
                    <a:pt x="155" y="4089"/>
                    <a:pt x="189" y="4115"/>
                  </a:cubicBezTo>
                  <a:cubicBezTo>
                    <a:pt x="214" y="4140"/>
                    <a:pt x="240" y="4132"/>
                    <a:pt x="249" y="4123"/>
                  </a:cubicBezTo>
                  <a:cubicBezTo>
                    <a:pt x="266" y="4115"/>
                    <a:pt x="223" y="4140"/>
                    <a:pt x="232" y="4158"/>
                  </a:cubicBezTo>
                  <a:cubicBezTo>
                    <a:pt x="232" y="4175"/>
                    <a:pt x="249" y="4184"/>
                    <a:pt x="275" y="4184"/>
                  </a:cubicBezTo>
                  <a:cubicBezTo>
                    <a:pt x="292" y="4184"/>
                    <a:pt x="275" y="4184"/>
                    <a:pt x="309" y="4192"/>
                  </a:cubicBezTo>
                  <a:cubicBezTo>
                    <a:pt x="352" y="4201"/>
                    <a:pt x="377" y="4209"/>
                    <a:pt x="403" y="4192"/>
                  </a:cubicBezTo>
                  <a:cubicBezTo>
                    <a:pt x="429" y="4184"/>
                    <a:pt x="454" y="4149"/>
                    <a:pt x="454" y="4149"/>
                  </a:cubicBezTo>
                  <a:cubicBezTo>
                    <a:pt x="454" y="4149"/>
                    <a:pt x="437" y="4192"/>
                    <a:pt x="472" y="4166"/>
                  </a:cubicBezTo>
                  <a:cubicBezTo>
                    <a:pt x="498" y="4140"/>
                    <a:pt x="515" y="4123"/>
                    <a:pt x="540" y="4106"/>
                  </a:cubicBezTo>
                  <a:cubicBezTo>
                    <a:pt x="566" y="4081"/>
                    <a:pt x="583" y="4055"/>
                    <a:pt x="592" y="4038"/>
                  </a:cubicBezTo>
                  <a:cubicBezTo>
                    <a:pt x="592" y="4029"/>
                    <a:pt x="600" y="4012"/>
                    <a:pt x="617" y="4003"/>
                  </a:cubicBezTo>
                  <a:cubicBezTo>
                    <a:pt x="626" y="4003"/>
                    <a:pt x="652" y="3978"/>
                    <a:pt x="652" y="3969"/>
                  </a:cubicBezTo>
                  <a:cubicBezTo>
                    <a:pt x="660" y="3961"/>
                    <a:pt x="694" y="3918"/>
                    <a:pt x="694" y="3909"/>
                  </a:cubicBezTo>
                  <a:cubicBezTo>
                    <a:pt x="694" y="3900"/>
                    <a:pt x="694" y="3875"/>
                    <a:pt x="694" y="3875"/>
                  </a:cubicBezTo>
                  <a:cubicBezTo>
                    <a:pt x="694" y="3875"/>
                    <a:pt x="703" y="3883"/>
                    <a:pt x="720" y="3900"/>
                  </a:cubicBezTo>
                  <a:cubicBezTo>
                    <a:pt x="737" y="3909"/>
                    <a:pt x="796" y="3900"/>
                    <a:pt x="796" y="3883"/>
                  </a:cubicBezTo>
                  <a:cubicBezTo>
                    <a:pt x="805" y="3866"/>
                    <a:pt x="814" y="3849"/>
                    <a:pt x="822" y="3832"/>
                  </a:cubicBezTo>
                  <a:cubicBezTo>
                    <a:pt x="822" y="3806"/>
                    <a:pt x="839" y="3789"/>
                    <a:pt x="822" y="3772"/>
                  </a:cubicBezTo>
                  <a:cubicBezTo>
                    <a:pt x="805" y="3763"/>
                    <a:pt x="796" y="3763"/>
                    <a:pt x="796" y="3746"/>
                  </a:cubicBezTo>
                  <a:cubicBezTo>
                    <a:pt x="805" y="3729"/>
                    <a:pt x="814" y="3729"/>
                    <a:pt x="814" y="3729"/>
                  </a:cubicBezTo>
                  <a:cubicBezTo>
                    <a:pt x="814" y="3729"/>
                    <a:pt x="822" y="3763"/>
                    <a:pt x="839" y="3746"/>
                  </a:cubicBezTo>
                  <a:cubicBezTo>
                    <a:pt x="856" y="3721"/>
                    <a:pt x="831" y="3704"/>
                    <a:pt x="831" y="3686"/>
                  </a:cubicBezTo>
                  <a:cubicBezTo>
                    <a:pt x="831" y="3678"/>
                    <a:pt x="848" y="3704"/>
                    <a:pt x="848" y="3746"/>
                  </a:cubicBezTo>
                  <a:cubicBezTo>
                    <a:pt x="848" y="3789"/>
                    <a:pt x="865" y="3815"/>
                    <a:pt x="873" y="3832"/>
                  </a:cubicBezTo>
                  <a:cubicBezTo>
                    <a:pt x="882" y="3841"/>
                    <a:pt x="908" y="3849"/>
                    <a:pt x="908" y="3866"/>
                  </a:cubicBezTo>
                  <a:cubicBezTo>
                    <a:pt x="916" y="3875"/>
                    <a:pt x="908" y="3883"/>
                    <a:pt x="925" y="3909"/>
                  </a:cubicBezTo>
                  <a:cubicBezTo>
                    <a:pt x="933" y="3900"/>
                    <a:pt x="942" y="3892"/>
                    <a:pt x="951" y="3883"/>
                  </a:cubicBezTo>
                  <a:cubicBezTo>
                    <a:pt x="977" y="3866"/>
                    <a:pt x="968" y="3918"/>
                    <a:pt x="994" y="3935"/>
                  </a:cubicBezTo>
                  <a:cubicBezTo>
                    <a:pt x="1019" y="3952"/>
                    <a:pt x="1002" y="3909"/>
                    <a:pt x="1019" y="3875"/>
                  </a:cubicBezTo>
                  <a:cubicBezTo>
                    <a:pt x="1036" y="3841"/>
                    <a:pt x="994" y="3755"/>
                    <a:pt x="994" y="3721"/>
                  </a:cubicBezTo>
                  <a:cubicBezTo>
                    <a:pt x="994" y="3686"/>
                    <a:pt x="1019" y="3704"/>
                    <a:pt x="1028" y="3678"/>
                  </a:cubicBezTo>
                  <a:cubicBezTo>
                    <a:pt x="1028" y="3652"/>
                    <a:pt x="1045" y="3643"/>
                    <a:pt x="1079" y="3626"/>
                  </a:cubicBezTo>
                  <a:cubicBezTo>
                    <a:pt x="1105" y="3609"/>
                    <a:pt x="1122" y="3566"/>
                    <a:pt x="1122" y="3541"/>
                  </a:cubicBezTo>
                  <a:cubicBezTo>
                    <a:pt x="1131" y="3515"/>
                    <a:pt x="1139" y="3463"/>
                    <a:pt x="1114" y="3420"/>
                  </a:cubicBezTo>
                  <a:cubicBezTo>
                    <a:pt x="1079" y="3369"/>
                    <a:pt x="1079" y="3309"/>
                    <a:pt x="1096" y="3292"/>
                  </a:cubicBezTo>
                  <a:cubicBezTo>
                    <a:pt x="1122" y="3275"/>
                    <a:pt x="1148" y="3283"/>
                    <a:pt x="1156" y="3266"/>
                  </a:cubicBezTo>
                  <a:cubicBezTo>
                    <a:pt x="1165" y="3240"/>
                    <a:pt x="1156" y="3189"/>
                    <a:pt x="1131" y="3155"/>
                  </a:cubicBezTo>
                  <a:cubicBezTo>
                    <a:pt x="1105" y="3121"/>
                    <a:pt x="1079" y="3129"/>
                    <a:pt x="1079" y="3112"/>
                  </a:cubicBezTo>
                  <a:cubicBezTo>
                    <a:pt x="1071" y="3086"/>
                    <a:pt x="1054" y="2992"/>
                    <a:pt x="1062" y="2966"/>
                  </a:cubicBezTo>
                  <a:cubicBezTo>
                    <a:pt x="1079" y="2940"/>
                    <a:pt x="1071" y="2898"/>
                    <a:pt x="1054" y="2872"/>
                  </a:cubicBezTo>
                  <a:cubicBezTo>
                    <a:pt x="1036" y="2838"/>
                    <a:pt x="1045" y="2778"/>
                    <a:pt x="1036" y="2752"/>
                  </a:cubicBezTo>
                  <a:cubicBezTo>
                    <a:pt x="1036" y="2735"/>
                    <a:pt x="1036" y="2658"/>
                    <a:pt x="1036" y="2641"/>
                  </a:cubicBezTo>
                  <a:cubicBezTo>
                    <a:pt x="1028" y="2615"/>
                    <a:pt x="1036" y="2598"/>
                    <a:pt x="1045" y="2589"/>
                  </a:cubicBezTo>
                  <a:cubicBezTo>
                    <a:pt x="1045" y="2581"/>
                    <a:pt x="1036" y="2538"/>
                    <a:pt x="1054" y="2512"/>
                  </a:cubicBezTo>
                  <a:cubicBezTo>
                    <a:pt x="1079" y="2486"/>
                    <a:pt x="1122" y="2409"/>
                    <a:pt x="1148" y="2383"/>
                  </a:cubicBezTo>
                  <a:cubicBezTo>
                    <a:pt x="1182" y="2357"/>
                    <a:pt x="1259" y="2383"/>
                    <a:pt x="1276" y="2375"/>
                  </a:cubicBezTo>
                  <a:cubicBezTo>
                    <a:pt x="1294" y="2375"/>
                    <a:pt x="1294" y="2289"/>
                    <a:pt x="1285" y="2272"/>
                  </a:cubicBezTo>
                  <a:cubicBezTo>
                    <a:pt x="1285" y="2255"/>
                    <a:pt x="1251" y="2246"/>
                    <a:pt x="1234" y="2229"/>
                  </a:cubicBezTo>
                  <a:cubicBezTo>
                    <a:pt x="1225" y="2220"/>
                    <a:pt x="1234" y="2178"/>
                    <a:pt x="1259" y="2143"/>
                  </a:cubicBezTo>
                  <a:cubicBezTo>
                    <a:pt x="1285" y="2109"/>
                    <a:pt x="1311" y="2006"/>
                    <a:pt x="1311" y="1955"/>
                  </a:cubicBezTo>
                  <a:cubicBezTo>
                    <a:pt x="1311" y="1895"/>
                    <a:pt x="1311" y="1766"/>
                    <a:pt x="1311" y="1740"/>
                  </a:cubicBezTo>
                  <a:cubicBezTo>
                    <a:pt x="1319" y="1723"/>
                    <a:pt x="1379" y="1723"/>
                    <a:pt x="1405" y="1689"/>
                  </a:cubicBezTo>
                  <a:cubicBezTo>
                    <a:pt x="1431" y="1655"/>
                    <a:pt x="1413" y="1646"/>
                    <a:pt x="1413" y="1629"/>
                  </a:cubicBezTo>
                  <a:cubicBezTo>
                    <a:pt x="1413" y="1603"/>
                    <a:pt x="1431" y="1586"/>
                    <a:pt x="1457" y="1543"/>
                  </a:cubicBezTo>
                  <a:cubicBezTo>
                    <a:pt x="1474" y="1509"/>
                    <a:pt x="1508" y="1466"/>
                    <a:pt x="1516" y="1449"/>
                  </a:cubicBezTo>
                  <a:cubicBezTo>
                    <a:pt x="1525" y="1440"/>
                    <a:pt x="1508" y="1372"/>
                    <a:pt x="1491" y="1355"/>
                  </a:cubicBezTo>
                  <a:cubicBezTo>
                    <a:pt x="1474" y="1329"/>
                    <a:pt x="1474" y="1303"/>
                    <a:pt x="1491" y="1286"/>
                  </a:cubicBezTo>
                  <a:cubicBezTo>
                    <a:pt x="1508" y="1269"/>
                    <a:pt x="1516" y="1260"/>
                    <a:pt x="1525" y="1226"/>
                  </a:cubicBezTo>
                  <a:cubicBezTo>
                    <a:pt x="1534" y="1183"/>
                    <a:pt x="1551" y="1175"/>
                    <a:pt x="1559" y="1157"/>
                  </a:cubicBezTo>
                  <a:cubicBezTo>
                    <a:pt x="1568" y="1149"/>
                    <a:pt x="1594" y="1115"/>
                    <a:pt x="1611" y="1115"/>
                  </a:cubicBezTo>
                  <a:cubicBezTo>
                    <a:pt x="1628" y="1106"/>
                    <a:pt x="1645" y="1132"/>
                    <a:pt x="1645" y="1140"/>
                  </a:cubicBezTo>
                  <a:cubicBezTo>
                    <a:pt x="1653" y="1140"/>
                    <a:pt x="1671" y="1106"/>
                    <a:pt x="1688" y="1080"/>
                  </a:cubicBezTo>
                  <a:cubicBezTo>
                    <a:pt x="1705" y="1063"/>
                    <a:pt x="1671" y="1012"/>
                    <a:pt x="1671" y="995"/>
                  </a:cubicBezTo>
                  <a:cubicBezTo>
                    <a:pt x="1671" y="977"/>
                    <a:pt x="1679" y="960"/>
                    <a:pt x="1697" y="952"/>
                  </a:cubicBezTo>
                  <a:cubicBezTo>
                    <a:pt x="1705" y="952"/>
                    <a:pt x="1722" y="969"/>
                    <a:pt x="1748" y="969"/>
                  </a:cubicBezTo>
                  <a:cubicBezTo>
                    <a:pt x="1782" y="969"/>
                    <a:pt x="1851" y="986"/>
                    <a:pt x="1876" y="1003"/>
                  </a:cubicBezTo>
                  <a:cubicBezTo>
                    <a:pt x="1902" y="1012"/>
                    <a:pt x="1885" y="986"/>
                    <a:pt x="1902" y="969"/>
                  </a:cubicBezTo>
                  <a:cubicBezTo>
                    <a:pt x="1911" y="952"/>
                    <a:pt x="1885" y="935"/>
                    <a:pt x="1885" y="935"/>
                  </a:cubicBezTo>
                  <a:cubicBezTo>
                    <a:pt x="1885" y="935"/>
                    <a:pt x="1893" y="909"/>
                    <a:pt x="1911" y="883"/>
                  </a:cubicBezTo>
                  <a:cubicBezTo>
                    <a:pt x="1919" y="858"/>
                    <a:pt x="1885" y="806"/>
                    <a:pt x="1885" y="789"/>
                  </a:cubicBezTo>
                  <a:cubicBezTo>
                    <a:pt x="1876" y="772"/>
                    <a:pt x="1911" y="772"/>
                    <a:pt x="1937" y="772"/>
                  </a:cubicBezTo>
                  <a:cubicBezTo>
                    <a:pt x="1945" y="772"/>
                    <a:pt x="1945" y="772"/>
                    <a:pt x="1945" y="772"/>
                  </a:cubicBezTo>
                  <a:cubicBezTo>
                    <a:pt x="1945" y="772"/>
                    <a:pt x="1937" y="763"/>
                    <a:pt x="1945" y="76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3" name="Freeform 74"/>
            <p:cNvSpPr>
              <a:spLocks noChangeArrowheads="1"/>
            </p:cNvSpPr>
            <p:nvPr/>
          </p:nvSpPr>
          <p:spPr bwMode="auto">
            <a:xfrm>
              <a:off x="3165475" y="1047750"/>
              <a:ext cx="627063" cy="1139825"/>
            </a:xfrm>
            <a:custGeom>
              <a:avLst/>
              <a:gdLst>
                <a:gd name="T0" fmla="*/ 2147483647 w 1740"/>
                <a:gd name="T1" fmla="*/ 2147483647 h 3164"/>
                <a:gd name="T2" fmla="*/ 2147483647 w 1740"/>
                <a:gd name="T3" fmla="*/ 2147483647 h 3164"/>
                <a:gd name="T4" fmla="*/ 2147483647 w 1740"/>
                <a:gd name="T5" fmla="*/ 2147483647 h 3164"/>
                <a:gd name="T6" fmla="*/ 2147483647 w 1740"/>
                <a:gd name="T7" fmla="*/ 2147483647 h 3164"/>
                <a:gd name="T8" fmla="*/ 2147483647 w 1740"/>
                <a:gd name="T9" fmla="*/ 2147483647 h 3164"/>
                <a:gd name="T10" fmla="*/ 2147483647 w 1740"/>
                <a:gd name="T11" fmla="*/ 2147483647 h 3164"/>
                <a:gd name="T12" fmla="*/ 2147483647 w 1740"/>
                <a:gd name="T13" fmla="*/ 2147483647 h 3164"/>
                <a:gd name="T14" fmla="*/ 2147483647 w 1740"/>
                <a:gd name="T15" fmla="*/ 2147483647 h 3164"/>
                <a:gd name="T16" fmla="*/ 2147483647 w 1740"/>
                <a:gd name="T17" fmla="*/ 2147483647 h 3164"/>
                <a:gd name="T18" fmla="*/ 2147483647 w 1740"/>
                <a:gd name="T19" fmla="*/ 2147483647 h 3164"/>
                <a:gd name="T20" fmla="*/ 2147483647 w 1740"/>
                <a:gd name="T21" fmla="*/ 2147483647 h 3164"/>
                <a:gd name="T22" fmla="*/ 2147483647 w 1740"/>
                <a:gd name="T23" fmla="*/ 2147483647 h 3164"/>
                <a:gd name="T24" fmla="*/ 2147483647 w 1740"/>
                <a:gd name="T25" fmla="*/ 2147483647 h 3164"/>
                <a:gd name="T26" fmla="*/ 2147483647 w 1740"/>
                <a:gd name="T27" fmla="*/ 2147483647 h 3164"/>
                <a:gd name="T28" fmla="*/ 2147483647 w 1740"/>
                <a:gd name="T29" fmla="*/ 2147483647 h 3164"/>
                <a:gd name="T30" fmla="*/ 2147483647 w 1740"/>
                <a:gd name="T31" fmla="*/ 2147483647 h 3164"/>
                <a:gd name="T32" fmla="*/ 2147483647 w 1740"/>
                <a:gd name="T33" fmla="*/ 2147483647 h 3164"/>
                <a:gd name="T34" fmla="*/ 2147483647 w 1740"/>
                <a:gd name="T35" fmla="*/ 2147483647 h 3164"/>
                <a:gd name="T36" fmla="*/ 2147483647 w 1740"/>
                <a:gd name="T37" fmla="*/ 2147483647 h 3164"/>
                <a:gd name="T38" fmla="*/ 2147483647 w 1740"/>
                <a:gd name="T39" fmla="*/ 2147483647 h 3164"/>
                <a:gd name="T40" fmla="*/ 2147483647 w 1740"/>
                <a:gd name="T41" fmla="*/ 2147483647 h 3164"/>
                <a:gd name="T42" fmla="*/ 2147483647 w 1740"/>
                <a:gd name="T43" fmla="*/ 2147483647 h 3164"/>
                <a:gd name="T44" fmla="*/ 2147483647 w 1740"/>
                <a:gd name="T45" fmla="*/ 2147483647 h 3164"/>
                <a:gd name="T46" fmla="*/ 2147483647 w 1740"/>
                <a:gd name="T47" fmla="*/ 2147483647 h 3164"/>
                <a:gd name="T48" fmla="*/ 2147483647 w 1740"/>
                <a:gd name="T49" fmla="*/ 2147483647 h 3164"/>
                <a:gd name="T50" fmla="*/ 2147483647 w 1740"/>
                <a:gd name="T51" fmla="*/ 2147483647 h 3164"/>
                <a:gd name="T52" fmla="*/ 2147483647 w 1740"/>
                <a:gd name="T53" fmla="*/ 2147483647 h 3164"/>
                <a:gd name="T54" fmla="*/ 2147483647 w 1740"/>
                <a:gd name="T55" fmla="*/ 2147483647 h 3164"/>
                <a:gd name="T56" fmla="*/ 2147483647 w 1740"/>
                <a:gd name="T57" fmla="*/ 2147483647 h 3164"/>
                <a:gd name="T58" fmla="*/ 2147483647 w 1740"/>
                <a:gd name="T59" fmla="*/ 2147483647 h 3164"/>
                <a:gd name="T60" fmla="*/ 2147483647 w 1740"/>
                <a:gd name="T61" fmla="*/ 2147483647 h 3164"/>
                <a:gd name="T62" fmla="*/ 2147483647 w 1740"/>
                <a:gd name="T63" fmla="*/ 2147483647 h 3164"/>
                <a:gd name="T64" fmla="*/ 2147483647 w 1740"/>
                <a:gd name="T65" fmla="*/ 2147483647 h 3164"/>
                <a:gd name="T66" fmla="*/ 2147483647 w 1740"/>
                <a:gd name="T67" fmla="*/ 2147483647 h 3164"/>
                <a:gd name="T68" fmla="*/ 2147483647 w 1740"/>
                <a:gd name="T69" fmla="*/ 2147483647 h 3164"/>
                <a:gd name="T70" fmla="*/ 2147483647 w 1740"/>
                <a:gd name="T71" fmla="*/ 2147483647 h 3164"/>
                <a:gd name="T72" fmla="*/ 2147483647 w 1740"/>
                <a:gd name="T73" fmla="*/ 2147483647 h 3164"/>
                <a:gd name="T74" fmla="*/ 2147483647 w 1740"/>
                <a:gd name="T75" fmla="*/ 2147483647 h 3164"/>
                <a:gd name="T76" fmla="*/ 2147483647 w 1740"/>
                <a:gd name="T77" fmla="*/ 2147483647 h 3164"/>
                <a:gd name="T78" fmla="*/ 2147483647 w 1740"/>
                <a:gd name="T79" fmla="*/ 2147483647 h 3164"/>
                <a:gd name="T80" fmla="*/ 2147483647 w 1740"/>
                <a:gd name="T81" fmla="*/ 2147483647 h 3164"/>
                <a:gd name="T82" fmla="*/ 2147483647 w 1740"/>
                <a:gd name="T83" fmla="*/ 2147483647 h 3164"/>
                <a:gd name="T84" fmla="*/ 2147483647 w 1740"/>
                <a:gd name="T85" fmla="*/ 2147483647 h 3164"/>
                <a:gd name="T86" fmla="*/ 2147483647 w 1740"/>
                <a:gd name="T87" fmla="*/ 2147483647 h 3164"/>
                <a:gd name="T88" fmla="*/ 2147483647 w 1740"/>
                <a:gd name="T89" fmla="*/ 2147483647 h 3164"/>
                <a:gd name="T90" fmla="*/ 2147483647 w 1740"/>
                <a:gd name="T91" fmla="*/ 2147483647 h 3164"/>
                <a:gd name="T92" fmla="*/ 2147483647 w 1740"/>
                <a:gd name="T93" fmla="*/ 2147483647 h 3164"/>
                <a:gd name="T94" fmla="*/ 2147483647 w 1740"/>
                <a:gd name="T95" fmla="*/ 2147483647 h 3164"/>
                <a:gd name="T96" fmla="*/ 2147483647 w 1740"/>
                <a:gd name="T97" fmla="*/ 2147483647 h 3164"/>
                <a:gd name="T98" fmla="*/ 2147483647 w 1740"/>
                <a:gd name="T99" fmla="*/ 2147483647 h 3164"/>
                <a:gd name="T100" fmla="*/ 2147483647 w 1740"/>
                <a:gd name="T101" fmla="*/ 2147483647 h 3164"/>
                <a:gd name="T102" fmla="*/ 2147483647 w 1740"/>
                <a:gd name="T103" fmla="*/ 2147483647 h 3164"/>
                <a:gd name="T104" fmla="*/ 2147483647 w 1740"/>
                <a:gd name="T105" fmla="*/ 2147483647 h 3164"/>
                <a:gd name="T106" fmla="*/ 2147483647 w 1740"/>
                <a:gd name="T107" fmla="*/ 2147483647 h 3164"/>
                <a:gd name="T108" fmla="*/ 2147483647 w 1740"/>
                <a:gd name="T109" fmla="*/ 2147483647 h 3164"/>
                <a:gd name="T110" fmla="*/ 2147483647 w 1740"/>
                <a:gd name="T111" fmla="*/ 2147483647 h 3164"/>
                <a:gd name="T112" fmla="*/ 2147483647 w 1740"/>
                <a:gd name="T113" fmla="*/ 2147483647 h 31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740"/>
                <a:gd name="T172" fmla="*/ 0 h 3164"/>
                <a:gd name="T173" fmla="*/ 1740 w 1740"/>
                <a:gd name="T174" fmla="*/ 3164 h 31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740" h="3164">
                  <a:moveTo>
                    <a:pt x="1688" y="1946"/>
                  </a:moveTo>
                  <a:lnTo>
                    <a:pt x="1688" y="1946"/>
                  </a:lnTo>
                  <a:cubicBezTo>
                    <a:pt x="1671" y="1928"/>
                    <a:pt x="1602" y="1911"/>
                    <a:pt x="1551" y="1886"/>
                  </a:cubicBezTo>
                  <a:cubicBezTo>
                    <a:pt x="1491" y="1860"/>
                    <a:pt x="1482" y="1860"/>
                    <a:pt x="1465" y="1834"/>
                  </a:cubicBezTo>
                  <a:cubicBezTo>
                    <a:pt x="1448" y="1808"/>
                    <a:pt x="1491" y="1765"/>
                    <a:pt x="1508" y="1748"/>
                  </a:cubicBezTo>
                  <a:cubicBezTo>
                    <a:pt x="1525" y="1731"/>
                    <a:pt x="1499" y="1697"/>
                    <a:pt x="1482" y="1663"/>
                  </a:cubicBezTo>
                  <a:cubicBezTo>
                    <a:pt x="1465" y="1637"/>
                    <a:pt x="1422" y="1646"/>
                    <a:pt x="1414" y="1629"/>
                  </a:cubicBezTo>
                  <a:cubicBezTo>
                    <a:pt x="1405" y="1611"/>
                    <a:pt x="1405" y="1568"/>
                    <a:pt x="1405" y="1551"/>
                  </a:cubicBezTo>
                  <a:cubicBezTo>
                    <a:pt x="1405" y="1534"/>
                    <a:pt x="1405" y="1534"/>
                    <a:pt x="1371" y="1517"/>
                  </a:cubicBezTo>
                  <a:cubicBezTo>
                    <a:pt x="1345" y="1508"/>
                    <a:pt x="1319" y="1508"/>
                    <a:pt x="1302" y="1483"/>
                  </a:cubicBezTo>
                  <a:cubicBezTo>
                    <a:pt x="1285" y="1448"/>
                    <a:pt x="1311" y="1448"/>
                    <a:pt x="1311" y="1431"/>
                  </a:cubicBezTo>
                  <a:cubicBezTo>
                    <a:pt x="1311" y="1414"/>
                    <a:pt x="1302" y="1414"/>
                    <a:pt x="1294" y="1414"/>
                  </a:cubicBezTo>
                  <a:cubicBezTo>
                    <a:pt x="1285" y="1414"/>
                    <a:pt x="1285" y="1397"/>
                    <a:pt x="1294" y="1371"/>
                  </a:cubicBezTo>
                  <a:cubicBezTo>
                    <a:pt x="1302" y="1354"/>
                    <a:pt x="1285" y="1311"/>
                    <a:pt x="1277" y="1286"/>
                  </a:cubicBezTo>
                  <a:cubicBezTo>
                    <a:pt x="1268" y="1260"/>
                    <a:pt x="1302" y="1260"/>
                    <a:pt x="1302" y="1243"/>
                  </a:cubicBezTo>
                  <a:cubicBezTo>
                    <a:pt x="1311" y="1226"/>
                    <a:pt x="1251" y="1157"/>
                    <a:pt x="1225" y="1114"/>
                  </a:cubicBezTo>
                  <a:cubicBezTo>
                    <a:pt x="1208" y="1071"/>
                    <a:pt x="1122" y="977"/>
                    <a:pt x="1105" y="951"/>
                  </a:cubicBezTo>
                  <a:cubicBezTo>
                    <a:pt x="1079" y="917"/>
                    <a:pt x="1105" y="806"/>
                    <a:pt x="1131" y="763"/>
                  </a:cubicBezTo>
                  <a:cubicBezTo>
                    <a:pt x="1148" y="728"/>
                    <a:pt x="1122" y="685"/>
                    <a:pt x="1122" y="668"/>
                  </a:cubicBezTo>
                  <a:cubicBezTo>
                    <a:pt x="1114" y="651"/>
                    <a:pt x="1054" y="608"/>
                    <a:pt x="1037" y="591"/>
                  </a:cubicBezTo>
                  <a:cubicBezTo>
                    <a:pt x="1028" y="574"/>
                    <a:pt x="994" y="574"/>
                    <a:pt x="960" y="574"/>
                  </a:cubicBezTo>
                  <a:cubicBezTo>
                    <a:pt x="925" y="574"/>
                    <a:pt x="899" y="506"/>
                    <a:pt x="891" y="480"/>
                  </a:cubicBezTo>
                  <a:cubicBezTo>
                    <a:pt x="882" y="445"/>
                    <a:pt x="899" y="394"/>
                    <a:pt x="899" y="377"/>
                  </a:cubicBezTo>
                  <a:cubicBezTo>
                    <a:pt x="899" y="351"/>
                    <a:pt x="882" y="360"/>
                    <a:pt x="865" y="360"/>
                  </a:cubicBezTo>
                  <a:cubicBezTo>
                    <a:pt x="857" y="360"/>
                    <a:pt x="891" y="326"/>
                    <a:pt x="908" y="291"/>
                  </a:cubicBezTo>
                  <a:cubicBezTo>
                    <a:pt x="891" y="282"/>
                    <a:pt x="874" y="265"/>
                    <a:pt x="882" y="248"/>
                  </a:cubicBezTo>
                  <a:cubicBezTo>
                    <a:pt x="891" y="231"/>
                    <a:pt x="908" y="180"/>
                    <a:pt x="899" y="145"/>
                  </a:cubicBezTo>
                  <a:cubicBezTo>
                    <a:pt x="891" y="120"/>
                    <a:pt x="916" y="120"/>
                    <a:pt x="874" y="103"/>
                  </a:cubicBezTo>
                  <a:cubicBezTo>
                    <a:pt x="822" y="86"/>
                    <a:pt x="814" y="94"/>
                    <a:pt x="788" y="77"/>
                  </a:cubicBezTo>
                  <a:cubicBezTo>
                    <a:pt x="762" y="51"/>
                    <a:pt x="720" y="0"/>
                    <a:pt x="711" y="0"/>
                  </a:cubicBezTo>
                  <a:cubicBezTo>
                    <a:pt x="694" y="8"/>
                    <a:pt x="668" y="68"/>
                    <a:pt x="642" y="77"/>
                  </a:cubicBezTo>
                  <a:cubicBezTo>
                    <a:pt x="625" y="77"/>
                    <a:pt x="582" y="103"/>
                    <a:pt x="574" y="120"/>
                  </a:cubicBezTo>
                  <a:cubicBezTo>
                    <a:pt x="565" y="128"/>
                    <a:pt x="539" y="163"/>
                    <a:pt x="539" y="180"/>
                  </a:cubicBezTo>
                  <a:cubicBezTo>
                    <a:pt x="531" y="205"/>
                    <a:pt x="539" y="334"/>
                    <a:pt x="557" y="351"/>
                  </a:cubicBezTo>
                  <a:cubicBezTo>
                    <a:pt x="574" y="377"/>
                    <a:pt x="565" y="428"/>
                    <a:pt x="548" y="437"/>
                  </a:cubicBezTo>
                  <a:cubicBezTo>
                    <a:pt x="531" y="445"/>
                    <a:pt x="505" y="463"/>
                    <a:pt x="505" y="471"/>
                  </a:cubicBezTo>
                  <a:cubicBezTo>
                    <a:pt x="505" y="488"/>
                    <a:pt x="505" y="548"/>
                    <a:pt x="488" y="540"/>
                  </a:cubicBezTo>
                  <a:cubicBezTo>
                    <a:pt x="480" y="531"/>
                    <a:pt x="445" y="523"/>
                    <a:pt x="428" y="514"/>
                  </a:cubicBezTo>
                  <a:cubicBezTo>
                    <a:pt x="419" y="497"/>
                    <a:pt x="368" y="488"/>
                    <a:pt x="359" y="497"/>
                  </a:cubicBezTo>
                  <a:cubicBezTo>
                    <a:pt x="351" y="506"/>
                    <a:pt x="317" y="574"/>
                    <a:pt x="291" y="566"/>
                  </a:cubicBezTo>
                  <a:cubicBezTo>
                    <a:pt x="274" y="557"/>
                    <a:pt x="214" y="557"/>
                    <a:pt x="205" y="531"/>
                  </a:cubicBezTo>
                  <a:cubicBezTo>
                    <a:pt x="188" y="514"/>
                    <a:pt x="137" y="403"/>
                    <a:pt x="111" y="403"/>
                  </a:cubicBezTo>
                  <a:cubicBezTo>
                    <a:pt x="77" y="403"/>
                    <a:pt x="34" y="394"/>
                    <a:pt x="34" y="411"/>
                  </a:cubicBezTo>
                  <a:cubicBezTo>
                    <a:pt x="34" y="420"/>
                    <a:pt x="59" y="428"/>
                    <a:pt x="42" y="445"/>
                  </a:cubicBezTo>
                  <a:cubicBezTo>
                    <a:pt x="34" y="471"/>
                    <a:pt x="17" y="463"/>
                    <a:pt x="8" y="471"/>
                  </a:cubicBezTo>
                  <a:cubicBezTo>
                    <a:pt x="0" y="471"/>
                    <a:pt x="8" y="480"/>
                    <a:pt x="8" y="480"/>
                  </a:cubicBezTo>
                  <a:cubicBezTo>
                    <a:pt x="17" y="497"/>
                    <a:pt x="34" y="514"/>
                    <a:pt x="42" y="523"/>
                  </a:cubicBezTo>
                  <a:cubicBezTo>
                    <a:pt x="68" y="540"/>
                    <a:pt x="102" y="566"/>
                    <a:pt x="111" y="583"/>
                  </a:cubicBezTo>
                  <a:cubicBezTo>
                    <a:pt x="128" y="591"/>
                    <a:pt x="137" y="583"/>
                    <a:pt x="162" y="608"/>
                  </a:cubicBezTo>
                  <a:cubicBezTo>
                    <a:pt x="196" y="634"/>
                    <a:pt x="196" y="651"/>
                    <a:pt x="231" y="651"/>
                  </a:cubicBezTo>
                  <a:cubicBezTo>
                    <a:pt x="274" y="651"/>
                    <a:pt x="308" y="685"/>
                    <a:pt x="325" y="694"/>
                  </a:cubicBezTo>
                  <a:cubicBezTo>
                    <a:pt x="334" y="711"/>
                    <a:pt x="351" y="703"/>
                    <a:pt x="359" y="720"/>
                  </a:cubicBezTo>
                  <a:cubicBezTo>
                    <a:pt x="368" y="746"/>
                    <a:pt x="394" y="737"/>
                    <a:pt x="385" y="780"/>
                  </a:cubicBezTo>
                  <a:cubicBezTo>
                    <a:pt x="377" y="823"/>
                    <a:pt x="394" y="883"/>
                    <a:pt x="402" y="900"/>
                  </a:cubicBezTo>
                  <a:cubicBezTo>
                    <a:pt x="411" y="917"/>
                    <a:pt x="454" y="891"/>
                    <a:pt x="454" y="917"/>
                  </a:cubicBezTo>
                  <a:cubicBezTo>
                    <a:pt x="454" y="943"/>
                    <a:pt x="436" y="951"/>
                    <a:pt x="428" y="977"/>
                  </a:cubicBezTo>
                  <a:cubicBezTo>
                    <a:pt x="419" y="1011"/>
                    <a:pt x="488" y="1054"/>
                    <a:pt x="488" y="1088"/>
                  </a:cubicBezTo>
                  <a:cubicBezTo>
                    <a:pt x="488" y="1114"/>
                    <a:pt x="480" y="1191"/>
                    <a:pt x="480" y="1217"/>
                  </a:cubicBezTo>
                  <a:cubicBezTo>
                    <a:pt x="480" y="1243"/>
                    <a:pt x="497" y="1277"/>
                    <a:pt x="514" y="1294"/>
                  </a:cubicBezTo>
                  <a:cubicBezTo>
                    <a:pt x="531" y="1303"/>
                    <a:pt x="565" y="1345"/>
                    <a:pt x="582" y="1397"/>
                  </a:cubicBezTo>
                  <a:cubicBezTo>
                    <a:pt x="608" y="1397"/>
                    <a:pt x="625" y="1388"/>
                    <a:pt x="625" y="1397"/>
                  </a:cubicBezTo>
                  <a:cubicBezTo>
                    <a:pt x="642" y="1397"/>
                    <a:pt x="651" y="1440"/>
                    <a:pt x="668" y="1431"/>
                  </a:cubicBezTo>
                  <a:cubicBezTo>
                    <a:pt x="676" y="1414"/>
                    <a:pt x="676" y="1414"/>
                    <a:pt x="702" y="1431"/>
                  </a:cubicBezTo>
                  <a:cubicBezTo>
                    <a:pt x="728" y="1448"/>
                    <a:pt x="745" y="1448"/>
                    <a:pt x="745" y="1483"/>
                  </a:cubicBezTo>
                  <a:cubicBezTo>
                    <a:pt x="745" y="1508"/>
                    <a:pt x="754" y="1551"/>
                    <a:pt x="762" y="1568"/>
                  </a:cubicBezTo>
                  <a:cubicBezTo>
                    <a:pt x="771" y="1585"/>
                    <a:pt x="797" y="1620"/>
                    <a:pt x="788" y="1620"/>
                  </a:cubicBezTo>
                  <a:cubicBezTo>
                    <a:pt x="779" y="1611"/>
                    <a:pt x="771" y="1629"/>
                    <a:pt x="771" y="1629"/>
                  </a:cubicBezTo>
                  <a:cubicBezTo>
                    <a:pt x="771" y="1629"/>
                    <a:pt x="797" y="1671"/>
                    <a:pt x="788" y="1663"/>
                  </a:cubicBezTo>
                  <a:cubicBezTo>
                    <a:pt x="771" y="1654"/>
                    <a:pt x="779" y="1637"/>
                    <a:pt x="745" y="1654"/>
                  </a:cubicBezTo>
                  <a:cubicBezTo>
                    <a:pt x="711" y="1680"/>
                    <a:pt x="685" y="1714"/>
                    <a:pt x="685" y="1731"/>
                  </a:cubicBezTo>
                  <a:cubicBezTo>
                    <a:pt x="685" y="1748"/>
                    <a:pt x="659" y="1783"/>
                    <a:pt x="651" y="1808"/>
                  </a:cubicBezTo>
                  <a:cubicBezTo>
                    <a:pt x="642" y="1825"/>
                    <a:pt x="642" y="1860"/>
                    <a:pt x="642" y="1869"/>
                  </a:cubicBezTo>
                  <a:cubicBezTo>
                    <a:pt x="634" y="1877"/>
                    <a:pt x="634" y="1860"/>
                    <a:pt x="617" y="1886"/>
                  </a:cubicBezTo>
                  <a:cubicBezTo>
                    <a:pt x="599" y="1911"/>
                    <a:pt x="591" y="1946"/>
                    <a:pt x="591" y="1963"/>
                  </a:cubicBezTo>
                  <a:cubicBezTo>
                    <a:pt x="591" y="1980"/>
                    <a:pt x="548" y="1997"/>
                    <a:pt x="539" y="2031"/>
                  </a:cubicBezTo>
                  <a:cubicBezTo>
                    <a:pt x="531" y="2074"/>
                    <a:pt x="497" y="2091"/>
                    <a:pt x="488" y="2117"/>
                  </a:cubicBezTo>
                  <a:cubicBezTo>
                    <a:pt x="480" y="2143"/>
                    <a:pt x="480" y="2186"/>
                    <a:pt x="454" y="2203"/>
                  </a:cubicBezTo>
                  <a:cubicBezTo>
                    <a:pt x="428" y="2220"/>
                    <a:pt x="411" y="2220"/>
                    <a:pt x="394" y="2237"/>
                  </a:cubicBezTo>
                  <a:cubicBezTo>
                    <a:pt x="385" y="2254"/>
                    <a:pt x="377" y="2314"/>
                    <a:pt x="368" y="2349"/>
                  </a:cubicBezTo>
                  <a:cubicBezTo>
                    <a:pt x="359" y="2383"/>
                    <a:pt x="334" y="2366"/>
                    <a:pt x="359" y="2426"/>
                  </a:cubicBezTo>
                  <a:cubicBezTo>
                    <a:pt x="377" y="2477"/>
                    <a:pt x="402" y="2511"/>
                    <a:pt x="402" y="2546"/>
                  </a:cubicBezTo>
                  <a:cubicBezTo>
                    <a:pt x="402" y="2580"/>
                    <a:pt x="411" y="2606"/>
                    <a:pt x="436" y="2657"/>
                  </a:cubicBezTo>
                  <a:cubicBezTo>
                    <a:pt x="471" y="2700"/>
                    <a:pt x="462" y="2777"/>
                    <a:pt x="462" y="2811"/>
                  </a:cubicBezTo>
                  <a:cubicBezTo>
                    <a:pt x="462" y="2837"/>
                    <a:pt x="445" y="2871"/>
                    <a:pt x="462" y="2906"/>
                  </a:cubicBezTo>
                  <a:cubicBezTo>
                    <a:pt x="471" y="2940"/>
                    <a:pt x="488" y="2983"/>
                    <a:pt x="488" y="3000"/>
                  </a:cubicBezTo>
                  <a:cubicBezTo>
                    <a:pt x="488" y="3009"/>
                    <a:pt x="480" y="3051"/>
                    <a:pt x="497" y="3034"/>
                  </a:cubicBezTo>
                  <a:cubicBezTo>
                    <a:pt x="522" y="3017"/>
                    <a:pt x="505" y="3000"/>
                    <a:pt x="522" y="3017"/>
                  </a:cubicBezTo>
                  <a:cubicBezTo>
                    <a:pt x="539" y="3034"/>
                    <a:pt x="557" y="3034"/>
                    <a:pt x="565" y="3034"/>
                  </a:cubicBezTo>
                  <a:cubicBezTo>
                    <a:pt x="582" y="3034"/>
                    <a:pt x="574" y="3060"/>
                    <a:pt x="582" y="3060"/>
                  </a:cubicBezTo>
                  <a:cubicBezTo>
                    <a:pt x="591" y="3060"/>
                    <a:pt x="608" y="3043"/>
                    <a:pt x="608" y="3043"/>
                  </a:cubicBezTo>
                  <a:cubicBezTo>
                    <a:pt x="608" y="3043"/>
                    <a:pt x="625" y="3051"/>
                    <a:pt x="642" y="3051"/>
                  </a:cubicBezTo>
                  <a:cubicBezTo>
                    <a:pt x="651" y="3051"/>
                    <a:pt x="668" y="3051"/>
                    <a:pt x="668" y="3069"/>
                  </a:cubicBezTo>
                  <a:cubicBezTo>
                    <a:pt x="668" y="3086"/>
                    <a:pt x="668" y="3094"/>
                    <a:pt x="685" y="3086"/>
                  </a:cubicBezTo>
                  <a:cubicBezTo>
                    <a:pt x="702" y="3077"/>
                    <a:pt x="728" y="3043"/>
                    <a:pt x="737" y="3043"/>
                  </a:cubicBezTo>
                  <a:cubicBezTo>
                    <a:pt x="737" y="3043"/>
                    <a:pt x="711" y="3069"/>
                    <a:pt x="711" y="3086"/>
                  </a:cubicBezTo>
                  <a:cubicBezTo>
                    <a:pt x="720" y="3103"/>
                    <a:pt x="728" y="3120"/>
                    <a:pt x="745" y="3120"/>
                  </a:cubicBezTo>
                  <a:cubicBezTo>
                    <a:pt x="771" y="3120"/>
                    <a:pt x="788" y="3137"/>
                    <a:pt x="797" y="3137"/>
                  </a:cubicBezTo>
                  <a:cubicBezTo>
                    <a:pt x="797" y="3146"/>
                    <a:pt x="805" y="3128"/>
                    <a:pt x="814" y="3128"/>
                  </a:cubicBezTo>
                  <a:cubicBezTo>
                    <a:pt x="822" y="3128"/>
                    <a:pt x="814" y="3137"/>
                    <a:pt x="822" y="3137"/>
                  </a:cubicBezTo>
                  <a:cubicBezTo>
                    <a:pt x="831" y="3146"/>
                    <a:pt x="822" y="3163"/>
                    <a:pt x="839" y="3146"/>
                  </a:cubicBezTo>
                  <a:cubicBezTo>
                    <a:pt x="857" y="3128"/>
                    <a:pt x="891" y="3120"/>
                    <a:pt x="908" y="3111"/>
                  </a:cubicBezTo>
                  <a:cubicBezTo>
                    <a:pt x="925" y="3094"/>
                    <a:pt x="934" y="3111"/>
                    <a:pt x="960" y="3094"/>
                  </a:cubicBezTo>
                  <a:cubicBezTo>
                    <a:pt x="977" y="3077"/>
                    <a:pt x="968" y="3060"/>
                    <a:pt x="977" y="3051"/>
                  </a:cubicBezTo>
                  <a:cubicBezTo>
                    <a:pt x="994" y="3051"/>
                    <a:pt x="1019" y="3086"/>
                    <a:pt x="1045" y="3051"/>
                  </a:cubicBezTo>
                  <a:cubicBezTo>
                    <a:pt x="1071" y="3017"/>
                    <a:pt x="1062" y="3017"/>
                    <a:pt x="1088" y="3009"/>
                  </a:cubicBezTo>
                  <a:cubicBezTo>
                    <a:pt x="1114" y="2991"/>
                    <a:pt x="1139" y="2966"/>
                    <a:pt x="1156" y="2948"/>
                  </a:cubicBezTo>
                  <a:cubicBezTo>
                    <a:pt x="1182" y="2931"/>
                    <a:pt x="1208" y="2931"/>
                    <a:pt x="1234" y="2914"/>
                  </a:cubicBezTo>
                  <a:cubicBezTo>
                    <a:pt x="1259" y="2906"/>
                    <a:pt x="1242" y="2923"/>
                    <a:pt x="1268" y="2906"/>
                  </a:cubicBezTo>
                  <a:cubicBezTo>
                    <a:pt x="1302" y="2880"/>
                    <a:pt x="1302" y="2871"/>
                    <a:pt x="1328" y="2863"/>
                  </a:cubicBezTo>
                  <a:cubicBezTo>
                    <a:pt x="1345" y="2863"/>
                    <a:pt x="1379" y="2863"/>
                    <a:pt x="1414" y="2854"/>
                  </a:cubicBezTo>
                  <a:cubicBezTo>
                    <a:pt x="1465" y="2708"/>
                    <a:pt x="1542" y="2606"/>
                    <a:pt x="1559" y="2571"/>
                  </a:cubicBezTo>
                  <a:cubicBezTo>
                    <a:pt x="1585" y="2537"/>
                    <a:pt x="1688" y="2228"/>
                    <a:pt x="1714" y="2186"/>
                  </a:cubicBezTo>
                  <a:cubicBezTo>
                    <a:pt x="1731" y="2143"/>
                    <a:pt x="1731" y="2057"/>
                    <a:pt x="1731" y="2031"/>
                  </a:cubicBezTo>
                  <a:cubicBezTo>
                    <a:pt x="1739" y="2006"/>
                    <a:pt x="1705" y="1963"/>
                    <a:pt x="1688" y="194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4" name="Freeform 75"/>
            <p:cNvSpPr>
              <a:spLocks noChangeArrowheads="1"/>
            </p:cNvSpPr>
            <p:nvPr/>
          </p:nvSpPr>
          <p:spPr bwMode="auto">
            <a:xfrm>
              <a:off x="2800350" y="1220788"/>
              <a:ext cx="574675" cy="1519237"/>
            </a:xfrm>
            <a:custGeom>
              <a:avLst/>
              <a:gdLst>
                <a:gd name="T0" fmla="*/ 2147483647 w 1595"/>
                <a:gd name="T1" fmla="*/ 2147483647 h 4218"/>
                <a:gd name="T2" fmla="*/ 2147483647 w 1595"/>
                <a:gd name="T3" fmla="*/ 2147483647 h 4218"/>
                <a:gd name="T4" fmla="*/ 2147483647 w 1595"/>
                <a:gd name="T5" fmla="*/ 2147483647 h 4218"/>
                <a:gd name="T6" fmla="*/ 2147483647 w 1595"/>
                <a:gd name="T7" fmla="*/ 2147483647 h 4218"/>
                <a:gd name="T8" fmla="*/ 2147483647 w 1595"/>
                <a:gd name="T9" fmla="*/ 0 h 4218"/>
                <a:gd name="T10" fmla="*/ 2147483647 w 1595"/>
                <a:gd name="T11" fmla="*/ 2147483647 h 4218"/>
                <a:gd name="T12" fmla="*/ 2147483647 w 1595"/>
                <a:gd name="T13" fmla="*/ 2147483647 h 4218"/>
                <a:gd name="T14" fmla="*/ 2147483647 w 1595"/>
                <a:gd name="T15" fmla="*/ 2147483647 h 4218"/>
                <a:gd name="T16" fmla="*/ 2147483647 w 1595"/>
                <a:gd name="T17" fmla="*/ 2147483647 h 4218"/>
                <a:gd name="T18" fmla="*/ 2147483647 w 1595"/>
                <a:gd name="T19" fmla="*/ 2147483647 h 4218"/>
                <a:gd name="T20" fmla="*/ 2147483647 w 1595"/>
                <a:gd name="T21" fmla="*/ 2147483647 h 4218"/>
                <a:gd name="T22" fmla="*/ 2147483647 w 1595"/>
                <a:gd name="T23" fmla="*/ 2147483647 h 4218"/>
                <a:gd name="T24" fmla="*/ 2147483647 w 1595"/>
                <a:gd name="T25" fmla="*/ 2147483647 h 4218"/>
                <a:gd name="T26" fmla="*/ 2147483647 w 1595"/>
                <a:gd name="T27" fmla="*/ 2147483647 h 4218"/>
                <a:gd name="T28" fmla="*/ 2147483647 w 1595"/>
                <a:gd name="T29" fmla="*/ 2147483647 h 4218"/>
                <a:gd name="T30" fmla="*/ 2147483647 w 1595"/>
                <a:gd name="T31" fmla="*/ 2147483647 h 4218"/>
                <a:gd name="T32" fmla="*/ 2147483647 w 1595"/>
                <a:gd name="T33" fmla="*/ 2147483647 h 4218"/>
                <a:gd name="T34" fmla="*/ 2147483647 w 1595"/>
                <a:gd name="T35" fmla="*/ 2147483647 h 4218"/>
                <a:gd name="T36" fmla="*/ 2147483647 w 1595"/>
                <a:gd name="T37" fmla="*/ 2147483647 h 4218"/>
                <a:gd name="T38" fmla="*/ 2147483647 w 1595"/>
                <a:gd name="T39" fmla="*/ 2147483647 h 4218"/>
                <a:gd name="T40" fmla="*/ 2147483647 w 1595"/>
                <a:gd name="T41" fmla="*/ 2147483647 h 4218"/>
                <a:gd name="T42" fmla="*/ 2147483647 w 1595"/>
                <a:gd name="T43" fmla="*/ 2147483647 h 4218"/>
                <a:gd name="T44" fmla="*/ 2147483647 w 1595"/>
                <a:gd name="T45" fmla="*/ 2147483647 h 4218"/>
                <a:gd name="T46" fmla="*/ 2147483647 w 1595"/>
                <a:gd name="T47" fmla="*/ 2147483647 h 4218"/>
                <a:gd name="T48" fmla="*/ 2147483647 w 1595"/>
                <a:gd name="T49" fmla="*/ 2147483647 h 4218"/>
                <a:gd name="T50" fmla="*/ 2147483647 w 1595"/>
                <a:gd name="T51" fmla="*/ 2147483647 h 4218"/>
                <a:gd name="T52" fmla="*/ 2147483647 w 1595"/>
                <a:gd name="T53" fmla="*/ 2147483647 h 4218"/>
                <a:gd name="T54" fmla="*/ 2147483647 w 1595"/>
                <a:gd name="T55" fmla="*/ 2147483647 h 4218"/>
                <a:gd name="T56" fmla="*/ 2147483647 w 1595"/>
                <a:gd name="T57" fmla="*/ 2147483647 h 4218"/>
                <a:gd name="T58" fmla="*/ 2147483647 w 1595"/>
                <a:gd name="T59" fmla="*/ 2147483647 h 4218"/>
                <a:gd name="T60" fmla="*/ 2147483647 w 1595"/>
                <a:gd name="T61" fmla="*/ 2147483647 h 4218"/>
                <a:gd name="T62" fmla="*/ 2147483647 w 1595"/>
                <a:gd name="T63" fmla="*/ 2147483647 h 4218"/>
                <a:gd name="T64" fmla="*/ 2147483647 w 1595"/>
                <a:gd name="T65" fmla="*/ 2147483647 h 4218"/>
                <a:gd name="T66" fmla="*/ 2147483647 w 1595"/>
                <a:gd name="T67" fmla="*/ 2147483647 h 4218"/>
                <a:gd name="T68" fmla="*/ 2147483647 w 1595"/>
                <a:gd name="T69" fmla="*/ 2147483647 h 4218"/>
                <a:gd name="T70" fmla="*/ 2147483647 w 1595"/>
                <a:gd name="T71" fmla="*/ 2147483647 h 4218"/>
                <a:gd name="T72" fmla="*/ 2147483647 w 1595"/>
                <a:gd name="T73" fmla="*/ 2147483647 h 4218"/>
                <a:gd name="T74" fmla="*/ 2147483647 w 1595"/>
                <a:gd name="T75" fmla="*/ 2147483647 h 4218"/>
                <a:gd name="T76" fmla="*/ 2147483647 w 1595"/>
                <a:gd name="T77" fmla="*/ 2147483647 h 4218"/>
                <a:gd name="T78" fmla="*/ 2147483647 w 1595"/>
                <a:gd name="T79" fmla="*/ 2147483647 h 4218"/>
                <a:gd name="T80" fmla="*/ 2147483647 w 1595"/>
                <a:gd name="T81" fmla="*/ 2147483647 h 4218"/>
                <a:gd name="T82" fmla="*/ 2147483647 w 1595"/>
                <a:gd name="T83" fmla="*/ 2147483647 h 4218"/>
                <a:gd name="T84" fmla="*/ 2147483647 w 1595"/>
                <a:gd name="T85" fmla="*/ 2147483647 h 4218"/>
                <a:gd name="T86" fmla="*/ 2147483647 w 1595"/>
                <a:gd name="T87" fmla="*/ 2147483647 h 4218"/>
                <a:gd name="T88" fmla="*/ 2147483647 w 1595"/>
                <a:gd name="T89" fmla="*/ 2147483647 h 4218"/>
                <a:gd name="T90" fmla="*/ 2147483647 w 1595"/>
                <a:gd name="T91" fmla="*/ 2147483647 h 4218"/>
                <a:gd name="T92" fmla="*/ 2147483647 w 1595"/>
                <a:gd name="T93" fmla="*/ 2147483647 h 4218"/>
                <a:gd name="T94" fmla="*/ 2147483647 w 1595"/>
                <a:gd name="T95" fmla="*/ 2147483647 h 4218"/>
                <a:gd name="T96" fmla="*/ 2147483647 w 1595"/>
                <a:gd name="T97" fmla="*/ 2147483647 h 4218"/>
                <a:gd name="T98" fmla="*/ 2147483647 w 1595"/>
                <a:gd name="T99" fmla="*/ 2147483647 h 4218"/>
                <a:gd name="T100" fmla="*/ 2147483647 w 1595"/>
                <a:gd name="T101" fmla="*/ 2147483647 h 4218"/>
                <a:gd name="T102" fmla="*/ 2147483647 w 1595"/>
                <a:gd name="T103" fmla="*/ 2147483647 h 4218"/>
                <a:gd name="T104" fmla="*/ 2147483647 w 1595"/>
                <a:gd name="T105" fmla="*/ 2147483647 h 4218"/>
                <a:gd name="T106" fmla="*/ 2147483647 w 1595"/>
                <a:gd name="T107" fmla="*/ 2147483647 h 4218"/>
                <a:gd name="T108" fmla="*/ 2147483647 w 1595"/>
                <a:gd name="T109" fmla="*/ 2147483647 h 4218"/>
                <a:gd name="T110" fmla="*/ 2147483647 w 1595"/>
                <a:gd name="T111" fmla="*/ 2147483647 h 4218"/>
                <a:gd name="T112" fmla="*/ 2147483647 w 1595"/>
                <a:gd name="T113" fmla="*/ 2147483647 h 4218"/>
                <a:gd name="T114" fmla="*/ 2147483647 w 1595"/>
                <a:gd name="T115" fmla="*/ 2147483647 h 4218"/>
                <a:gd name="T116" fmla="*/ 2147483647 w 1595"/>
                <a:gd name="T117" fmla="*/ 2147483647 h 4218"/>
                <a:gd name="T118" fmla="*/ 2147483647 w 1595"/>
                <a:gd name="T119" fmla="*/ 2147483647 h 42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95"/>
                <a:gd name="T181" fmla="*/ 0 h 4218"/>
                <a:gd name="T182" fmla="*/ 1595 w 1595"/>
                <a:gd name="T183" fmla="*/ 4218 h 42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95" h="4218">
                  <a:moveTo>
                    <a:pt x="1526" y="814"/>
                  </a:moveTo>
                  <a:lnTo>
                    <a:pt x="1526" y="814"/>
                  </a:lnTo>
                  <a:cubicBezTo>
                    <a:pt x="1509" y="797"/>
                    <a:pt x="1492" y="763"/>
                    <a:pt x="1492" y="737"/>
                  </a:cubicBezTo>
                  <a:cubicBezTo>
                    <a:pt x="1492" y="711"/>
                    <a:pt x="1500" y="634"/>
                    <a:pt x="1500" y="608"/>
                  </a:cubicBezTo>
                  <a:cubicBezTo>
                    <a:pt x="1500" y="574"/>
                    <a:pt x="1431" y="531"/>
                    <a:pt x="1440" y="497"/>
                  </a:cubicBezTo>
                  <a:cubicBezTo>
                    <a:pt x="1448" y="471"/>
                    <a:pt x="1466" y="463"/>
                    <a:pt x="1466" y="437"/>
                  </a:cubicBezTo>
                  <a:cubicBezTo>
                    <a:pt x="1466" y="411"/>
                    <a:pt x="1423" y="437"/>
                    <a:pt x="1414" y="420"/>
                  </a:cubicBezTo>
                  <a:cubicBezTo>
                    <a:pt x="1406" y="403"/>
                    <a:pt x="1389" y="343"/>
                    <a:pt x="1397" y="300"/>
                  </a:cubicBezTo>
                  <a:cubicBezTo>
                    <a:pt x="1406" y="257"/>
                    <a:pt x="1380" y="266"/>
                    <a:pt x="1371" y="240"/>
                  </a:cubicBezTo>
                  <a:cubicBezTo>
                    <a:pt x="1363" y="223"/>
                    <a:pt x="1346" y="231"/>
                    <a:pt x="1337" y="214"/>
                  </a:cubicBezTo>
                  <a:cubicBezTo>
                    <a:pt x="1320" y="205"/>
                    <a:pt x="1286" y="171"/>
                    <a:pt x="1243" y="171"/>
                  </a:cubicBezTo>
                  <a:cubicBezTo>
                    <a:pt x="1208" y="171"/>
                    <a:pt x="1208" y="154"/>
                    <a:pt x="1174" y="128"/>
                  </a:cubicBezTo>
                  <a:cubicBezTo>
                    <a:pt x="1149" y="103"/>
                    <a:pt x="1140" y="111"/>
                    <a:pt x="1123" y="103"/>
                  </a:cubicBezTo>
                  <a:cubicBezTo>
                    <a:pt x="1114" y="86"/>
                    <a:pt x="1080" y="60"/>
                    <a:pt x="1054" y="43"/>
                  </a:cubicBezTo>
                  <a:cubicBezTo>
                    <a:pt x="1046" y="34"/>
                    <a:pt x="1029" y="17"/>
                    <a:pt x="1020" y="0"/>
                  </a:cubicBezTo>
                  <a:cubicBezTo>
                    <a:pt x="1012" y="0"/>
                    <a:pt x="1012" y="0"/>
                    <a:pt x="1012" y="0"/>
                  </a:cubicBezTo>
                  <a:cubicBezTo>
                    <a:pt x="986" y="0"/>
                    <a:pt x="951" y="0"/>
                    <a:pt x="960" y="17"/>
                  </a:cubicBezTo>
                  <a:cubicBezTo>
                    <a:pt x="960" y="34"/>
                    <a:pt x="994" y="86"/>
                    <a:pt x="986" y="111"/>
                  </a:cubicBezTo>
                  <a:cubicBezTo>
                    <a:pt x="968" y="137"/>
                    <a:pt x="960" y="163"/>
                    <a:pt x="960" y="163"/>
                  </a:cubicBezTo>
                  <a:cubicBezTo>
                    <a:pt x="960" y="163"/>
                    <a:pt x="986" y="180"/>
                    <a:pt x="977" y="197"/>
                  </a:cubicBezTo>
                  <a:cubicBezTo>
                    <a:pt x="960" y="214"/>
                    <a:pt x="977" y="240"/>
                    <a:pt x="951" y="231"/>
                  </a:cubicBezTo>
                  <a:cubicBezTo>
                    <a:pt x="926" y="214"/>
                    <a:pt x="857" y="197"/>
                    <a:pt x="823" y="197"/>
                  </a:cubicBezTo>
                  <a:cubicBezTo>
                    <a:pt x="797" y="197"/>
                    <a:pt x="780" y="180"/>
                    <a:pt x="772" y="180"/>
                  </a:cubicBezTo>
                  <a:cubicBezTo>
                    <a:pt x="754" y="188"/>
                    <a:pt x="746" y="205"/>
                    <a:pt x="746" y="223"/>
                  </a:cubicBezTo>
                  <a:cubicBezTo>
                    <a:pt x="746" y="240"/>
                    <a:pt x="780" y="291"/>
                    <a:pt x="763" y="308"/>
                  </a:cubicBezTo>
                  <a:cubicBezTo>
                    <a:pt x="746" y="334"/>
                    <a:pt x="728" y="368"/>
                    <a:pt x="720" y="368"/>
                  </a:cubicBezTo>
                  <a:cubicBezTo>
                    <a:pt x="720" y="360"/>
                    <a:pt x="703" y="334"/>
                    <a:pt x="686" y="343"/>
                  </a:cubicBezTo>
                  <a:cubicBezTo>
                    <a:pt x="669" y="343"/>
                    <a:pt x="643" y="377"/>
                    <a:pt x="634" y="385"/>
                  </a:cubicBezTo>
                  <a:cubicBezTo>
                    <a:pt x="626" y="403"/>
                    <a:pt x="609" y="411"/>
                    <a:pt x="600" y="454"/>
                  </a:cubicBezTo>
                  <a:cubicBezTo>
                    <a:pt x="591" y="488"/>
                    <a:pt x="583" y="497"/>
                    <a:pt x="566" y="514"/>
                  </a:cubicBezTo>
                  <a:cubicBezTo>
                    <a:pt x="549" y="531"/>
                    <a:pt x="549" y="557"/>
                    <a:pt x="566" y="583"/>
                  </a:cubicBezTo>
                  <a:cubicBezTo>
                    <a:pt x="583" y="600"/>
                    <a:pt x="600" y="668"/>
                    <a:pt x="591" y="677"/>
                  </a:cubicBezTo>
                  <a:cubicBezTo>
                    <a:pt x="583" y="694"/>
                    <a:pt x="549" y="737"/>
                    <a:pt x="532" y="771"/>
                  </a:cubicBezTo>
                  <a:cubicBezTo>
                    <a:pt x="506" y="814"/>
                    <a:pt x="488" y="831"/>
                    <a:pt x="488" y="857"/>
                  </a:cubicBezTo>
                  <a:cubicBezTo>
                    <a:pt x="488" y="874"/>
                    <a:pt x="506" y="883"/>
                    <a:pt x="480" y="917"/>
                  </a:cubicBezTo>
                  <a:cubicBezTo>
                    <a:pt x="454" y="951"/>
                    <a:pt x="394" y="951"/>
                    <a:pt x="386" y="968"/>
                  </a:cubicBezTo>
                  <a:cubicBezTo>
                    <a:pt x="386" y="994"/>
                    <a:pt x="386" y="1123"/>
                    <a:pt x="386" y="1183"/>
                  </a:cubicBezTo>
                  <a:cubicBezTo>
                    <a:pt x="386" y="1234"/>
                    <a:pt x="360" y="1337"/>
                    <a:pt x="334" y="1371"/>
                  </a:cubicBezTo>
                  <a:cubicBezTo>
                    <a:pt x="309" y="1406"/>
                    <a:pt x="300" y="1448"/>
                    <a:pt x="309" y="1457"/>
                  </a:cubicBezTo>
                  <a:cubicBezTo>
                    <a:pt x="326" y="1474"/>
                    <a:pt x="360" y="1483"/>
                    <a:pt x="360" y="1500"/>
                  </a:cubicBezTo>
                  <a:cubicBezTo>
                    <a:pt x="369" y="1517"/>
                    <a:pt x="369" y="1603"/>
                    <a:pt x="351" y="1603"/>
                  </a:cubicBezTo>
                  <a:cubicBezTo>
                    <a:pt x="334" y="1611"/>
                    <a:pt x="257" y="1585"/>
                    <a:pt x="223" y="1611"/>
                  </a:cubicBezTo>
                  <a:cubicBezTo>
                    <a:pt x="197" y="1637"/>
                    <a:pt x="154" y="1714"/>
                    <a:pt x="129" y="1740"/>
                  </a:cubicBezTo>
                  <a:cubicBezTo>
                    <a:pt x="111" y="1766"/>
                    <a:pt x="120" y="1809"/>
                    <a:pt x="120" y="1817"/>
                  </a:cubicBezTo>
                  <a:cubicBezTo>
                    <a:pt x="111" y="1826"/>
                    <a:pt x="103" y="1843"/>
                    <a:pt x="111" y="1869"/>
                  </a:cubicBezTo>
                  <a:cubicBezTo>
                    <a:pt x="111" y="1886"/>
                    <a:pt x="111" y="1963"/>
                    <a:pt x="111" y="1980"/>
                  </a:cubicBezTo>
                  <a:cubicBezTo>
                    <a:pt x="120" y="2006"/>
                    <a:pt x="111" y="2066"/>
                    <a:pt x="129" y="2100"/>
                  </a:cubicBezTo>
                  <a:cubicBezTo>
                    <a:pt x="146" y="2126"/>
                    <a:pt x="154" y="2168"/>
                    <a:pt x="137" y="2194"/>
                  </a:cubicBezTo>
                  <a:cubicBezTo>
                    <a:pt x="129" y="2220"/>
                    <a:pt x="146" y="2314"/>
                    <a:pt x="154" y="2340"/>
                  </a:cubicBezTo>
                  <a:cubicBezTo>
                    <a:pt x="154" y="2357"/>
                    <a:pt x="180" y="2349"/>
                    <a:pt x="206" y="2383"/>
                  </a:cubicBezTo>
                  <a:cubicBezTo>
                    <a:pt x="231" y="2417"/>
                    <a:pt x="240" y="2468"/>
                    <a:pt x="231" y="2494"/>
                  </a:cubicBezTo>
                  <a:cubicBezTo>
                    <a:pt x="223" y="2511"/>
                    <a:pt x="197" y="2503"/>
                    <a:pt x="171" y="2520"/>
                  </a:cubicBezTo>
                  <a:cubicBezTo>
                    <a:pt x="154" y="2537"/>
                    <a:pt x="154" y="2597"/>
                    <a:pt x="189" y="2648"/>
                  </a:cubicBezTo>
                  <a:cubicBezTo>
                    <a:pt x="214" y="2691"/>
                    <a:pt x="206" y="2743"/>
                    <a:pt x="197" y="2769"/>
                  </a:cubicBezTo>
                  <a:cubicBezTo>
                    <a:pt x="197" y="2794"/>
                    <a:pt x="180" y="2837"/>
                    <a:pt x="154" y="2854"/>
                  </a:cubicBezTo>
                  <a:cubicBezTo>
                    <a:pt x="120" y="2871"/>
                    <a:pt x="103" y="2880"/>
                    <a:pt x="103" y="2906"/>
                  </a:cubicBezTo>
                  <a:cubicBezTo>
                    <a:pt x="94" y="2932"/>
                    <a:pt x="69" y="2914"/>
                    <a:pt x="69" y="2949"/>
                  </a:cubicBezTo>
                  <a:cubicBezTo>
                    <a:pt x="69" y="2983"/>
                    <a:pt x="111" y="3069"/>
                    <a:pt x="94" y="3103"/>
                  </a:cubicBezTo>
                  <a:cubicBezTo>
                    <a:pt x="77" y="3137"/>
                    <a:pt x="94" y="3180"/>
                    <a:pt x="69" y="3163"/>
                  </a:cubicBezTo>
                  <a:cubicBezTo>
                    <a:pt x="43" y="3146"/>
                    <a:pt x="52" y="3094"/>
                    <a:pt x="26" y="3111"/>
                  </a:cubicBezTo>
                  <a:cubicBezTo>
                    <a:pt x="17" y="3120"/>
                    <a:pt x="8" y="3128"/>
                    <a:pt x="0" y="3137"/>
                  </a:cubicBezTo>
                  <a:cubicBezTo>
                    <a:pt x="17" y="3163"/>
                    <a:pt x="17" y="3180"/>
                    <a:pt x="17" y="3214"/>
                  </a:cubicBezTo>
                  <a:cubicBezTo>
                    <a:pt x="17" y="3249"/>
                    <a:pt x="17" y="3309"/>
                    <a:pt x="43" y="3317"/>
                  </a:cubicBezTo>
                  <a:cubicBezTo>
                    <a:pt x="60" y="3334"/>
                    <a:pt x="60" y="3351"/>
                    <a:pt x="69" y="3343"/>
                  </a:cubicBezTo>
                  <a:cubicBezTo>
                    <a:pt x="86" y="3334"/>
                    <a:pt x="111" y="3326"/>
                    <a:pt x="111" y="3334"/>
                  </a:cubicBezTo>
                  <a:cubicBezTo>
                    <a:pt x="120" y="3343"/>
                    <a:pt x="111" y="3377"/>
                    <a:pt x="111" y="3394"/>
                  </a:cubicBezTo>
                  <a:cubicBezTo>
                    <a:pt x="103" y="3412"/>
                    <a:pt x="86" y="3463"/>
                    <a:pt x="103" y="3480"/>
                  </a:cubicBezTo>
                  <a:cubicBezTo>
                    <a:pt x="111" y="3497"/>
                    <a:pt x="103" y="3489"/>
                    <a:pt x="120" y="3523"/>
                  </a:cubicBezTo>
                  <a:cubicBezTo>
                    <a:pt x="137" y="3549"/>
                    <a:pt x="129" y="3592"/>
                    <a:pt x="146" y="3626"/>
                  </a:cubicBezTo>
                  <a:cubicBezTo>
                    <a:pt x="171" y="3660"/>
                    <a:pt x="231" y="3746"/>
                    <a:pt x="257" y="3789"/>
                  </a:cubicBezTo>
                  <a:cubicBezTo>
                    <a:pt x="283" y="3840"/>
                    <a:pt x="317" y="3866"/>
                    <a:pt x="300" y="3883"/>
                  </a:cubicBezTo>
                  <a:cubicBezTo>
                    <a:pt x="283" y="3892"/>
                    <a:pt x="283" y="3892"/>
                    <a:pt x="266" y="3892"/>
                  </a:cubicBezTo>
                  <a:cubicBezTo>
                    <a:pt x="248" y="3892"/>
                    <a:pt x="317" y="3951"/>
                    <a:pt x="283" y="3951"/>
                  </a:cubicBezTo>
                  <a:cubicBezTo>
                    <a:pt x="248" y="3951"/>
                    <a:pt x="240" y="3909"/>
                    <a:pt x="240" y="3934"/>
                  </a:cubicBezTo>
                  <a:cubicBezTo>
                    <a:pt x="240" y="3960"/>
                    <a:pt x="240" y="3994"/>
                    <a:pt x="274" y="4037"/>
                  </a:cubicBezTo>
                  <a:cubicBezTo>
                    <a:pt x="317" y="4072"/>
                    <a:pt x="343" y="4106"/>
                    <a:pt x="343" y="4123"/>
                  </a:cubicBezTo>
                  <a:cubicBezTo>
                    <a:pt x="343" y="4132"/>
                    <a:pt x="317" y="4132"/>
                    <a:pt x="317" y="4157"/>
                  </a:cubicBezTo>
                  <a:cubicBezTo>
                    <a:pt x="317" y="4174"/>
                    <a:pt x="317" y="4200"/>
                    <a:pt x="343" y="4200"/>
                  </a:cubicBezTo>
                  <a:cubicBezTo>
                    <a:pt x="377" y="4200"/>
                    <a:pt x="377" y="4217"/>
                    <a:pt x="411" y="4200"/>
                  </a:cubicBezTo>
                  <a:cubicBezTo>
                    <a:pt x="454" y="4183"/>
                    <a:pt x="471" y="4157"/>
                    <a:pt x="497" y="4174"/>
                  </a:cubicBezTo>
                  <a:cubicBezTo>
                    <a:pt x="514" y="4183"/>
                    <a:pt x="514" y="4217"/>
                    <a:pt x="540" y="4183"/>
                  </a:cubicBezTo>
                  <a:cubicBezTo>
                    <a:pt x="566" y="4157"/>
                    <a:pt x="566" y="4157"/>
                    <a:pt x="549" y="4114"/>
                  </a:cubicBezTo>
                  <a:cubicBezTo>
                    <a:pt x="523" y="4072"/>
                    <a:pt x="514" y="4054"/>
                    <a:pt x="532" y="4037"/>
                  </a:cubicBezTo>
                  <a:cubicBezTo>
                    <a:pt x="549" y="4020"/>
                    <a:pt x="566" y="3994"/>
                    <a:pt x="583" y="3994"/>
                  </a:cubicBezTo>
                  <a:cubicBezTo>
                    <a:pt x="600" y="3994"/>
                    <a:pt x="600" y="4003"/>
                    <a:pt x="600" y="3986"/>
                  </a:cubicBezTo>
                  <a:cubicBezTo>
                    <a:pt x="609" y="3977"/>
                    <a:pt x="583" y="3960"/>
                    <a:pt x="609" y="3960"/>
                  </a:cubicBezTo>
                  <a:cubicBezTo>
                    <a:pt x="634" y="3960"/>
                    <a:pt x="677" y="3943"/>
                    <a:pt x="711" y="3943"/>
                  </a:cubicBezTo>
                  <a:cubicBezTo>
                    <a:pt x="754" y="3943"/>
                    <a:pt x="754" y="3917"/>
                    <a:pt x="763" y="3926"/>
                  </a:cubicBezTo>
                  <a:cubicBezTo>
                    <a:pt x="763" y="3943"/>
                    <a:pt x="780" y="3960"/>
                    <a:pt x="789" y="3951"/>
                  </a:cubicBezTo>
                  <a:cubicBezTo>
                    <a:pt x="806" y="3951"/>
                    <a:pt x="823" y="3917"/>
                    <a:pt x="831" y="3874"/>
                  </a:cubicBezTo>
                  <a:cubicBezTo>
                    <a:pt x="831" y="3840"/>
                    <a:pt x="866" y="3789"/>
                    <a:pt x="866" y="3754"/>
                  </a:cubicBezTo>
                  <a:cubicBezTo>
                    <a:pt x="874" y="3729"/>
                    <a:pt x="857" y="3703"/>
                    <a:pt x="866" y="3686"/>
                  </a:cubicBezTo>
                  <a:cubicBezTo>
                    <a:pt x="883" y="3660"/>
                    <a:pt x="891" y="3669"/>
                    <a:pt x="883" y="3652"/>
                  </a:cubicBezTo>
                  <a:cubicBezTo>
                    <a:pt x="874" y="3634"/>
                    <a:pt x="866" y="3643"/>
                    <a:pt x="866" y="3617"/>
                  </a:cubicBezTo>
                  <a:cubicBezTo>
                    <a:pt x="866" y="3592"/>
                    <a:pt x="866" y="3592"/>
                    <a:pt x="883" y="3566"/>
                  </a:cubicBezTo>
                  <a:cubicBezTo>
                    <a:pt x="900" y="3540"/>
                    <a:pt x="900" y="3531"/>
                    <a:pt x="891" y="3514"/>
                  </a:cubicBezTo>
                  <a:cubicBezTo>
                    <a:pt x="874" y="3506"/>
                    <a:pt x="866" y="3506"/>
                    <a:pt x="874" y="3489"/>
                  </a:cubicBezTo>
                  <a:cubicBezTo>
                    <a:pt x="891" y="3471"/>
                    <a:pt x="891" y="3471"/>
                    <a:pt x="883" y="3454"/>
                  </a:cubicBezTo>
                  <a:cubicBezTo>
                    <a:pt x="874" y="3446"/>
                    <a:pt x="849" y="3429"/>
                    <a:pt x="857" y="3420"/>
                  </a:cubicBezTo>
                  <a:cubicBezTo>
                    <a:pt x="866" y="3412"/>
                    <a:pt x="883" y="3437"/>
                    <a:pt x="883" y="3412"/>
                  </a:cubicBezTo>
                  <a:cubicBezTo>
                    <a:pt x="883" y="3394"/>
                    <a:pt x="866" y="3386"/>
                    <a:pt x="874" y="3377"/>
                  </a:cubicBezTo>
                  <a:cubicBezTo>
                    <a:pt x="883" y="3368"/>
                    <a:pt x="891" y="3334"/>
                    <a:pt x="891" y="3317"/>
                  </a:cubicBezTo>
                  <a:cubicBezTo>
                    <a:pt x="891" y="3309"/>
                    <a:pt x="883" y="3300"/>
                    <a:pt x="866" y="3274"/>
                  </a:cubicBezTo>
                  <a:cubicBezTo>
                    <a:pt x="857" y="3257"/>
                    <a:pt x="840" y="3249"/>
                    <a:pt x="849" y="3249"/>
                  </a:cubicBezTo>
                  <a:cubicBezTo>
                    <a:pt x="857" y="3257"/>
                    <a:pt x="866" y="3257"/>
                    <a:pt x="874" y="3257"/>
                  </a:cubicBezTo>
                  <a:cubicBezTo>
                    <a:pt x="883" y="3249"/>
                    <a:pt x="900" y="3249"/>
                    <a:pt x="900" y="3240"/>
                  </a:cubicBezTo>
                  <a:cubicBezTo>
                    <a:pt x="891" y="3231"/>
                    <a:pt x="806" y="3206"/>
                    <a:pt x="806" y="3206"/>
                  </a:cubicBezTo>
                  <a:cubicBezTo>
                    <a:pt x="823" y="3206"/>
                    <a:pt x="857" y="3206"/>
                    <a:pt x="874" y="3206"/>
                  </a:cubicBezTo>
                  <a:cubicBezTo>
                    <a:pt x="900" y="3206"/>
                    <a:pt x="917" y="3180"/>
                    <a:pt x="917" y="3172"/>
                  </a:cubicBezTo>
                  <a:cubicBezTo>
                    <a:pt x="917" y="3154"/>
                    <a:pt x="926" y="3163"/>
                    <a:pt x="951" y="3146"/>
                  </a:cubicBezTo>
                  <a:cubicBezTo>
                    <a:pt x="968" y="3137"/>
                    <a:pt x="986" y="3111"/>
                    <a:pt x="994" y="3086"/>
                  </a:cubicBezTo>
                  <a:cubicBezTo>
                    <a:pt x="1003" y="3060"/>
                    <a:pt x="1003" y="3034"/>
                    <a:pt x="1003" y="3043"/>
                  </a:cubicBezTo>
                  <a:cubicBezTo>
                    <a:pt x="1003" y="3060"/>
                    <a:pt x="1029" y="3094"/>
                    <a:pt x="1029" y="3103"/>
                  </a:cubicBezTo>
                  <a:cubicBezTo>
                    <a:pt x="1029" y="3111"/>
                    <a:pt x="1046" y="3111"/>
                    <a:pt x="1054" y="3094"/>
                  </a:cubicBezTo>
                  <a:cubicBezTo>
                    <a:pt x="1063" y="3077"/>
                    <a:pt x="1046" y="3060"/>
                    <a:pt x="1063" y="3069"/>
                  </a:cubicBezTo>
                  <a:cubicBezTo>
                    <a:pt x="1080" y="3069"/>
                    <a:pt x="1071" y="3060"/>
                    <a:pt x="1080" y="3043"/>
                  </a:cubicBezTo>
                  <a:cubicBezTo>
                    <a:pt x="1089" y="3034"/>
                    <a:pt x="1106" y="3051"/>
                    <a:pt x="1106" y="3034"/>
                  </a:cubicBezTo>
                  <a:cubicBezTo>
                    <a:pt x="1106" y="3017"/>
                    <a:pt x="1089" y="2983"/>
                    <a:pt x="1097" y="2974"/>
                  </a:cubicBezTo>
                  <a:cubicBezTo>
                    <a:pt x="1106" y="2974"/>
                    <a:pt x="1106" y="2991"/>
                    <a:pt x="1123" y="2983"/>
                  </a:cubicBezTo>
                  <a:cubicBezTo>
                    <a:pt x="1131" y="2974"/>
                    <a:pt x="1149" y="2974"/>
                    <a:pt x="1140" y="2966"/>
                  </a:cubicBezTo>
                  <a:cubicBezTo>
                    <a:pt x="1123" y="2957"/>
                    <a:pt x="1123" y="2949"/>
                    <a:pt x="1114" y="2957"/>
                  </a:cubicBezTo>
                  <a:cubicBezTo>
                    <a:pt x="1106" y="2957"/>
                    <a:pt x="1071" y="2974"/>
                    <a:pt x="1089" y="2957"/>
                  </a:cubicBezTo>
                  <a:cubicBezTo>
                    <a:pt x="1097" y="2932"/>
                    <a:pt x="1131" y="2914"/>
                    <a:pt x="1131" y="2888"/>
                  </a:cubicBezTo>
                  <a:cubicBezTo>
                    <a:pt x="1140" y="2871"/>
                    <a:pt x="1123" y="2863"/>
                    <a:pt x="1149" y="2854"/>
                  </a:cubicBezTo>
                  <a:cubicBezTo>
                    <a:pt x="1174" y="2837"/>
                    <a:pt x="1191" y="2846"/>
                    <a:pt x="1183" y="2829"/>
                  </a:cubicBezTo>
                  <a:cubicBezTo>
                    <a:pt x="1174" y="2820"/>
                    <a:pt x="1191" y="2820"/>
                    <a:pt x="1174" y="2803"/>
                  </a:cubicBezTo>
                  <a:cubicBezTo>
                    <a:pt x="1157" y="2794"/>
                    <a:pt x="1157" y="2786"/>
                    <a:pt x="1157" y="2769"/>
                  </a:cubicBezTo>
                  <a:cubicBezTo>
                    <a:pt x="1149" y="2751"/>
                    <a:pt x="1131" y="2751"/>
                    <a:pt x="1131" y="2734"/>
                  </a:cubicBezTo>
                  <a:cubicBezTo>
                    <a:pt x="1131" y="2717"/>
                    <a:pt x="1131" y="2683"/>
                    <a:pt x="1123" y="2691"/>
                  </a:cubicBezTo>
                  <a:cubicBezTo>
                    <a:pt x="1114" y="2700"/>
                    <a:pt x="1123" y="2734"/>
                    <a:pt x="1106" y="2726"/>
                  </a:cubicBezTo>
                  <a:cubicBezTo>
                    <a:pt x="1089" y="2709"/>
                    <a:pt x="1054" y="2700"/>
                    <a:pt x="1071" y="2691"/>
                  </a:cubicBezTo>
                  <a:cubicBezTo>
                    <a:pt x="1080" y="2674"/>
                    <a:pt x="1097" y="2691"/>
                    <a:pt x="1089" y="2674"/>
                  </a:cubicBezTo>
                  <a:cubicBezTo>
                    <a:pt x="1080" y="2657"/>
                    <a:pt x="1071" y="2614"/>
                    <a:pt x="1071" y="2631"/>
                  </a:cubicBezTo>
                  <a:cubicBezTo>
                    <a:pt x="1071" y="2640"/>
                    <a:pt x="1080" y="2666"/>
                    <a:pt x="1063" y="2666"/>
                  </a:cubicBezTo>
                  <a:cubicBezTo>
                    <a:pt x="1054" y="2666"/>
                    <a:pt x="1037" y="2657"/>
                    <a:pt x="1020" y="2640"/>
                  </a:cubicBezTo>
                  <a:cubicBezTo>
                    <a:pt x="1003" y="2623"/>
                    <a:pt x="1012" y="2597"/>
                    <a:pt x="994" y="2606"/>
                  </a:cubicBezTo>
                  <a:cubicBezTo>
                    <a:pt x="977" y="2606"/>
                    <a:pt x="968" y="2640"/>
                    <a:pt x="960" y="2623"/>
                  </a:cubicBezTo>
                  <a:cubicBezTo>
                    <a:pt x="951" y="2597"/>
                    <a:pt x="951" y="2589"/>
                    <a:pt x="926" y="2589"/>
                  </a:cubicBezTo>
                  <a:cubicBezTo>
                    <a:pt x="909" y="2589"/>
                    <a:pt x="883" y="2589"/>
                    <a:pt x="891" y="2571"/>
                  </a:cubicBezTo>
                  <a:cubicBezTo>
                    <a:pt x="891" y="2554"/>
                    <a:pt x="900" y="2537"/>
                    <a:pt x="883" y="2520"/>
                  </a:cubicBezTo>
                  <a:cubicBezTo>
                    <a:pt x="866" y="2494"/>
                    <a:pt x="849" y="2468"/>
                    <a:pt x="849" y="2434"/>
                  </a:cubicBezTo>
                  <a:cubicBezTo>
                    <a:pt x="849" y="2400"/>
                    <a:pt x="866" y="2391"/>
                    <a:pt x="857" y="2383"/>
                  </a:cubicBezTo>
                  <a:cubicBezTo>
                    <a:pt x="849" y="2374"/>
                    <a:pt x="840" y="2357"/>
                    <a:pt x="840" y="2349"/>
                  </a:cubicBezTo>
                  <a:cubicBezTo>
                    <a:pt x="840" y="2331"/>
                    <a:pt x="831" y="2323"/>
                    <a:pt x="840" y="2306"/>
                  </a:cubicBezTo>
                  <a:cubicBezTo>
                    <a:pt x="857" y="2297"/>
                    <a:pt x="866" y="2280"/>
                    <a:pt x="874" y="2289"/>
                  </a:cubicBezTo>
                  <a:cubicBezTo>
                    <a:pt x="883" y="2297"/>
                    <a:pt x="891" y="2314"/>
                    <a:pt x="891" y="2297"/>
                  </a:cubicBezTo>
                  <a:cubicBezTo>
                    <a:pt x="891" y="2271"/>
                    <a:pt x="866" y="2254"/>
                    <a:pt x="866" y="2237"/>
                  </a:cubicBezTo>
                  <a:cubicBezTo>
                    <a:pt x="866" y="2228"/>
                    <a:pt x="857" y="2186"/>
                    <a:pt x="874" y="2160"/>
                  </a:cubicBezTo>
                  <a:cubicBezTo>
                    <a:pt x="883" y="2143"/>
                    <a:pt x="891" y="2126"/>
                    <a:pt x="891" y="2117"/>
                  </a:cubicBezTo>
                  <a:cubicBezTo>
                    <a:pt x="883" y="2109"/>
                    <a:pt x="857" y="2091"/>
                    <a:pt x="849" y="2074"/>
                  </a:cubicBezTo>
                  <a:cubicBezTo>
                    <a:pt x="849" y="2057"/>
                    <a:pt x="874" y="2057"/>
                    <a:pt x="900" y="2049"/>
                  </a:cubicBezTo>
                  <a:cubicBezTo>
                    <a:pt x="917" y="2031"/>
                    <a:pt x="917" y="2023"/>
                    <a:pt x="926" y="2006"/>
                  </a:cubicBezTo>
                  <a:cubicBezTo>
                    <a:pt x="926" y="1980"/>
                    <a:pt x="934" y="1971"/>
                    <a:pt x="926" y="1946"/>
                  </a:cubicBezTo>
                  <a:cubicBezTo>
                    <a:pt x="917" y="1928"/>
                    <a:pt x="900" y="1894"/>
                    <a:pt x="917" y="1903"/>
                  </a:cubicBezTo>
                  <a:cubicBezTo>
                    <a:pt x="926" y="1920"/>
                    <a:pt x="934" y="1937"/>
                    <a:pt x="951" y="1928"/>
                  </a:cubicBezTo>
                  <a:cubicBezTo>
                    <a:pt x="960" y="1920"/>
                    <a:pt x="994" y="1903"/>
                    <a:pt x="986" y="1877"/>
                  </a:cubicBezTo>
                  <a:cubicBezTo>
                    <a:pt x="977" y="1860"/>
                    <a:pt x="960" y="1869"/>
                    <a:pt x="977" y="1851"/>
                  </a:cubicBezTo>
                  <a:cubicBezTo>
                    <a:pt x="1003" y="1843"/>
                    <a:pt x="994" y="1817"/>
                    <a:pt x="1020" y="1809"/>
                  </a:cubicBezTo>
                  <a:cubicBezTo>
                    <a:pt x="1037" y="1800"/>
                    <a:pt x="1054" y="1800"/>
                    <a:pt x="1071" y="1774"/>
                  </a:cubicBezTo>
                  <a:cubicBezTo>
                    <a:pt x="1080" y="1748"/>
                    <a:pt x="1080" y="1723"/>
                    <a:pt x="1106" y="1706"/>
                  </a:cubicBezTo>
                  <a:cubicBezTo>
                    <a:pt x="1131" y="1697"/>
                    <a:pt x="1106" y="1731"/>
                    <a:pt x="1131" y="1714"/>
                  </a:cubicBezTo>
                  <a:cubicBezTo>
                    <a:pt x="1149" y="1706"/>
                    <a:pt x="1131" y="1688"/>
                    <a:pt x="1149" y="1680"/>
                  </a:cubicBezTo>
                  <a:cubicBezTo>
                    <a:pt x="1166" y="1663"/>
                    <a:pt x="1226" y="1611"/>
                    <a:pt x="1252" y="1594"/>
                  </a:cubicBezTo>
                  <a:cubicBezTo>
                    <a:pt x="1277" y="1577"/>
                    <a:pt x="1269" y="1466"/>
                    <a:pt x="1294" y="1448"/>
                  </a:cubicBezTo>
                  <a:cubicBezTo>
                    <a:pt x="1311" y="1423"/>
                    <a:pt x="1337" y="1380"/>
                    <a:pt x="1329" y="1371"/>
                  </a:cubicBezTo>
                  <a:cubicBezTo>
                    <a:pt x="1329" y="1354"/>
                    <a:pt x="1311" y="1345"/>
                    <a:pt x="1303" y="1337"/>
                  </a:cubicBezTo>
                  <a:cubicBezTo>
                    <a:pt x="1286" y="1320"/>
                    <a:pt x="1269" y="1303"/>
                    <a:pt x="1269" y="1294"/>
                  </a:cubicBezTo>
                  <a:cubicBezTo>
                    <a:pt x="1260" y="1277"/>
                    <a:pt x="1294" y="1226"/>
                    <a:pt x="1294" y="1200"/>
                  </a:cubicBezTo>
                  <a:cubicBezTo>
                    <a:pt x="1303" y="1174"/>
                    <a:pt x="1286" y="1149"/>
                    <a:pt x="1303" y="1140"/>
                  </a:cubicBezTo>
                  <a:cubicBezTo>
                    <a:pt x="1311" y="1131"/>
                    <a:pt x="1329" y="1131"/>
                    <a:pt x="1311" y="1123"/>
                  </a:cubicBezTo>
                  <a:cubicBezTo>
                    <a:pt x="1303" y="1114"/>
                    <a:pt x="1277" y="1123"/>
                    <a:pt x="1286" y="1105"/>
                  </a:cubicBezTo>
                  <a:cubicBezTo>
                    <a:pt x="1303" y="1097"/>
                    <a:pt x="1320" y="1080"/>
                    <a:pt x="1329" y="1063"/>
                  </a:cubicBezTo>
                  <a:cubicBezTo>
                    <a:pt x="1337" y="1045"/>
                    <a:pt x="1303" y="1054"/>
                    <a:pt x="1329" y="1045"/>
                  </a:cubicBezTo>
                  <a:cubicBezTo>
                    <a:pt x="1346" y="1037"/>
                    <a:pt x="1363" y="1011"/>
                    <a:pt x="1363" y="1028"/>
                  </a:cubicBezTo>
                  <a:cubicBezTo>
                    <a:pt x="1363" y="1037"/>
                    <a:pt x="1380" y="1045"/>
                    <a:pt x="1380" y="1028"/>
                  </a:cubicBezTo>
                  <a:cubicBezTo>
                    <a:pt x="1380" y="1020"/>
                    <a:pt x="1354" y="951"/>
                    <a:pt x="1371" y="951"/>
                  </a:cubicBezTo>
                  <a:cubicBezTo>
                    <a:pt x="1389" y="951"/>
                    <a:pt x="1397" y="968"/>
                    <a:pt x="1406" y="951"/>
                  </a:cubicBezTo>
                  <a:cubicBezTo>
                    <a:pt x="1406" y="934"/>
                    <a:pt x="1397" y="926"/>
                    <a:pt x="1406" y="926"/>
                  </a:cubicBezTo>
                  <a:cubicBezTo>
                    <a:pt x="1423" y="934"/>
                    <a:pt x="1440" y="960"/>
                    <a:pt x="1457" y="951"/>
                  </a:cubicBezTo>
                  <a:cubicBezTo>
                    <a:pt x="1474" y="951"/>
                    <a:pt x="1457" y="943"/>
                    <a:pt x="1483" y="934"/>
                  </a:cubicBezTo>
                  <a:cubicBezTo>
                    <a:pt x="1500" y="926"/>
                    <a:pt x="1551" y="917"/>
                    <a:pt x="1594" y="917"/>
                  </a:cubicBezTo>
                  <a:cubicBezTo>
                    <a:pt x="1577" y="865"/>
                    <a:pt x="1543" y="823"/>
                    <a:pt x="1526" y="81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5" name="Freeform 76"/>
            <p:cNvSpPr>
              <a:spLocks noChangeArrowheads="1"/>
            </p:cNvSpPr>
            <p:nvPr/>
          </p:nvSpPr>
          <p:spPr bwMode="auto">
            <a:xfrm>
              <a:off x="3473450" y="828675"/>
              <a:ext cx="908050" cy="2082800"/>
            </a:xfrm>
            <a:custGeom>
              <a:avLst/>
              <a:gdLst>
                <a:gd name="T0" fmla="*/ 2147483647 w 2521"/>
                <a:gd name="T1" fmla="*/ 2147483647 h 5787"/>
                <a:gd name="T2" fmla="*/ 2147483647 w 2521"/>
                <a:gd name="T3" fmla="*/ 2147483647 h 5787"/>
                <a:gd name="T4" fmla="*/ 2147483647 w 2521"/>
                <a:gd name="T5" fmla="*/ 2147483647 h 5787"/>
                <a:gd name="T6" fmla="*/ 2147483647 w 2521"/>
                <a:gd name="T7" fmla="*/ 2147483647 h 5787"/>
                <a:gd name="T8" fmla="*/ 2147483647 w 2521"/>
                <a:gd name="T9" fmla="*/ 2147483647 h 5787"/>
                <a:gd name="T10" fmla="*/ 2147483647 w 2521"/>
                <a:gd name="T11" fmla="*/ 2147483647 h 5787"/>
                <a:gd name="T12" fmla="*/ 2147483647 w 2521"/>
                <a:gd name="T13" fmla="*/ 2147483647 h 5787"/>
                <a:gd name="T14" fmla="*/ 2147483647 w 2521"/>
                <a:gd name="T15" fmla="*/ 2147483647 h 5787"/>
                <a:gd name="T16" fmla="*/ 2147483647 w 2521"/>
                <a:gd name="T17" fmla="*/ 2147483647 h 5787"/>
                <a:gd name="T18" fmla="*/ 2147483647 w 2521"/>
                <a:gd name="T19" fmla="*/ 2147483647 h 5787"/>
                <a:gd name="T20" fmla="*/ 2147483647 w 2521"/>
                <a:gd name="T21" fmla="*/ 2147483647 h 5787"/>
                <a:gd name="T22" fmla="*/ 2147483647 w 2521"/>
                <a:gd name="T23" fmla="*/ 2147483647 h 5787"/>
                <a:gd name="T24" fmla="*/ 2147483647 w 2521"/>
                <a:gd name="T25" fmla="*/ 2147483647 h 5787"/>
                <a:gd name="T26" fmla="*/ 2147483647 w 2521"/>
                <a:gd name="T27" fmla="*/ 2147483647 h 5787"/>
                <a:gd name="T28" fmla="*/ 2147483647 w 2521"/>
                <a:gd name="T29" fmla="*/ 2147483647 h 5787"/>
                <a:gd name="T30" fmla="*/ 2147483647 w 2521"/>
                <a:gd name="T31" fmla="*/ 2147483647 h 5787"/>
                <a:gd name="T32" fmla="*/ 2147483647 w 2521"/>
                <a:gd name="T33" fmla="*/ 2147483647 h 5787"/>
                <a:gd name="T34" fmla="*/ 2147483647 w 2521"/>
                <a:gd name="T35" fmla="*/ 2147483647 h 5787"/>
                <a:gd name="T36" fmla="*/ 2147483647 w 2521"/>
                <a:gd name="T37" fmla="*/ 2147483647 h 5787"/>
                <a:gd name="T38" fmla="*/ 2147483647 w 2521"/>
                <a:gd name="T39" fmla="*/ 2147483647 h 5787"/>
                <a:gd name="T40" fmla="*/ 2147483647 w 2521"/>
                <a:gd name="T41" fmla="*/ 2147483647 h 5787"/>
                <a:gd name="T42" fmla="*/ 2147483647 w 2521"/>
                <a:gd name="T43" fmla="*/ 2147483647 h 5787"/>
                <a:gd name="T44" fmla="*/ 2147483647 w 2521"/>
                <a:gd name="T45" fmla="*/ 2147483647 h 5787"/>
                <a:gd name="T46" fmla="*/ 2147483647 w 2521"/>
                <a:gd name="T47" fmla="*/ 2147483647 h 5787"/>
                <a:gd name="T48" fmla="*/ 2147483647 w 2521"/>
                <a:gd name="T49" fmla="*/ 2147483647 h 5787"/>
                <a:gd name="T50" fmla="*/ 2147483647 w 2521"/>
                <a:gd name="T51" fmla="*/ 2147483647 h 5787"/>
                <a:gd name="T52" fmla="*/ 2147483647 w 2521"/>
                <a:gd name="T53" fmla="*/ 2147483647 h 5787"/>
                <a:gd name="T54" fmla="*/ 2147483647 w 2521"/>
                <a:gd name="T55" fmla="*/ 2147483647 h 5787"/>
                <a:gd name="T56" fmla="*/ 2147483647 w 2521"/>
                <a:gd name="T57" fmla="*/ 2147483647 h 5787"/>
                <a:gd name="T58" fmla="*/ 2147483647 w 2521"/>
                <a:gd name="T59" fmla="*/ 2147483647 h 5787"/>
                <a:gd name="T60" fmla="*/ 2147483647 w 2521"/>
                <a:gd name="T61" fmla="*/ 2147483647 h 5787"/>
                <a:gd name="T62" fmla="*/ 2147483647 w 2521"/>
                <a:gd name="T63" fmla="*/ 2147483647 h 5787"/>
                <a:gd name="T64" fmla="*/ 2147483647 w 2521"/>
                <a:gd name="T65" fmla="*/ 2147483647 h 5787"/>
                <a:gd name="T66" fmla="*/ 2147483647 w 2521"/>
                <a:gd name="T67" fmla="*/ 2147483647 h 5787"/>
                <a:gd name="T68" fmla="*/ 2147483647 w 2521"/>
                <a:gd name="T69" fmla="*/ 2147483647 h 5787"/>
                <a:gd name="T70" fmla="*/ 2147483647 w 2521"/>
                <a:gd name="T71" fmla="*/ 2147483647 h 5787"/>
                <a:gd name="T72" fmla="*/ 2147483647 w 2521"/>
                <a:gd name="T73" fmla="*/ 2147483647 h 5787"/>
                <a:gd name="T74" fmla="*/ 2147483647 w 2521"/>
                <a:gd name="T75" fmla="*/ 2147483647 h 5787"/>
                <a:gd name="T76" fmla="*/ 2147483647 w 2521"/>
                <a:gd name="T77" fmla="*/ 2147483647 h 5787"/>
                <a:gd name="T78" fmla="*/ 2147483647 w 2521"/>
                <a:gd name="T79" fmla="*/ 2147483647 h 5787"/>
                <a:gd name="T80" fmla="*/ 2147483647 w 2521"/>
                <a:gd name="T81" fmla="*/ 2147483647 h 5787"/>
                <a:gd name="T82" fmla="*/ 2147483647 w 2521"/>
                <a:gd name="T83" fmla="*/ 2147483647 h 5787"/>
                <a:gd name="T84" fmla="*/ 2147483647 w 2521"/>
                <a:gd name="T85" fmla="*/ 2147483647 h 5787"/>
                <a:gd name="T86" fmla="*/ 2147483647 w 2521"/>
                <a:gd name="T87" fmla="*/ 2147483647 h 5787"/>
                <a:gd name="T88" fmla="*/ 2147483647 w 2521"/>
                <a:gd name="T89" fmla="*/ 2147483647 h 5787"/>
                <a:gd name="T90" fmla="*/ 2147483647 w 2521"/>
                <a:gd name="T91" fmla="*/ 2147483647 h 5787"/>
                <a:gd name="T92" fmla="*/ 2147483647 w 2521"/>
                <a:gd name="T93" fmla="*/ 2147483647 h 5787"/>
                <a:gd name="T94" fmla="*/ 2147483647 w 2521"/>
                <a:gd name="T95" fmla="*/ 2147483647 h 5787"/>
                <a:gd name="T96" fmla="*/ 2147483647 w 2521"/>
                <a:gd name="T97" fmla="*/ 2147483647 h 5787"/>
                <a:gd name="T98" fmla="*/ 2147483647 w 2521"/>
                <a:gd name="T99" fmla="*/ 2147483647 h 5787"/>
                <a:gd name="T100" fmla="*/ 2147483647 w 2521"/>
                <a:gd name="T101" fmla="*/ 2147483647 h 5787"/>
                <a:gd name="T102" fmla="*/ 2147483647 w 2521"/>
                <a:gd name="T103" fmla="*/ 2147483647 h 5787"/>
                <a:gd name="T104" fmla="*/ 2147483647 w 2521"/>
                <a:gd name="T105" fmla="*/ 2147483647 h 5787"/>
                <a:gd name="T106" fmla="*/ 2147483647 w 2521"/>
                <a:gd name="T107" fmla="*/ 2147483647 h 5787"/>
                <a:gd name="T108" fmla="*/ 2147483647 w 2521"/>
                <a:gd name="T109" fmla="*/ 2147483647 h 5787"/>
                <a:gd name="T110" fmla="*/ 2147483647 w 2521"/>
                <a:gd name="T111" fmla="*/ 2147483647 h 5787"/>
                <a:gd name="T112" fmla="*/ 2147483647 w 2521"/>
                <a:gd name="T113" fmla="*/ 2147483647 h 5787"/>
                <a:gd name="T114" fmla="*/ 2147483647 w 2521"/>
                <a:gd name="T115" fmla="*/ 2147483647 h 5787"/>
                <a:gd name="T116" fmla="*/ 2147483647 w 2521"/>
                <a:gd name="T117" fmla="*/ 2147483647 h 5787"/>
                <a:gd name="T118" fmla="*/ 2147483647 w 2521"/>
                <a:gd name="T119" fmla="*/ 2147483647 h 5787"/>
                <a:gd name="T120" fmla="*/ 2147483647 w 2521"/>
                <a:gd name="T121" fmla="*/ 2147483647 h 5787"/>
                <a:gd name="T122" fmla="*/ 2147483647 w 2521"/>
                <a:gd name="T123" fmla="*/ 2147483647 h 578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21"/>
                <a:gd name="T187" fmla="*/ 0 h 5787"/>
                <a:gd name="T188" fmla="*/ 2521 w 2521"/>
                <a:gd name="T189" fmla="*/ 5787 h 578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21" h="5787">
                  <a:moveTo>
                    <a:pt x="2494" y="9"/>
                  </a:moveTo>
                  <a:lnTo>
                    <a:pt x="2494" y="9"/>
                  </a:lnTo>
                  <a:cubicBezTo>
                    <a:pt x="2477" y="9"/>
                    <a:pt x="2468" y="26"/>
                    <a:pt x="2459" y="43"/>
                  </a:cubicBezTo>
                  <a:cubicBezTo>
                    <a:pt x="2451" y="60"/>
                    <a:pt x="2400" y="120"/>
                    <a:pt x="2400" y="112"/>
                  </a:cubicBezTo>
                  <a:cubicBezTo>
                    <a:pt x="2400" y="112"/>
                    <a:pt x="2400" y="86"/>
                    <a:pt x="2408" y="86"/>
                  </a:cubicBezTo>
                  <a:cubicBezTo>
                    <a:pt x="2425" y="77"/>
                    <a:pt x="2451" y="43"/>
                    <a:pt x="2442" y="43"/>
                  </a:cubicBezTo>
                  <a:cubicBezTo>
                    <a:pt x="2434" y="52"/>
                    <a:pt x="2391" y="69"/>
                    <a:pt x="2382" y="94"/>
                  </a:cubicBezTo>
                  <a:cubicBezTo>
                    <a:pt x="2382" y="120"/>
                    <a:pt x="2400" y="163"/>
                    <a:pt x="2382" y="197"/>
                  </a:cubicBezTo>
                  <a:cubicBezTo>
                    <a:pt x="2365" y="240"/>
                    <a:pt x="2322" y="334"/>
                    <a:pt x="2314" y="343"/>
                  </a:cubicBezTo>
                  <a:cubicBezTo>
                    <a:pt x="2305" y="360"/>
                    <a:pt x="2280" y="360"/>
                    <a:pt x="2263" y="369"/>
                  </a:cubicBezTo>
                  <a:cubicBezTo>
                    <a:pt x="2254" y="369"/>
                    <a:pt x="2280" y="386"/>
                    <a:pt x="2288" y="386"/>
                  </a:cubicBezTo>
                  <a:cubicBezTo>
                    <a:pt x="2288" y="394"/>
                    <a:pt x="2305" y="403"/>
                    <a:pt x="2331" y="411"/>
                  </a:cubicBezTo>
                  <a:cubicBezTo>
                    <a:pt x="2322" y="411"/>
                    <a:pt x="2314" y="411"/>
                    <a:pt x="2305" y="420"/>
                  </a:cubicBezTo>
                  <a:cubicBezTo>
                    <a:pt x="2280" y="429"/>
                    <a:pt x="2245" y="455"/>
                    <a:pt x="2245" y="472"/>
                  </a:cubicBezTo>
                  <a:cubicBezTo>
                    <a:pt x="2245" y="480"/>
                    <a:pt x="2263" y="497"/>
                    <a:pt x="2245" y="489"/>
                  </a:cubicBezTo>
                  <a:cubicBezTo>
                    <a:pt x="2237" y="489"/>
                    <a:pt x="2228" y="480"/>
                    <a:pt x="2219" y="489"/>
                  </a:cubicBezTo>
                  <a:cubicBezTo>
                    <a:pt x="2211" y="506"/>
                    <a:pt x="2219" y="506"/>
                    <a:pt x="2228" y="514"/>
                  </a:cubicBezTo>
                  <a:cubicBezTo>
                    <a:pt x="2237" y="523"/>
                    <a:pt x="2263" y="532"/>
                    <a:pt x="2263" y="549"/>
                  </a:cubicBezTo>
                  <a:cubicBezTo>
                    <a:pt x="2263" y="566"/>
                    <a:pt x="2263" y="583"/>
                    <a:pt x="2263" y="600"/>
                  </a:cubicBezTo>
                  <a:cubicBezTo>
                    <a:pt x="2263" y="609"/>
                    <a:pt x="2271" y="626"/>
                    <a:pt x="2280" y="634"/>
                  </a:cubicBezTo>
                  <a:cubicBezTo>
                    <a:pt x="2288" y="651"/>
                    <a:pt x="2305" y="695"/>
                    <a:pt x="2297" y="703"/>
                  </a:cubicBezTo>
                  <a:cubicBezTo>
                    <a:pt x="2288" y="712"/>
                    <a:pt x="2237" y="754"/>
                    <a:pt x="2228" y="763"/>
                  </a:cubicBezTo>
                  <a:cubicBezTo>
                    <a:pt x="2219" y="780"/>
                    <a:pt x="2194" y="823"/>
                    <a:pt x="2202" y="806"/>
                  </a:cubicBezTo>
                  <a:cubicBezTo>
                    <a:pt x="2202" y="789"/>
                    <a:pt x="2202" y="763"/>
                    <a:pt x="2194" y="772"/>
                  </a:cubicBezTo>
                  <a:cubicBezTo>
                    <a:pt x="2185" y="780"/>
                    <a:pt x="2151" y="814"/>
                    <a:pt x="2134" y="806"/>
                  </a:cubicBezTo>
                  <a:cubicBezTo>
                    <a:pt x="2117" y="806"/>
                    <a:pt x="2057" y="746"/>
                    <a:pt x="2040" y="737"/>
                  </a:cubicBezTo>
                  <a:cubicBezTo>
                    <a:pt x="2031" y="737"/>
                    <a:pt x="1954" y="737"/>
                    <a:pt x="1945" y="720"/>
                  </a:cubicBezTo>
                  <a:cubicBezTo>
                    <a:pt x="1937" y="703"/>
                    <a:pt x="1945" y="669"/>
                    <a:pt x="1945" y="660"/>
                  </a:cubicBezTo>
                  <a:cubicBezTo>
                    <a:pt x="1954" y="643"/>
                    <a:pt x="1954" y="643"/>
                    <a:pt x="1954" y="626"/>
                  </a:cubicBezTo>
                  <a:cubicBezTo>
                    <a:pt x="1954" y="617"/>
                    <a:pt x="1937" y="609"/>
                    <a:pt x="1945" y="600"/>
                  </a:cubicBezTo>
                  <a:cubicBezTo>
                    <a:pt x="1954" y="592"/>
                    <a:pt x="2023" y="523"/>
                    <a:pt x="2040" y="514"/>
                  </a:cubicBezTo>
                  <a:cubicBezTo>
                    <a:pt x="2057" y="506"/>
                    <a:pt x="2074" y="506"/>
                    <a:pt x="2065" y="489"/>
                  </a:cubicBezTo>
                  <a:cubicBezTo>
                    <a:pt x="2057" y="463"/>
                    <a:pt x="2031" y="472"/>
                    <a:pt x="2023" y="446"/>
                  </a:cubicBezTo>
                  <a:cubicBezTo>
                    <a:pt x="2005" y="420"/>
                    <a:pt x="2005" y="429"/>
                    <a:pt x="1988" y="420"/>
                  </a:cubicBezTo>
                  <a:cubicBezTo>
                    <a:pt x="1962" y="411"/>
                    <a:pt x="1920" y="403"/>
                    <a:pt x="1911" y="377"/>
                  </a:cubicBezTo>
                  <a:cubicBezTo>
                    <a:pt x="1902" y="360"/>
                    <a:pt x="1902" y="352"/>
                    <a:pt x="1877" y="360"/>
                  </a:cubicBezTo>
                  <a:cubicBezTo>
                    <a:pt x="1860" y="369"/>
                    <a:pt x="1791" y="386"/>
                    <a:pt x="1774" y="403"/>
                  </a:cubicBezTo>
                  <a:cubicBezTo>
                    <a:pt x="1757" y="411"/>
                    <a:pt x="1722" y="455"/>
                    <a:pt x="1697" y="455"/>
                  </a:cubicBezTo>
                  <a:cubicBezTo>
                    <a:pt x="1671" y="455"/>
                    <a:pt x="1645" y="446"/>
                    <a:pt x="1628" y="446"/>
                  </a:cubicBezTo>
                  <a:cubicBezTo>
                    <a:pt x="1611" y="446"/>
                    <a:pt x="1585" y="455"/>
                    <a:pt x="1602" y="463"/>
                  </a:cubicBezTo>
                  <a:cubicBezTo>
                    <a:pt x="1620" y="472"/>
                    <a:pt x="1739" y="489"/>
                    <a:pt x="1748" y="506"/>
                  </a:cubicBezTo>
                  <a:cubicBezTo>
                    <a:pt x="1757" y="523"/>
                    <a:pt x="1791" y="600"/>
                    <a:pt x="1791" y="617"/>
                  </a:cubicBezTo>
                  <a:cubicBezTo>
                    <a:pt x="1800" y="634"/>
                    <a:pt x="1825" y="669"/>
                    <a:pt x="1825" y="703"/>
                  </a:cubicBezTo>
                  <a:cubicBezTo>
                    <a:pt x="1825" y="729"/>
                    <a:pt x="1817" y="772"/>
                    <a:pt x="1842" y="797"/>
                  </a:cubicBezTo>
                  <a:cubicBezTo>
                    <a:pt x="1860" y="832"/>
                    <a:pt x="1842" y="840"/>
                    <a:pt x="1868" y="832"/>
                  </a:cubicBezTo>
                  <a:cubicBezTo>
                    <a:pt x="1894" y="823"/>
                    <a:pt x="1894" y="823"/>
                    <a:pt x="1920" y="840"/>
                  </a:cubicBezTo>
                  <a:cubicBezTo>
                    <a:pt x="1945" y="857"/>
                    <a:pt x="1979" y="891"/>
                    <a:pt x="1979" y="909"/>
                  </a:cubicBezTo>
                  <a:cubicBezTo>
                    <a:pt x="1979" y="917"/>
                    <a:pt x="2005" y="935"/>
                    <a:pt x="2005" y="960"/>
                  </a:cubicBezTo>
                  <a:cubicBezTo>
                    <a:pt x="2005" y="986"/>
                    <a:pt x="1997" y="1029"/>
                    <a:pt x="2023" y="1063"/>
                  </a:cubicBezTo>
                  <a:cubicBezTo>
                    <a:pt x="2048" y="1106"/>
                    <a:pt x="2082" y="1175"/>
                    <a:pt x="2074" y="1175"/>
                  </a:cubicBezTo>
                  <a:cubicBezTo>
                    <a:pt x="2074" y="1175"/>
                    <a:pt x="2014" y="1115"/>
                    <a:pt x="2005" y="1115"/>
                  </a:cubicBezTo>
                  <a:cubicBezTo>
                    <a:pt x="1997" y="1115"/>
                    <a:pt x="1988" y="1123"/>
                    <a:pt x="1979" y="1132"/>
                  </a:cubicBezTo>
                  <a:cubicBezTo>
                    <a:pt x="1962" y="1149"/>
                    <a:pt x="1962" y="1157"/>
                    <a:pt x="1971" y="1166"/>
                  </a:cubicBezTo>
                  <a:cubicBezTo>
                    <a:pt x="1971" y="1166"/>
                    <a:pt x="1954" y="1166"/>
                    <a:pt x="1962" y="1149"/>
                  </a:cubicBezTo>
                  <a:cubicBezTo>
                    <a:pt x="1962" y="1140"/>
                    <a:pt x="1971" y="1123"/>
                    <a:pt x="1971" y="1106"/>
                  </a:cubicBezTo>
                  <a:cubicBezTo>
                    <a:pt x="1971" y="1097"/>
                    <a:pt x="1962" y="1089"/>
                    <a:pt x="1954" y="1089"/>
                  </a:cubicBezTo>
                  <a:cubicBezTo>
                    <a:pt x="1945" y="1089"/>
                    <a:pt x="1937" y="1097"/>
                    <a:pt x="1928" y="1089"/>
                  </a:cubicBezTo>
                  <a:cubicBezTo>
                    <a:pt x="1920" y="1080"/>
                    <a:pt x="1911" y="1072"/>
                    <a:pt x="1902" y="1072"/>
                  </a:cubicBezTo>
                  <a:cubicBezTo>
                    <a:pt x="1885" y="1080"/>
                    <a:pt x="1842" y="1106"/>
                    <a:pt x="1842" y="1106"/>
                  </a:cubicBezTo>
                  <a:cubicBezTo>
                    <a:pt x="1834" y="1106"/>
                    <a:pt x="1808" y="1106"/>
                    <a:pt x="1783" y="1106"/>
                  </a:cubicBezTo>
                  <a:cubicBezTo>
                    <a:pt x="1765" y="1106"/>
                    <a:pt x="1765" y="1123"/>
                    <a:pt x="1765" y="1157"/>
                  </a:cubicBezTo>
                  <a:cubicBezTo>
                    <a:pt x="1757" y="1183"/>
                    <a:pt x="1748" y="1269"/>
                    <a:pt x="1731" y="1286"/>
                  </a:cubicBezTo>
                  <a:cubicBezTo>
                    <a:pt x="1705" y="1312"/>
                    <a:pt x="1679" y="1337"/>
                    <a:pt x="1671" y="1346"/>
                  </a:cubicBezTo>
                  <a:cubicBezTo>
                    <a:pt x="1671" y="1355"/>
                    <a:pt x="1654" y="1432"/>
                    <a:pt x="1645" y="1440"/>
                  </a:cubicBezTo>
                  <a:cubicBezTo>
                    <a:pt x="1637" y="1457"/>
                    <a:pt x="1611" y="1474"/>
                    <a:pt x="1611" y="1492"/>
                  </a:cubicBezTo>
                  <a:cubicBezTo>
                    <a:pt x="1611" y="1509"/>
                    <a:pt x="1645" y="1560"/>
                    <a:pt x="1671" y="1577"/>
                  </a:cubicBezTo>
                  <a:cubicBezTo>
                    <a:pt x="1705" y="1586"/>
                    <a:pt x="1748" y="1620"/>
                    <a:pt x="1765" y="1646"/>
                  </a:cubicBezTo>
                  <a:cubicBezTo>
                    <a:pt x="1791" y="1672"/>
                    <a:pt x="1791" y="1680"/>
                    <a:pt x="1800" y="1697"/>
                  </a:cubicBezTo>
                  <a:cubicBezTo>
                    <a:pt x="1808" y="1714"/>
                    <a:pt x="1868" y="1740"/>
                    <a:pt x="1868" y="1740"/>
                  </a:cubicBezTo>
                  <a:cubicBezTo>
                    <a:pt x="1868" y="1740"/>
                    <a:pt x="1817" y="1749"/>
                    <a:pt x="1791" y="1749"/>
                  </a:cubicBezTo>
                  <a:cubicBezTo>
                    <a:pt x="1774" y="1749"/>
                    <a:pt x="1739" y="1740"/>
                    <a:pt x="1731" y="1749"/>
                  </a:cubicBezTo>
                  <a:cubicBezTo>
                    <a:pt x="1731" y="1766"/>
                    <a:pt x="1748" y="1774"/>
                    <a:pt x="1731" y="1774"/>
                  </a:cubicBezTo>
                  <a:cubicBezTo>
                    <a:pt x="1705" y="1774"/>
                    <a:pt x="1611" y="1757"/>
                    <a:pt x="1594" y="1766"/>
                  </a:cubicBezTo>
                  <a:cubicBezTo>
                    <a:pt x="1585" y="1766"/>
                    <a:pt x="1560" y="1783"/>
                    <a:pt x="1560" y="1792"/>
                  </a:cubicBezTo>
                  <a:cubicBezTo>
                    <a:pt x="1551" y="1792"/>
                    <a:pt x="1534" y="1826"/>
                    <a:pt x="1525" y="1817"/>
                  </a:cubicBezTo>
                  <a:cubicBezTo>
                    <a:pt x="1517" y="1809"/>
                    <a:pt x="1508" y="1809"/>
                    <a:pt x="1508" y="1809"/>
                  </a:cubicBezTo>
                  <a:cubicBezTo>
                    <a:pt x="1517" y="1800"/>
                    <a:pt x="1543" y="1792"/>
                    <a:pt x="1543" y="1783"/>
                  </a:cubicBezTo>
                  <a:cubicBezTo>
                    <a:pt x="1534" y="1774"/>
                    <a:pt x="1508" y="1774"/>
                    <a:pt x="1482" y="1766"/>
                  </a:cubicBezTo>
                  <a:cubicBezTo>
                    <a:pt x="1457" y="1766"/>
                    <a:pt x="1457" y="1749"/>
                    <a:pt x="1431" y="1740"/>
                  </a:cubicBezTo>
                  <a:cubicBezTo>
                    <a:pt x="1397" y="1723"/>
                    <a:pt x="1328" y="1723"/>
                    <a:pt x="1320" y="1740"/>
                  </a:cubicBezTo>
                  <a:cubicBezTo>
                    <a:pt x="1311" y="1757"/>
                    <a:pt x="1337" y="1774"/>
                    <a:pt x="1328" y="1792"/>
                  </a:cubicBezTo>
                  <a:cubicBezTo>
                    <a:pt x="1320" y="1809"/>
                    <a:pt x="1303" y="1835"/>
                    <a:pt x="1303" y="1843"/>
                  </a:cubicBezTo>
                  <a:cubicBezTo>
                    <a:pt x="1311" y="1852"/>
                    <a:pt x="1320" y="1852"/>
                    <a:pt x="1328" y="1860"/>
                  </a:cubicBezTo>
                  <a:cubicBezTo>
                    <a:pt x="1337" y="1869"/>
                    <a:pt x="1328" y="1860"/>
                    <a:pt x="1354" y="1877"/>
                  </a:cubicBezTo>
                  <a:cubicBezTo>
                    <a:pt x="1388" y="1895"/>
                    <a:pt x="1448" y="1963"/>
                    <a:pt x="1457" y="1954"/>
                  </a:cubicBezTo>
                  <a:cubicBezTo>
                    <a:pt x="1474" y="1946"/>
                    <a:pt x="1491" y="1903"/>
                    <a:pt x="1508" y="1912"/>
                  </a:cubicBezTo>
                  <a:cubicBezTo>
                    <a:pt x="1534" y="1912"/>
                    <a:pt x="1560" y="1912"/>
                    <a:pt x="1551" y="1937"/>
                  </a:cubicBezTo>
                  <a:cubicBezTo>
                    <a:pt x="1551" y="1954"/>
                    <a:pt x="1560" y="1963"/>
                    <a:pt x="1568" y="1972"/>
                  </a:cubicBezTo>
                  <a:cubicBezTo>
                    <a:pt x="1577" y="1980"/>
                    <a:pt x="1594" y="1972"/>
                    <a:pt x="1594" y="1997"/>
                  </a:cubicBezTo>
                  <a:cubicBezTo>
                    <a:pt x="1594" y="2015"/>
                    <a:pt x="1602" y="2040"/>
                    <a:pt x="1594" y="2040"/>
                  </a:cubicBezTo>
                  <a:cubicBezTo>
                    <a:pt x="1577" y="2049"/>
                    <a:pt x="1551" y="2057"/>
                    <a:pt x="1551" y="2066"/>
                  </a:cubicBezTo>
                  <a:cubicBezTo>
                    <a:pt x="1551" y="2083"/>
                    <a:pt x="1551" y="2092"/>
                    <a:pt x="1534" y="2092"/>
                  </a:cubicBezTo>
                  <a:cubicBezTo>
                    <a:pt x="1517" y="2092"/>
                    <a:pt x="1465" y="2092"/>
                    <a:pt x="1448" y="2092"/>
                  </a:cubicBezTo>
                  <a:cubicBezTo>
                    <a:pt x="1431" y="2092"/>
                    <a:pt x="1388" y="2109"/>
                    <a:pt x="1371" y="2092"/>
                  </a:cubicBezTo>
                  <a:cubicBezTo>
                    <a:pt x="1362" y="2075"/>
                    <a:pt x="1337" y="2049"/>
                    <a:pt x="1328" y="2049"/>
                  </a:cubicBezTo>
                  <a:cubicBezTo>
                    <a:pt x="1311" y="2049"/>
                    <a:pt x="1311" y="2049"/>
                    <a:pt x="1294" y="2040"/>
                  </a:cubicBezTo>
                  <a:cubicBezTo>
                    <a:pt x="1285" y="2032"/>
                    <a:pt x="1268" y="2023"/>
                    <a:pt x="1259" y="2023"/>
                  </a:cubicBezTo>
                  <a:cubicBezTo>
                    <a:pt x="1251" y="2023"/>
                    <a:pt x="1251" y="2040"/>
                    <a:pt x="1242" y="2040"/>
                  </a:cubicBezTo>
                  <a:cubicBezTo>
                    <a:pt x="1234" y="2049"/>
                    <a:pt x="1242" y="2057"/>
                    <a:pt x="1217" y="2049"/>
                  </a:cubicBezTo>
                  <a:cubicBezTo>
                    <a:pt x="1191" y="2032"/>
                    <a:pt x="1148" y="2023"/>
                    <a:pt x="1140" y="2006"/>
                  </a:cubicBezTo>
                  <a:cubicBezTo>
                    <a:pt x="1140" y="1997"/>
                    <a:pt x="1148" y="1989"/>
                    <a:pt x="1140" y="1980"/>
                  </a:cubicBezTo>
                  <a:cubicBezTo>
                    <a:pt x="1131" y="1963"/>
                    <a:pt x="1131" y="1954"/>
                    <a:pt x="1122" y="1937"/>
                  </a:cubicBezTo>
                  <a:cubicBezTo>
                    <a:pt x="1122" y="1929"/>
                    <a:pt x="1097" y="1895"/>
                    <a:pt x="1088" y="1886"/>
                  </a:cubicBezTo>
                  <a:cubicBezTo>
                    <a:pt x="1080" y="1886"/>
                    <a:pt x="1088" y="1869"/>
                    <a:pt x="1080" y="1860"/>
                  </a:cubicBezTo>
                  <a:cubicBezTo>
                    <a:pt x="1071" y="1860"/>
                    <a:pt x="1054" y="1852"/>
                    <a:pt x="1054" y="1843"/>
                  </a:cubicBezTo>
                  <a:cubicBezTo>
                    <a:pt x="1054" y="1835"/>
                    <a:pt x="1063" y="1835"/>
                    <a:pt x="1045" y="1826"/>
                  </a:cubicBezTo>
                  <a:cubicBezTo>
                    <a:pt x="1028" y="1817"/>
                    <a:pt x="1002" y="1800"/>
                    <a:pt x="1002" y="1792"/>
                  </a:cubicBezTo>
                  <a:cubicBezTo>
                    <a:pt x="1002" y="1774"/>
                    <a:pt x="1002" y="1766"/>
                    <a:pt x="1011" y="1766"/>
                  </a:cubicBezTo>
                  <a:cubicBezTo>
                    <a:pt x="1028" y="1766"/>
                    <a:pt x="1037" y="1732"/>
                    <a:pt x="1028" y="1714"/>
                  </a:cubicBezTo>
                  <a:cubicBezTo>
                    <a:pt x="1019" y="1697"/>
                    <a:pt x="1002" y="1680"/>
                    <a:pt x="1011" y="1672"/>
                  </a:cubicBezTo>
                  <a:cubicBezTo>
                    <a:pt x="1019" y="1663"/>
                    <a:pt x="1028" y="1672"/>
                    <a:pt x="1019" y="1655"/>
                  </a:cubicBezTo>
                  <a:cubicBezTo>
                    <a:pt x="1019" y="1646"/>
                    <a:pt x="994" y="1629"/>
                    <a:pt x="985" y="1620"/>
                  </a:cubicBezTo>
                  <a:cubicBezTo>
                    <a:pt x="977" y="1603"/>
                    <a:pt x="891" y="1560"/>
                    <a:pt x="874" y="1560"/>
                  </a:cubicBezTo>
                  <a:cubicBezTo>
                    <a:pt x="865" y="1569"/>
                    <a:pt x="865" y="1577"/>
                    <a:pt x="857" y="1577"/>
                  </a:cubicBezTo>
                  <a:cubicBezTo>
                    <a:pt x="848" y="1577"/>
                    <a:pt x="831" y="1560"/>
                    <a:pt x="823" y="1560"/>
                  </a:cubicBezTo>
                  <a:cubicBezTo>
                    <a:pt x="814" y="1560"/>
                    <a:pt x="788" y="1569"/>
                    <a:pt x="788" y="1569"/>
                  </a:cubicBezTo>
                  <a:cubicBezTo>
                    <a:pt x="788" y="1569"/>
                    <a:pt x="814" y="1552"/>
                    <a:pt x="814" y="1534"/>
                  </a:cubicBezTo>
                  <a:cubicBezTo>
                    <a:pt x="814" y="1526"/>
                    <a:pt x="814" y="1517"/>
                    <a:pt x="805" y="1517"/>
                  </a:cubicBezTo>
                  <a:cubicBezTo>
                    <a:pt x="788" y="1517"/>
                    <a:pt x="771" y="1517"/>
                    <a:pt x="762" y="1517"/>
                  </a:cubicBezTo>
                  <a:cubicBezTo>
                    <a:pt x="745" y="1517"/>
                    <a:pt x="728" y="1526"/>
                    <a:pt x="720" y="1517"/>
                  </a:cubicBezTo>
                  <a:cubicBezTo>
                    <a:pt x="720" y="1517"/>
                    <a:pt x="702" y="1509"/>
                    <a:pt x="711" y="1509"/>
                  </a:cubicBezTo>
                  <a:cubicBezTo>
                    <a:pt x="720" y="1500"/>
                    <a:pt x="745" y="1483"/>
                    <a:pt x="737" y="1474"/>
                  </a:cubicBezTo>
                  <a:cubicBezTo>
                    <a:pt x="728" y="1474"/>
                    <a:pt x="694" y="1466"/>
                    <a:pt x="685" y="1466"/>
                  </a:cubicBezTo>
                  <a:cubicBezTo>
                    <a:pt x="685" y="1457"/>
                    <a:pt x="660" y="1449"/>
                    <a:pt x="660" y="1449"/>
                  </a:cubicBezTo>
                  <a:cubicBezTo>
                    <a:pt x="625" y="1432"/>
                    <a:pt x="625" y="1432"/>
                    <a:pt x="625" y="1432"/>
                  </a:cubicBezTo>
                  <a:cubicBezTo>
                    <a:pt x="625" y="1423"/>
                    <a:pt x="634" y="1406"/>
                    <a:pt x="625" y="1397"/>
                  </a:cubicBezTo>
                  <a:cubicBezTo>
                    <a:pt x="617" y="1389"/>
                    <a:pt x="591" y="1372"/>
                    <a:pt x="574" y="1372"/>
                  </a:cubicBezTo>
                  <a:cubicBezTo>
                    <a:pt x="557" y="1380"/>
                    <a:pt x="557" y="1363"/>
                    <a:pt x="583" y="1363"/>
                  </a:cubicBezTo>
                  <a:cubicBezTo>
                    <a:pt x="600" y="1355"/>
                    <a:pt x="642" y="1355"/>
                    <a:pt x="642" y="1355"/>
                  </a:cubicBezTo>
                  <a:cubicBezTo>
                    <a:pt x="651" y="1363"/>
                    <a:pt x="634" y="1372"/>
                    <a:pt x="651" y="1389"/>
                  </a:cubicBezTo>
                  <a:cubicBezTo>
                    <a:pt x="668" y="1406"/>
                    <a:pt x="745" y="1432"/>
                    <a:pt x="754" y="1432"/>
                  </a:cubicBezTo>
                  <a:cubicBezTo>
                    <a:pt x="762" y="1432"/>
                    <a:pt x="745" y="1415"/>
                    <a:pt x="771" y="1415"/>
                  </a:cubicBezTo>
                  <a:cubicBezTo>
                    <a:pt x="788" y="1415"/>
                    <a:pt x="797" y="1432"/>
                    <a:pt x="805" y="1432"/>
                  </a:cubicBezTo>
                  <a:cubicBezTo>
                    <a:pt x="823" y="1432"/>
                    <a:pt x="831" y="1415"/>
                    <a:pt x="831" y="1415"/>
                  </a:cubicBezTo>
                  <a:cubicBezTo>
                    <a:pt x="840" y="1415"/>
                    <a:pt x="840" y="1423"/>
                    <a:pt x="857" y="1423"/>
                  </a:cubicBezTo>
                  <a:cubicBezTo>
                    <a:pt x="874" y="1432"/>
                    <a:pt x="874" y="1449"/>
                    <a:pt x="891" y="1449"/>
                  </a:cubicBezTo>
                  <a:cubicBezTo>
                    <a:pt x="908" y="1457"/>
                    <a:pt x="917" y="1449"/>
                    <a:pt x="925" y="1440"/>
                  </a:cubicBezTo>
                  <a:cubicBezTo>
                    <a:pt x="934" y="1432"/>
                    <a:pt x="968" y="1432"/>
                    <a:pt x="985" y="1440"/>
                  </a:cubicBezTo>
                  <a:cubicBezTo>
                    <a:pt x="1002" y="1449"/>
                    <a:pt x="1054" y="1449"/>
                    <a:pt x="1080" y="1449"/>
                  </a:cubicBezTo>
                  <a:cubicBezTo>
                    <a:pt x="1105" y="1449"/>
                    <a:pt x="1191" y="1415"/>
                    <a:pt x="1234" y="1423"/>
                  </a:cubicBezTo>
                  <a:cubicBezTo>
                    <a:pt x="1277" y="1423"/>
                    <a:pt x="1328" y="1440"/>
                    <a:pt x="1354" y="1432"/>
                  </a:cubicBezTo>
                  <a:cubicBezTo>
                    <a:pt x="1388" y="1423"/>
                    <a:pt x="1440" y="1389"/>
                    <a:pt x="1465" y="1380"/>
                  </a:cubicBezTo>
                  <a:cubicBezTo>
                    <a:pt x="1491" y="1363"/>
                    <a:pt x="1482" y="1372"/>
                    <a:pt x="1499" y="1346"/>
                  </a:cubicBezTo>
                  <a:cubicBezTo>
                    <a:pt x="1525" y="1320"/>
                    <a:pt x="1560" y="1269"/>
                    <a:pt x="1577" y="1252"/>
                  </a:cubicBezTo>
                  <a:cubicBezTo>
                    <a:pt x="1594" y="1234"/>
                    <a:pt x="1602" y="1217"/>
                    <a:pt x="1602" y="1192"/>
                  </a:cubicBezTo>
                  <a:cubicBezTo>
                    <a:pt x="1611" y="1157"/>
                    <a:pt x="1620" y="1106"/>
                    <a:pt x="1620" y="1072"/>
                  </a:cubicBezTo>
                  <a:cubicBezTo>
                    <a:pt x="1620" y="1037"/>
                    <a:pt x="1602" y="969"/>
                    <a:pt x="1594" y="960"/>
                  </a:cubicBezTo>
                  <a:cubicBezTo>
                    <a:pt x="1577" y="960"/>
                    <a:pt x="1568" y="960"/>
                    <a:pt x="1560" y="943"/>
                  </a:cubicBezTo>
                  <a:cubicBezTo>
                    <a:pt x="1551" y="935"/>
                    <a:pt x="1551" y="917"/>
                    <a:pt x="1534" y="909"/>
                  </a:cubicBezTo>
                  <a:cubicBezTo>
                    <a:pt x="1517" y="900"/>
                    <a:pt x="1508" y="883"/>
                    <a:pt x="1508" y="874"/>
                  </a:cubicBezTo>
                  <a:cubicBezTo>
                    <a:pt x="1499" y="857"/>
                    <a:pt x="1482" y="832"/>
                    <a:pt x="1474" y="832"/>
                  </a:cubicBezTo>
                  <a:cubicBezTo>
                    <a:pt x="1474" y="832"/>
                    <a:pt x="1465" y="840"/>
                    <a:pt x="1457" y="840"/>
                  </a:cubicBezTo>
                  <a:cubicBezTo>
                    <a:pt x="1448" y="832"/>
                    <a:pt x="1431" y="832"/>
                    <a:pt x="1431" y="840"/>
                  </a:cubicBezTo>
                  <a:cubicBezTo>
                    <a:pt x="1431" y="840"/>
                    <a:pt x="1414" y="849"/>
                    <a:pt x="1414" y="840"/>
                  </a:cubicBezTo>
                  <a:cubicBezTo>
                    <a:pt x="1405" y="840"/>
                    <a:pt x="1414" y="832"/>
                    <a:pt x="1397" y="823"/>
                  </a:cubicBezTo>
                  <a:cubicBezTo>
                    <a:pt x="1380" y="814"/>
                    <a:pt x="1354" y="797"/>
                    <a:pt x="1328" y="780"/>
                  </a:cubicBezTo>
                  <a:cubicBezTo>
                    <a:pt x="1303" y="763"/>
                    <a:pt x="1285" y="754"/>
                    <a:pt x="1294" y="763"/>
                  </a:cubicBezTo>
                  <a:cubicBezTo>
                    <a:pt x="1303" y="772"/>
                    <a:pt x="1328" y="789"/>
                    <a:pt x="1311" y="789"/>
                  </a:cubicBezTo>
                  <a:cubicBezTo>
                    <a:pt x="1294" y="789"/>
                    <a:pt x="1294" y="806"/>
                    <a:pt x="1259" y="789"/>
                  </a:cubicBezTo>
                  <a:cubicBezTo>
                    <a:pt x="1234" y="772"/>
                    <a:pt x="1165" y="746"/>
                    <a:pt x="1165" y="754"/>
                  </a:cubicBezTo>
                  <a:cubicBezTo>
                    <a:pt x="1165" y="763"/>
                    <a:pt x="1174" y="780"/>
                    <a:pt x="1148" y="772"/>
                  </a:cubicBezTo>
                  <a:cubicBezTo>
                    <a:pt x="1131" y="772"/>
                    <a:pt x="1114" y="754"/>
                    <a:pt x="1097" y="746"/>
                  </a:cubicBezTo>
                  <a:cubicBezTo>
                    <a:pt x="1080" y="737"/>
                    <a:pt x="1037" y="703"/>
                    <a:pt x="1011" y="703"/>
                  </a:cubicBezTo>
                  <a:cubicBezTo>
                    <a:pt x="985" y="703"/>
                    <a:pt x="891" y="660"/>
                    <a:pt x="840" y="651"/>
                  </a:cubicBezTo>
                  <a:cubicBezTo>
                    <a:pt x="797" y="643"/>
                    <a:pt x="754" y="643"/>
                    <a:pt x="728" y="634"/>
                  </a:cubicBezTo>
                  <a:cubicBezTo>
                    <a:pt x="702" y="626"/>
                    <a:pt x="694" y="634"/>
                    <a:pt x="694" y="643"/>
                  </a:cubicBezTo>
                  <a:cubicBezTo>
                    <a:pt x="685" y="660"/>
                    <a:pt x="694" y="660"/>
                    <a:pt x="677" y="660"/>
                  </a:cubicBezTo>
                  <a:cubicBezTo>
                    <a:pt x="660" y="660"/>
                    <a:pt x="625" y="669"/>
                    <a:pt x="608" y="660"/>
                  </a:cubicBezTo>
                  <a:cubicBezTo>
                    <a:pt x="591" y="651"/>
                    <a:pt x="565" y="634"/>
                    <a:pt x="565" y="643"/>
                  </a:cubicBezTo>
                  <a:cubicBezTo>
                    <a:pt x="557" y="643"/>
                    <a:pt x="565" y="651"/>
                    <a:pt x="548" y="660"/>
                  </a:cubicBezTo>
                  <a:cubicBezTo>
                    <a:pt x="531" y="660"/>
                    <a:pt x="514" y="686"/>
                    <a:pt x="514" y="703"/>
                  </a:cubicBezTo>
                  <a:cubicBezTo>
                    <a:pt x="522" y="712"/>
                    <a:pt x="539" y="729"/>
                    <a:pt x="522" y="737"/>
                  </a:cubicBezTo>
                  <a:cubicBezTo>
                    <a:pt x="514" y="746"/>
                    <a:pt x="497" y="763"/>
                    <a:pt x="497" y="763"/>
                  </a:cubicBezTo>
                  <a:cubicBezTo>
                    <a:pt x="497" y="763"/>
                    <a:pt x="514" y="737"/>
                    <a:pt x="514" y="729"/>
                  </a:cubicBezTo>
                  <a:cubicBezTo>
                    <a:pt x="514" y="729"/>
                    <a:pt x="514" y="720"/>
                    <a:pt x="505" y="720"/>
                  </a:cubicBezTo>
                  <a:cubicBezTo>
                    <a:pt x="497" y="720"/>
                    <a:pt x="505" y="660"/>
                    <a:pt x="497" y="651"/>
                  </a:cubicBezTo>
                  <a:cubicBezTo>
                    <a:pt x="488" y="651"/>
                    <a:pt x="480" y="651"/>
                    <a:pt x="471" y="651"/>
                  </a:cubicBezTo>
                  <a:cubicBezTo>
                    <a:pt x="462" y="660"/>
                    <a:pt x="454" y="677"/>
                    <a:pt x="445" y="677"/>
                  </a:cubicBezTo>
                  <a:cubicBezTo>
                    <a:pt x="445" y="677"/>
                    <a:pt x="445" y="669"/>
                    <a:pt x="437" y="669"/>
                  </a:cubicBezTo>
                  <a:cubicBezTo>
                    <a:pt x="411" y="660"/>
                    <a:pt x="402" y="660"/>
                    <a:pt x="394" y="669"/>
                  </a:cubicBezTo>
                  <a:cubicBezTo>
                    <a:pt x="377" y="669"/>
                    <a:pt x="368" y="703"/>
                    <a:pt x="377" y="686"/>
                  </a:cubicBezTo>
                  <a:cubicBezTo>
                    <a:pt x="377" y="677"/>
                    <a:pt x="377" y="651"/>
                    <a:pt x="368" y="643"/>
                  </a:cubicBezTo>
                  <a:cubicBezTo>
                    <a:pt x="351" y="643"/>
                    <a:pt x="334" y="643"/>
                    <a:pt x="334" y="643"/>
                  </a:cubicBezTo>
                  <a:cubicBezTo>
                    <a:pt x="334" y="651"/>
                    <a:pt x="334" y="651"/>
                    <a:pt x="325" y="634"/>
                  </a:cubicBezTo>
                  <a:cubicBezTo>
                    <a:pt x="325" y="626"/>
                    <a:pt x="308" y="583"/>
                    <a:pt x="325" y="600"/>
                  </a:cubicBezTo>
                  <a:cubicBezTo>
                    <a:pt x="334" y="609"/>
                    <a:pt x="343" y="626"/>
                    <a:pt x="360" y="626"/>
                  </a:cubicBezTo>
                  <a:cubicBezTo>
                    <a:pt x="377" y="626"/>
                    <a:pt x="394" y="634"/>
                    <a:pt x="411" y="626"/>
                  </a:cubicBezTo>
                  <a:cubicBezTo>
                    <a:pt x="428" y="609"/>
                    <a:pt x="454" y="609"/>
                    <a:pt x="437" y="592"/>
                  </a:cubicBezTo>
                  <a:cubicBezTo>
                    <a:pt x="428" y="574"/>
                    <a:pt x="411" y="566"/>
                    <a:pt x="402" y="566"/>
                  </a:cubicBezTo>
                  <a:cubicBezTo>
                    <a:pt x="385" y="574"/>
                    <a:pt x="385" y="583"/>
                    <a:pt x="368" y="574"/>
                  </a:cubicBezTo>
                  <a:cubicBezTo>
                    <a:pt x="351" y="566"/>
                    <a:pt x="343" y="566"/>
                    <a:pt x="317" y="557"/>
                  </a:cubicBezTo>
                  <a:cubicBezTo>
                    <a:pt x="299" y="549"/>
                    <a:pt x="282" y="532"/>
                    <a:pt x="291" y="549"/>
                  </a:cubicBezTo>
                  <a:cubicBezTo>
                    <a:pt x="291" y="557"/>
                    <a:pt x="317" y="592"/>
                    <a:pt x="308" y="583"/>
                  </a:cubicBezTo>
                  <a:cubicBezTo>
                    <a:pt x="299" y="583"/>
                    <a:pt x="291" y="574"/>
                    <a:pt x="282" y="583"/>
                  </a:cubicBezTo>
                  <a:cubicBezTo>
                    <a:pt x="274" y="592"/>
                    <a:pt x="291" y="600"/>
                    <a:pt x="282" y="617"/>
                  </a:cubicBezTo>
                  <a:cubicBezTo>
                    <a:pt x="274" y="643"/>
                    <a:pt x="257" y="651"/>
                    <a:pt x="248" y="643"/>
                  </a:cubicBezTo>
                  <a:cubicBezTo>
                    <a:pt x="248" y="643"/>
                    <a:pt x="240" y="634"/>
                    <a:pt x="214" y="634"/>
                  </a:cubicBezTo>
                  <a:cubicBezTo>
                    <a:pt x="205" y="626"/>
                    <a:pt x="197" y="626"/>
                    <a:pt x="188" y="626"/>
                  </a:cubicBezTo>
                  <a:cubicBezTo>
                    <a:pt x="205" y="651"/>
                    <a:pt x="222" y="669"/>
                    <a:pt x="222" y="677"/>
                  </a:cubicBezTo>
                  <a:cubicBezTo>
                    <a:pt x="222" y="695"/>
                    <a:pt x="205" y="720"/>
                    <a:pt x="180" y="712"/>
                  </a:cubicBezTo>
                  <a:cubicBezTo>
                    <a:pt x="162" y="703"/>
                    <a:pt x="137" y="703"/>
                    <a:pt x="137" y="712"/>
                  </a:cubicBezTo>
                  <a:cubicBezTo>
                    <a:pt x="137" y="720"/>
                    <a:pt x="145" y="772"/>
                    <a:pt x="120" y="789"/>
                  </a:cubicBezTo>
                  <a:cubicBezTo>
                    <a:pt x="103" y="806"/>
                    <a:pt x="85" y="814"/>
                    <a:pt x="85" y="832"/>
                  </a:cubicBezTo>
                  <a:cubicBezTo>
                    <a:pt x="85" y="849"/>
                    <a:pt x="85" y="857"/>
                    <a:pt x="68" y="883"/>
                  </a:cubicBezTo>
                  <a:cubicBezTo>
                    <a:pt x="42" y="917"/>
                    <a:pt x="0" y="969"/>
                    <a:pt x="8" y="969"/>
                  </a:cubicBezTo>
                  <a:cubicBezTo>
                    <a:pt x="25" y="969"/>
                    <a:pt x="42" y="960"/>
                    <a:pt x="42" y="986"/>
                  </a:cubicBezTo>
                  <a:cubicBezTo>
                    <a:pt x="42" y="1003"/>
                    <a:pt x="25" y="1054"/>
                    <a:pt x="34" y="1089"/>
                  </a:cubicBezTo>
                  <a:cubicBezTo>
                    <a:pt x="42" y="1115"/>
                    <a:pt x="68" y="1183"/>
                    <a:pt x="103" y="1183"/>
                  </a:cubicBezTo>
                  <a:cubicBezTo>
                    <a:pt x="137" y="1183"/>
                    <a:pt x="171" y="1183"/>
                    <a:pt x="180" y="1200"/>
                  </a:cubicBezTo>
                  <a:cubicBezTo>
                    <a:pt x="197" y="1217"/>
                    <a:pt x="257" y="1260"/>
                    <a:pt x="265" y="1277"/>
                  </a:cubicBezTo>
                  <a:cubicBezTo>
                    <a:pt x="265" y="1294"/>
                    <a:pt x="291" y="1337"/>
                    <a:pt x="274" y="1372"/>
                  </a:cubicBezTo>
                  <a:cubicBezTo>
                    <a:pt x="248" y="1415"/>
                    <a:pt x="222" y="1526"/>
                    <a:pt x="248" y="1560"/>
                  </a:cubicBezTo>
                  <a:cubicBezTo>
                    <a:pt x="265" y="1586"/>
                    <a:pt x="351" y="1680"/>
                    <a:pt x="368" y="1723"/>
                  </a:cubicBezTo>
                  <a:cubicBezTo>
                    <a:pt x="394" y="1766"/>
                    <a:pt x="454" y="1835"/>
                    <a:pt x="445" y="1852"/>
                  </a:cubicBezTo>
                  <a:cubicBezTo>
                    <a:pt x="445" y="1869"/>
                    <a:pt x="411" y="1869"/>
                    <a:pt x="420" y="1895"/>
                  </a:cubicBezTo>
                  <a:cubicBezTo>
                    <a:pt x="428" y="1920"/>
                    <a:pt x="445" y="1963"/>
                    <a:pt x="437" y="1980"/>
                  </a:cubicBezTo>
                  <a:cubicBezTo>
                    <a:pt x="428" y="2006"/>
                    <a:pt x="428" y="2023"/>
                    <a:pt x="437" y="2023"/>
                  </a:cubicBezTo>
                  <a:cubicBezTo>
                    <a:pt x="445" y="2023"/>
                    <a:pt x="454" y="2023"/>
                    <a:pt x="454" y="2040"/>
                  </a:cubicBezTo>
                  <a:cubicBezTo>
                    <a:pt x="454" y="2057"/>
                    <a:pt x="428" y="2057"/>
                    <a:pt x="445" y="2092"/>
                  </a:cubicBezTo>
                  <a:cubicBezTo>
                    <a:pt x="462" y="2117"/>
                    <a:pt x="488" y="2117"/>
                    <a:pt x="514" y="2126"/>
                  </a:cubicBezTo>
                  <a:cubicBezTo>
                    <a:pt x="548" y="2143"/>
                    <a:pt x="548" y="2143"/>
                    <a:pt x="548" y="2160"/>
                  </a:cubicBezTo>
                  <a:cubicBezTo>
                    <a:pt x="548" y="2177"/>
                    <a:pt x="548" y="2220"/>
                    <a:pt x="557" y="2238"/>
                  </a:cubicBezTo>
                  <a:cubicBezTo>
                    <a:pt x="565" y="2255"/>
                    <a:pt x="608" y="2246"/>
                    <a:pt x="625" y="2272"/>
                  </a:cubicBezTo>
                  <a:cubicBezTo>
                    <a:pt x="642" y="2306"/>
                    <a:pt x="668" y="2340"/>
                    <a:pt x="651" y="2357"/>
                  </a:cubicBezTo>
                  <a:cubicBezTo>
                    <a:pt x="634" y="2374"/>
                    <a:pt x="591" y="2417"/>
                    <a:pt x="608" y="2443"/>
                  </a:cubicBezTo>
                  <a:cubicBezTo>
                    <a:pt x="625" y="2469"/>
                    <a:pt x="634" y="2469"/>
                    <a:pt x="694" y="2495"/>
                  </a:cubicBezTo>
                  <a:cubicBezTo>
                    <a:pt x="745" y="2520"/>
                    <a:pt x="814" y="2537"/>
                    <a:pt x="831" y="2555"/>
                  </a:cubicBezTo>
                  <a:cubicBezTo>
                    <a:pt x="848" y="2572"/>
                    <a:pt x="882" y="2615"/>
                    <a:pt x="874" y="2640"/>
                  </a:cubicBezTo>
                  <a:cubicBezTo>
                    <a:pt x="874" y="2666"/>
                    <a:pt x="874" y="2752"/>
                    <a:pt x="857" y="2795"/>
                  </a:cubicBezTo>
                  <a:cubicBezTo>
                    <a:pt x="831" y="2837"/>
                    <a:pt x="728" y="3146"/>
                    <a:pt x="702" y="3180"/>
                  </a:cubicBezTo>
                  <a:cubicBezTo>
                    <a:pt x="685" y="3215"/>
                    <a:pt x="608" y="3317"/>
                    <a:pt x="557" y="3463"/>
                  </a:cubicBezTo>
                  <a:cubicBezTo>
                    <a:pt x="565" y="3463"/>
                    <a:pt x="583" y="3455"/>
                    <a:pt x="591" y="3446"/>
                  </a:cubicBezTo>
                  <a:cubicBezTo>
                    <a:pt x="617" y="3420"/>
                    <a:pt x="660" y="3369"/>
                    <a:pt x="660" y="3378"/>
                  </a:cubicBezTo>
                  <a:cubicBezTo>
                    <a:pt x="668" y="3378"/>
                    <a:pt x="651" y="3412"/>
                    <a:pt x="651" y="3420"/>
                  </a:cubicBezTo>
                  <a:cubicBezTo>
                    <a:pt x="651" y="3420"/>
                    <a:pt x="685" y="3429"/>
                    <a:pt x="685" y="3438"/>
                  </a:cubicBezTo>
                  <a:cubicBezTo>
                    <a:pt x="685" y="3438"/>
                    <a:pt x="634" y="3420"/>
                    <a:pt x="660" y="3446"/>
                  </a:cubicBezTo>
                  <a:cubicBezTo>
                    <a:pt x="685" y="3463"/>
                    <a:pt x="702" y="3463"/>
                    <a:pt x="737" y="3480"/>
                  </a:cubicBezTo>
                  <a:cubicBezTo>
                    <a:pt x="762" y="3506"/>
                    <a:pt x="754" y="3532"/>
                    <a:pt x="797" y="3515"/>
                  </a:cubicBezTo>
                  <a:cubicBezTo>
                    <a:pt x="831" y="3497"/>
                    <a:pt x="865" y="3472"/>
                    <a:pt x="882" y="3489"/>
                  </a:cubicBezTo>
                  <a:cubicBezTo>
                    <a:pt x="891" y="3506"/>
                    <a:pt x="925" y="3506"/>
                    <a:pt x="951" y="3515"/>
                  </a:cubicBezTo>
                  <a:cubicBezTo>
                    <a:pt x="977" y="3523"/>
                    <a:pt x="994" y="3532"/>
                    <a:pt x="994" y="3532"/>
                  </a:cubicBezTo>
                  <a:cubicBezTo>
                    <a:pt x="994" y="3532"/>
                    <a:pt x="960" y="3540"/>
                    <a:pt x="951" y="3540"/>
                  </a:cubicBezTo>
                  <a:cubicBezTo>
                    <a:pt x="942" y="3549"/>
                    <a:pt x="942" y="3557"/>
                    <a:pt x="917" y="3557"/>
                  </a:cubicBezTo>
                  <a:cubicBezTo>
                    <a:pt x="891" y="3557"/>
                    <a:pt x="857" y="3540"/>
                    <a:pt x="840" y="3540"/>
                  </a:cubicBezTo>
                  <a:cubicBezTo>
                    <a:pt x="831" y="3549"/>
                    <a:pt x="805" y="3549"/>
                    <a:pt x="788" y="3557"/>
                  </a:cubicBezTo>
                  <a:cubicBezTo>
                    <a:pt x="771" y="3575"/>
                    <a:pt x="788" y="3609"/>
                    <a:pt x="762" y="3618"/>
                  </a:cubicBezTo>
                  <a:cubicBezTo>
                    <a:pt x="745" y="3635"/>
                    <a:pt x="728" y="3635"/>
                    <a:pt x="720" y="3635"/>
                  </a:cubicBezTo>
                  <a:cubicBezTo>
                    <a:pt x="702" y="3643"/>
                    <a:pt x="702" y="3669"/>
                    <a:pt x="694" y="3678"/>
                  </a:cubicBezTo>
                  <a:cubicBezTo>
                    <a:pt x="685" y="3678"/>
                    <a:pt x="660" y="3660"/>
                    <a:pt x="651" y="3660"/>
                  </a:cubicBezTo>
                  <a:cubicBezTo>
                    <a:pt x="642" y="3669"/>
                    <a:pt x="651" y="3686"/>
                    <a:pt x="660" y="3703"/>
                  </a:cubicBezTo>
                  <a:cubicBezTo>
                    <a:pt x="660" y="3712"/>
                    <a:pt x="660" y="3720"/>
                    <a:pt x="660" y="3729"/>
                  </a:cubicBezTo>
                  <a:cubicBezTo>
                    <a:pt x="685" y="3746"/>
                    <a:pt x="685" y="3763"/>
                    <a:pt x="685" y="3763"/>
                  </a:cubicBezTo>
                  <a:cubicBezTo>
                    <a:pt x="685" y="3763"/>
                    <a:pt x="677" y="3789"/>
                    <a:pt x="668" y="3806"/>
                  </a:cubicBezTo>
                  <a:cubicBezTo>
                    <a:pt x="660" y="3832"/>
                    <a:pt x="668" y="3849"/>
                    <a:pt x="668" y="3875"/>
                  </a:cubicBezTo>
                  <a:cubicBezTo>
                    <a:pt x="668" y="3900"/>
                    <a:pt x="642" y="3918"/>
                    <a:pt x="625" y="3952"/>
                  </a:cubicBezTo>
                  <a:cubicBezTo>
                    <a:pt x="608" y="3977"/>
                    <a:pt x="625" y="3986"/>
                    <a:pt x="642" y="4021"/>
                  </a:cubicBezTo>
                  <a:cubicBezTo>
                    <a:pt x="660" y="4055"/>
                    <a:pt x="668" y="4080"/>
                    <a:pt x="668" y="4106"/>
                  </a:cubicBezTo>
                  <a:cubicBezTo>
                    <a:pt x="668" y="4123"/>
                    <a:pt x="685" y="4132"/>
                    <a:pt x="694" y="4158"/>
                  </a:cubicBezTo>
                  <a:cubicBezTo>
                    <a:pt x="711" y="4183"/>
                    <a:pt x="728" y="4183"/>
                    <a:pt x="737" y="4217"/>
                  </a:cubicBezTo>
                  <a:cubicBezTo>
                    <a:pt x="745" y="4252"/>
                    <a:pt x="728" y="4243"/>
                    <a:pt x="702" y="4261"/>
                  </a:cubicBezTo>
                  <a:cubicBezTo>
                    <a:pt x="685" y="4278"/>
                    <a:pt x="694" y="4295"/>
                    <a:pt x="702" y="4320"/>
                  </a:cubicBezTo>
                  <a:cubicBezTo>
                    <a:pt x="728" y="4320"/>
                    <a:pt x="728" y="4329"/>
                    <a:pt x="745" y="4346"/>
                  </a:cubicBezTo>
                  <a:cubicBezTo>
                    <a:pt x="754" y="4363"/>
                    <a:pt x="779" y="4372"/>
                    <a:pt x="805" y="4389"/>
                  </a:cubicBezTo>
                  <a:cubicBezTo>
                    <a:pt x="840" y="4406"/>
                    <a:pt x="814" y="4398"/>
                    <a:pt x="797" y="4432"/>
                  </a:cubicBezTo>
                  <a:cubicBezTo>
                    <a:pt x="788" y="4466"/>
                    <a:pt x="814" y="4509"/>
                    <a:pt x="840" y="4509"/>
                  </a:cubicBezTo>
                  <a:cubicBezTo>
                    <a:pt x="865" y="4509"/>
                    <a:pt x="900" y="4603"/>
                    <a:pt x="917" y="4620"/>
                  </a:cubicBezTo>
                  <a:cubicBezTo>
                    <a:pt x="925" y="4646"/>
                    <a:pt x="934" y="4663"/>
                    <a:pt x="934" y="4689"/>
                  </a:cubicBezTo>
                  <a:cubicBezTo>
                    <a:pt x="934" y="4706"/>
                    <a:pt x="942" y="4698"/>
                    <a:pt x="951" y="4706"/>
                  </a:cubicBezTo>
                  <a:cubicBezTo>
                    <a:pt x="968" y="4715"/>
                    <a:pt x="968" y="4698"/>
                    <a:pt x="994" y="4689"/>
                  </a:cubicBezTo>
                  <a:cubicBezTo>
                    <a:pt x="1011" y="4689"/>
                    <a:pt x="1011" y="4698"/>
                    <a:pt x="1019" y="4715"/>
                  </a:cubicBezTo>
                  <a:cubicBezTo>
                    <a:pt x="1028" y="4723"/>
                    <a:pt x="1054" y="4698"/>
                    <a:pt x="1063" y="4698"/>
                  </a:cubicBezTo>
                  <a:cubicBezTo>
                    <a:pt x="1080" y="4689"/>
                    <a:pt x="1131" y="4698"/>
                    <a:pt x="1148" y="4698"/>
                  </a:cubicBezTo>
                  <a:cubicBezTo>
                    <a:pt x="1174" y="4698"/>
                    <a:pt x="1157" y="4741"/>
                    <a:pt x="1174" y="4758"/>
                  </a:cubicBezTo>
                  <a:cubicBezTo>
                    <a:pt x="1200" y="4783"/>
                    <a:pt x="1208" y="4723"/>
                    <a:pt x="1217" y="4706"/>
                  </a:cubicBezTo>
                  <a:cubicBezTo>
                    <a:pt x="1225" y="4698"/>
                    <a:pt x="1277" y="4689"/>
                    <a:pt x="1303" y="4689"/>
                  </a:cubicBezTo>
                  <a:cubicBezTo>
                    <a:pt x="1328" y="4689"/>
                    <a:pt x="1354" y="4706"/>
                    <a:pt x="1380" y="4732"/>
                  </a:cubicBezTo>
                  <a:cubicBezTo>
                    <a:pt x="1405" y="4749"/>
                    <a:pt x="1397" y="4732"/>
                    <a:pt x="1405" y="4723"/>
                  </a:cubicBezTo>
                  <a:cubicBezTo>
                    <a:pt x="1414" y="4723"/>
                    <a:pt x="1422" y="4758"/>
                    <a:pt x="1422" y="4792"/>
                  </a:cubicBezTo>
                  <a:cubicBezTo>
                    <a:pt x="1431" y="4826"/>
                    <a:pt x="1440" y="4826"/>
                    <a:pt x="1465" y="4869"/>
                  </a:cubicBezTo>
                  <a:cubicBezTo>
                    <a:pt x="1499" y="4921"/>
                    <a:pt x="1474" y="4903"/>
                    <a:pt x="1457" y="4921"/>
                  </a:cubicBezTo>
                  <a:cubicBezTo>
                    <a:pt x="1448" y="4946"/>
                    <a:pt x="1499" y="4972"/>
                    <a:pt x="1525" y="4989"/>
                  </a:cubicBezTo>
                  <a:cubicBezTo>
                    <a:pt x="1551" y="4998"/>
                    <a:pt x="1534" y="5006"/>
                    <a:pt x="1543" y="5023"/>
                  </a:cubicBezTo>
                  <a:cubicBezTo>
                    <a:pt x="1560" y="5049"/>
                    <a:pt x="1577" y="5058"/>
                    <a:pt x="1594" y="5083"/>
                  </a:cubicBezTo>
                  <a:cubicBezTo>
                    <a:pt x="1611" y="5118"/>
                    <a:pt x="1637" y="5100"/>
                    <a:pt x="1679" y="5109"/>
                  </a:cubicBezTo>
                  <a:cubicBezTo>
                    <a:pt x="1722" y="5126"/>
                    <a:pt x="1705" y="5161"/>
                    <a:pt x="1714" y="5186"/>
                  </a:cubicBezTo>
                  <a:cubicBezTo>
                    <a:pt x="1714" y="5203"/>
                    <a:pt x="1739" y="5178"/>
                    <a:pt x="1748" y="5178"/>
                  </a:cubicBezTo>
                  <a:cubicBezTo>
                    <a:pt x="1765" y="5178"/>
                    <a:pt x="1774" y="5178"/>
                    <a:pt x="1800" y="5178"/>
                  </a:cubicBezTo>
                  <a:cubicBezTo>
                    <a:pt x="1834" y="5178"/>
                    <a:pt x="1817" y="5186"/>
                    <a:pt x="1834" y="5203"/>
                  </a:cubicBezTo>
                  <a:cubicBezTo>
                    <a:pt x="1851" y="5229"/>
                    <a:pt x="1851" y="5212"/>
                    <a:pt x="1894" y="5246"/>
                  </a:cubicBezTo>
                  <a:cubicBezTo>
                    <a:pt x="1945" y="5272"/>
                    <a:pt x="1911" y="5255"/>
                    <a:pt x="1902" y="5280"/>
                  </a:cubicBezTo>
                  <a:cubicBezTo>
                    <a:pt x="1894" y="5298"/>
                    <a:pt x="1894" y="5298"/>
                    <a:pt x="1868" y="5315"/>
                  </a:cubicBezTo>
                  <a:cubicBezTo>
                    <a:pt x="1851" y="5332"/>
                    <a:pt x="1834" y="5375"/>
                    <a:pt x="1800" y="5375"/>
                  </a:cubicBezTo>
                  <a:cubicBezTo>
                    <a:pt x="1774" y="5375"/>
                    <a:pt x="1748" y="5366"/>
                    <a:pt x="1731" y="5383"/>
                  </a:cubicBezTo>
                  <a:cubicBezTo>
                    <a:pt x="1705" y="5401"/>
                    <a:pt x="1705" y="5418"/>
                    <a:pt x="1705" y="5435"/>
                  </a:cubicBezTo>
                  <a:cubicBezTo>
                    <a:pt x="1705" y="5461"/>
                    <a:pt x="1731" y="5469"/>
                    <a:pt x="1757" y="5495"/>
                  </a:cubicBezTo>
                  <a:cubicBezTo>
                    <a:pt x="1774" y="5512"/>
                    <a:pt x="1817" y="5598"/>
                    <a:pt x="1817" y="5623"/>
                  </a:cubicBezTo>
                  <a:cubicBezTo>
                    <a:pt x="1817" y="5641"/>
                    <a:pt x="1860" y="5658"/>
                    <a:pt x="1885" y="5675"/>
                  </a:cubicBezTo>
                  <a:cubicBezTo>
                    <a:pt x="1911" y="5675"/>
                    <a:pt x="1937" y="5666"/>
                    <a:pt x="1945" y="5649"/>
                  </a:cubicBezTo>
                  <a:cubicBezTo>
                    <a:pt x="1954" y="5623"/>
                    <a:pt x="1920" y="5606"/>
                    <a:pt x="1945" y="5589"/>
                  </a:cubicBezTo>
                  <a:cubicBezTo>
                    <a:pt x="1979" y="5572"/>
                    <a:pt x="2014" y="5606"/>
                    <a:pt x="2048" y="5563"/>
                  </a:cubicBezTo>
                  <a:cubicBezTo>
                    <a:pt x="2074" y="5520"/>
                    <a:pt x="2091" y="5512"/>
                    <a:pt x="2117" y="5512"/>
                  </a:cubicBezTo>
                  <a:cubicBezTo>
                    <a:pt x="2142" y="5512"/>
                    <a:pt x="2151" y="5486"/>
                    <a:pt x="2185" y="5495"/>
                  </a:cubicBezTo>
                  <a:cubicBezTo>
                    <a:pt x="2219" y="5495"/>
                    <a:pt x="2237" y="5486"/>
                    <a:pt x="2245" y="5529"/>
                  </a:cubicBezTo>
                  <a:cubicBezTo>
                    <a:pt x="2263" y="5563"/>
                    <a:pt x="2280" y="5581"/>
                    <a:pt x="2305" y="5589"/>
                  </a:cubicBezTo>
                  <a:cubicBezTo>
                    <a:pt x="2340" y="5606"/>
                    <a:pt x="2365" y="5615"/>
                    <a:pt x="2348" y="5623"/>
                  </a:cubicBezTo>
                  <a:cubicBezTo>
                    <a:pt x="2322" y="5641"/>
                    <a:pt x="2297" y="5649"/>
                    <a:pt x="2305" y="5666"/>
                  </a:cubicBezTo>
                  <a:cubicBezTo>
                    <a:pt x="2322" y="5675"/>
                    <a:pt x="2340" y="5701"/>
                    <a:pt x="2348" y="5735"/>
                  </a:cubicBezTo>
                  <a:cubicBezTo>
                    <a:pt x="2357" y="5760"/>
                    <a:pt x="2374" y="5786"/>
                    <a:pt x="2391" y="5769"/>
                  </a:cubicBezTo>
                  <a:cubicBezTo>
                    <a:pt x="2408" y="5760"/>
                    <a:pt x="2451" y="5778"/>
                    <a:pt x="2477" y="5760"/>
                  </a:cubicBezTo>
                  <a:cubicBezTo>
                    <a:pt x="2494" y="5752"/>
                    <a:pt x="2494" y="5718"/>
                    <a:pt x="2520" y="5692"/>
                  </a:cubicBezTo>
                  <a:cubicBezTo>
                    <a:pt x="2520" y="0"/>
                    <a:pt x="2520" y="0"/>
                    <a:pt x="2520" y="0"/>
                  </a:cubicBezTo>
                  <a:cubicBezTo>
                    <a:pt x="2520" y="9"/>
                    <a:pt x="2503" y="9"/>
                    <a:pt x="2494" y="9"/>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6" name="Freeform 77"/>
            <p:cNvSpPr>
              <a:spLocks noChangeArrowheads="1"/>
            </p:cNvSpPr>
            <p:nvPr/>
          </p:nvSpPr>
          <p:spPr bwMode="auto">
            <a:xfrm>
              <a:off x="3392488" y="2532063"/>
              <a:ext cx="363537" cy="284162"/>
            </a:xfrm>
            <a:custGeom>
              <a:avLst/>
              <a:gdLst>
                <a:gd name="T0" fmla="*/ 2147483647 w 1012"/>
                <a:gd name="T1" fmla="*/ 2147483647 h 789"/>
                <a:gd name="T2" fmla="*/ 2147483647 w 1012"/>
                <a:gd name="T3" fmla="*/ 2147483647 h 789"/>
                <a:gd name="T4" fmla="*/ 2147483647 w 1012"/>
                <a:gd name="T5" fmla="*/ 2147483647 h 789"/>
                <a:gd name="T6" fmla="*/ 2147483647 w 1012"/>
                <a:gd name="T7" fmla="*/ 2147483647 h 789"/>
                <a:gd name="T8" fmla="*/ 2147483647 w 1012"/>
                <a:gd name="T9" fmla="*/ 2147483647 h 789"/>
                <a:gd name="T10" fmla="*/ 2147483647 w 1012"/>
                <a:gd name="T11" fmla="*/ 2147483647 h 789"/>
                <a:gd name="T12" fmla="*/ 2147483647 w 1012"/>
                <a:gd name="T13" fmla="*/ 2147483647 h 789"/>
                <a:gd name="T14" fmla="*/ 2147483647 w 1012"/>
                <a:gd name="T15" fmla="*/ 2147483647 h 789"/>
                <a:gd name="T16" fmla="*/ 2147483647 w 1012"/>
                <a:gd name="T17" fmla="*/ 2147483647 h 789"/>
                <a:gd name="T18" fmla="*/ 2147483647 w 1012"/>
                <a:gd name="T19" fmla="*/ 2147483647 h 789"/>
                <a:gd name="T20" fmla="*/ 2147483647 w 1012"/>
                <a:gd name="T21" fmla="*/ 2147483647 h 789"/>
                <a:gd name="T22" fmla="*/ 2147483647 w 1012"/>
                <a:gd name="T23" fmla="*/ 2147483647 h 789"/>
                <a:gd name="T24" fmla="*/ 2147483647 w 1012"/>
                <a:gd name="T25" fmla="*/ 2147483647 h 789"/>
                <a:gd name="T26" fmla="*/ 2147483647 w 1012"/>
                <a:gd name="T27" fmla="*/ 2147483647 h 789"/>
                <a:gd name="T28" fmla="*/ 2147483647 w 1012"/>
                <a:gd name="T29" fmla="*/ 2147483647 h 789"/>
                <a:gd name="T30" fmla="*/ 2147483647 w 1012"/>
                <a:gd name="T31" fmla="*/ 2147483647 h 789"/>
                <a:gd name="T32" fmla="*/ 2147483647 w 1012"/>
                <a:gd name="T33" fmla="*/ 2147483647 h 789"/>
                <a:gd name="T34" fmla="*/ 2147483647 w 1012"/>
                <a:gd name="T35" fmla="*/ 2147483647 h 789"/>
                <a:gd name="T36" fmla="*/ 2147483647 w 1012"/>
                <a:gd name="T37" fmla="*/ 2147483647 h 789"/>
                <a:gd name="T38" fmla="*/ 2147483647 w 1012"/>
                <a:gd name="T39" fmla="*/ 2147483647 h 789"/>
                <a:gd name="T40" fmla="*/ 2147483647 w 1012"/>
                <a:gd name="T41" fmla="*/ 2147483647 h 789"/>
                <a:gd name="T42" fmla="*/ 2147483647 w 1012"/>
                <a:gd name="T43" fmla="*/ 2147483647 h 789"/>
                <a:gd name="T44" fmla="*/ 2147483647 w 1012"/>
                <a:gd name="T45" fmla="*/ 2147483647 h 789"/>
                <a:gd name="T46" fmla="*/ 2147483647 w 1012"/>
                <a:gd name="T47" fmla="*/ 0 h 789"/>
                <a:gd name="T48" fmla="*/ 2147483647 w 1012"/>
                <a:gd name="T49" fmla="*/ 2147483647 h 789"/>
                <a:gd name="T50" fmla="*/ 2147483647 w 1012"/>
                <a:gd name="T51" fmla="*/ 2147483647 h 789"/>
                <a:gd name="T52" fmla="*/ 2147483647 w 1012"/>
                <a:gd name="T53" fmla="*/ 2147483647 h 789"/>
                <a:gd name="T54" fmla="*/ 2147483647 w 1012"/>
                <a:gd name="T55" fmla="*/ 2147483647 h 789"/>
                <a:gd name="T56" fmla="*/ 2147483647 w 1012"/>
                <a:gd name="T57" fmla="*/ 2147483647 h 789"/>
                <a:gd name="T58" fmla="*/ 2147483647 w 1012"/>
                <a:gd name="T59" fmla="*/ 2147483647 h 789"/>
                <a:gd name="T60" fmla="*/ 2147483647 w 1012"/>
                <a:gd name="T61" fmla="*/ 2147483647 h 789"/>
                <a:gd name="T62" fmla="*/ 2147483647 w 1012"/>
                <a:gd name="T63" fmla="*/ 2147483647 h 789"/>
                <a:gd name="T64" fmla="*/ 0 w 1012"/>
                <a:gd name="T65" fmla="*/ 2147483647 h 789"/>
                <a:gd name="T66" fmla="*/ 0 w 1012"/>
                <a:gd name="T67" fmla="*/ 2147483647 h 789"/>
                <a:gd name="T68" fmla="*/ 2147483647 w 1012"/>
                <a:gd name="T69" fmla="*/ 2147483647 h 789"/>
                <a:gd name="T70" fmla="*/ 2147483647 w 1012"/>
                <a:gd name="T71" fmla="*/ 2147483647 h 789"/>
                <a:gd name="T72" fmla="*/ 2147483647 w 1012"/>
                <a:gd name="T73" fmla="*/ 2147483647 h 789"/>
                <a:gd name="T74" fmla="*/ 2147483647 w 1012"/>
                <a:gd name="T75" fmla="*/ 2147483647 h 789"/>
                <a:gd name="T76" fmla="*/ 2147483647 w 1012"/>
                <a:gd name="T77" fmla="*/ 2147483647 h 789"/>
                <a:gd name="T78" fmla="*/ 2147483647 w 1012"/>
                <a:gd name="T79" fmla="*/ 2147483647 h 789"/>
                <a:gd name="T80" fmla="*/ 2147483647 w 1012"/>
                <a:gd name="T81" fmla="*/ 2147483647 h 789"/>
                <a:gd name="T82" fmla="*/ 2147483647 w 1012"/>
                <a:gd name="T83" fmla="*/ 2147483647 h 789"/>
                <a:gd name="T84" fmla="*/ 2147483647 w 1012"/>
                <a:gd name="T85" fmla="*/ 2147483647 h 789"/>
                <a:gd name="T86" fmla="*/ 2147483647 w 1012"/>
                <a:gd name="T87" fmla="*/ 2147483647 h 789"/>
                <a:gd name="T88" fmla="*/ 2147483647 w 1012"/>
                <a:gd name="T89" fmla="*/ 2147483647 h 789"/>
                <a:gd name="T90" fmla="*/ 2147483647 w 1012"/>
                <a:gd name="T91" fmla="*/ 2147483647 h 789"/>
                <a:gd name="T92" fmla="*/ 2147483647 w 1012"/>
                <a:gd name="T93" fmla="*/ 2147483647 h 789"/>
                <a:gd name="T94" fmla="*/ 2147483647 w 1012"/>
                <a:gd name="T95" fmla="*/ 2147483647 h 789"/>
                <a:gd name="T96" fmla="*/ 2147483647 w 1012"/>
                <a:gd name="T97" fmla="*/ 2147483647 h 789"/>
                <a:gd name="T98" fmla="*/ 2147483647 w 1012"/>
                <a:gd name="T99" fmla="*/ 2147483647 h 78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012"/>
                <a:gd name="T151" fmla="*/ 0 h 789"/>
                <a:gd name="T152" fmla="*/ 1012 w 1012"/>
                <a:gd name="T153" fmla="*/ 789 h 78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012" h="789">
                  <a:moveTo>
                    <a:pt x="668" y="754"/>
                  </a:moveTo>
                  <a:lnTo>
                    <a:pt x="668" y="754"/>
                  </a:lnTo>
                  <a:cubicBezTo>
                    <a:pt x="711" y="763"/>
                    <a:pt x="711" y="729"/>
                    <a:pt x="728" y="711"/>
                  </a:cubicBezTo>
                  <a:cubicBezTo>
                    <a:pt x="754" y="694"/>
                    <a:pt x="720" y="694"/>
                    <a:pt x="720" y="686"/>
                  </a:cubicBezTo>
                  <a:cubicBezTo>
                    <a:pt x="720" y="677"/>
                    <a:pt x="737" y="660"/>
                    <a:pt x="762" y="660"/>
                  </a:cubicBezTo>
                  <a:cubicBezTo>
                    <a:pt x="788" y="651"/>
                    <a:pt x="788" y="634"/>
                    <a:pt x="806" y="626"/>
                  </a:cubicBezTo>
                  <a:cubicBezTo>
                    <a:pt x="823" y="617"/>
                    <a:pt x="831" y="608"/>
                    <a:pt x="857" y="600"/>
                  </a:cubicBezTo>
                  <a:cubicBezTo>
                    <a:pt x="874" y="600"/>
                    <a:pt x="857" y="617"/>
                    <a:pt x="865" y="643"/>
                  </a:cubicBezTo>
                  <a:cubicBezTo>
                    <a:pt x="883" y="677"/>
                    <a:pt x="900" y="608"/>
                    <a:pt x="883" y="591"/>
                  </a:cubicBezTo>
                  <a:cubicBezTo>
                    <a:pt x="865" y="574"/>
                    <a:pt x="848" y="574"/>
                    <a:pt x="848" y="557"/>
                  </a:cubicBezTo>
                  <a:cubicBezTo>
                    <a:pt x="848" y="548"/>
                    <a:pt x="865" y="523"/>
                    <a:pt x="865" y="497"/>
                  </a:cubicBezTo>
                  <a:cubicBezTo>
                    <a:pt x="865" y="463"/>
                    <a:pt x="857" y="446"/>
                    <a:pt x="857" y="429"/>
                  </a:cubicBezTo>
                  <a:cubicBezTo>
                    <a:pt x="857" y="403"/>
                    <a:pt x="891" y="394"/>
                    <a:pt x="900" y="386"/>
                  </a:cubicBezTo>
                  <a:cubicBezTo>
                    <a:pt x="917" y="377"/>
                    <a:pt x="908" y="360"/>
                    <a:pt x="908" y="343"/>
                  </a:cubicBezTo>
                  <a:cubicBezTo>
                    <a:pt x="908" y="326"/>
                    <a:pt x="934" y="308"/>
                    <a:pt x="968" y="317"/>
                  </a:cubicBezTo>
                  <a:cubicBezTo>
                    <a:pt x="1011" y="326"/>
                    <a:pt x="977" y="283"/>
                    <a:pt x="985" y="274"/>
                  </a:cubicBezTo>
                  <a:cubicBezTo>
                    <a:pt x="994" y="257"/>
                    <a:pt x="968" y="257"/>
                    <a:pt x="951" y="257"/>
                  </a:cubicBezTo>
                  <a:cubicBezTo>
                    <a:pt x="943" y="257"/>
                    <a:pt x="934" y="231"/>
                    <a:pt x="934" y="214"/>
                  </a:cubicBezTo>
                  <a:cubicBezTo>
                    <a:pt x="934" y="197"/>
                    <a:pt x="943" y="171"/>
                    <a:pt x="943" y="154"/>
                  </a:cubicBezTo>
                  <a:cubicBezTo>
                    <a:pt x="908" y="163"/>
                    <a:pt x="900" y="180"/>
                    <a:pt x="883" y="163"/>
                  </a:cubicBezTo>
                  <a:cubicBezTo>
                    <a:pt x="857" y="137"/>
                    <a:pt x="840" y="120"/>
                    <a:pt x="814" y="111"/>
                  </a:cubicBezTo>
                  <a:cubicBezTo>
                    <a:pt x="797" y="94"/>
                    <a:pt x="771" y="60"/>
                    <a:pt x="737" y="60"/>
                  </a:cubicBezTo>
                  <a:cubicBezTo>
                    <a:pt x="703" y="51"/>
                    <a:pt x="651" y="60"/>
                    <a:pt x="643" y="51"/>
                  </a:cubicBezTo>
                  <a:cubicBezTo>
                    <a:pt x="643" y="34"/>
                    <a:pt x="617" y="0"/>
                    <a:pt x="608" y="0"/>
                  </a:cubicBezTo>
                  <a:cubicBezTo>
                    <a:pt x="600" y="0"/>
                    <a:pt x="557" y="60"/>
                    <a:pt x="531" y="60"/>
                  </a:cubicBezTo>
                  <a:cubicBezTo>
                    <a:pt x="505" y="60"/>
                    <a:pt x="445" y="68"/>
                    <a:pt x="428" y="68"/>
                  </a:cubicBezTo>
                  <a:cubicBezTo>
                    <a:pt x="403" y="68"/>
                    <a:pt x="403" y="60"/>
                    <a:pt x="368" y="68"/>
                  </a:cubicBezTo>
                  <a:cubicBezTo>
                    <a:pt x="334" y="77"/>
                    <a:pt x="343" y="94"/>
                    <a:pt x="317" y="86"/>
                  </a:cubicBezTo>
                  <a:cubicBezTo>
                    <a:pt x="291" y="77"/>
                    <a:pt x="291" y="77"/>
                    <a:pt x="274" y="77"/>
                  </a:cubicBezTo>
                  <a:cubicBezTo>
                    <a:pt x="257" y="77"/>
                    <a:pt x="248" y="77"/>
                    <a:pt x="214" y="86"/>
                  </a:cubicBezTo>
                  <a:cubicBezTo>
                    <a:pt x="180" y="94"/>
                    <a:pt x="163" y="94"/>
                    <a:pt x="145" y="111"/>
                  </a:cubicBezTo>
                  <a:cubicBezTo>
                    <a:pt x="128" y="120"/>
                    <a:pt x="51" y="163"/>
                    <a:pt x="42" y="180"/>
                  </a:cubicBezTo>
                  <a:cubicBezTo>
                    <a:pt x="42" y="197"/>
                    <a:pt x="25" y="214"/>
                    <a:pt x="0" y="223"/>
                  </a:cubicBezTo>
                  <a:cubicBezTo>
                    <a:pt x="0" y="231"/>
                    <a:pt x="0" y="240"/>
                    <a:pt x="0" y="257"/>
                  </a:cubicBezTo>
                  <a:cubicBezTo>
                    <a:pt x="0" y="283"/>
                    <a:pt x="25" y="334"/>
                    <a:pt x="42" y="368"/>
                  </a:cubicBezTo>
                  <a:cubicBezTo>
                    <a:pt x="60" y="386"/>
                    <a:pt x="68" y="411"/>
                    <a:pt x="68" y="437"/>
                  </a:cubicBezTo>
                  <a:cubicBezTo>
                    <a:pt x="77" y="437"/>
                    <a:pt x="86" y="437"/>
                    <a:pt x="86" y="437"/>
                  </a:cubicBezTo>
                  <a:cubicBezTo>
                    <a:pt x="111" y="454"/>
                    <a:pt x="145" y="480"/>
                    <a:pt x="188" y="480"/>
                  </a:cubicBezTo>
                  <a:cubicBezTo>
                    <a:pt x="223" y="489"/>
                    <a:pt x="231" y="506"/>
                    <a:pt x="257" y="489"/>
                  </a:cubicBezTo>
                  <a:cubicBezTo>
                    <a:pt x="282" y="463"/>
                    <a:pt x="291" y="454"/>
                    <a:pt x="300" y="463"/>
                  </a:cubicBezTo>
                  <a:cubicBezTo>
                    <a:pt x="317" y="480"/>
                    <a:pt x="385" y="506"/>
                    <a:pt x="368" y="531"/>
                  </a:cubicBezTo>
                  <a:cubicBezTo>
                    <a:pt x="351" y="557"/>
                    <a:pt x="351" y="557"/>
                    <a:pt x="351" y="583"/>
                  </a:cubicBezTo>
                  <a:cubicBezTo>
                    <a:pt x="351" y="600"/>
                    <a:pt x="343" y="643"/>
                    <a:pt x="360" y="660"/>
                  </a:cubicBezTo>
                  <a:cubicBezTo>
                    <a:pt x="368" y="660"/>
                    <a:pt x="368" y="660"/>
                    <a:pt x="368" y="669"/>
                  </a:cubicBezTo>
                  <a:cubicBezTo>
                    <a:pt x="377" y="669"/>
                    <a:pt x="385" y="669"/>
                    <a:pt x="394" y="660"/>
                  </a:cubicBezTo>
                  <a:cubicBezTo>
                    <a:pt x="411" y="643"/>
                    <a:pt x="428" y="669"/>
                    <a:pt x="445" y="686"/>
                  </a:cubicBezTo>
                  <a:cubicBezTo>
                    <a:pt x="471" y="703"/>
                    <a:pt x="505" y="694"/>
                    <a:pt x="514" y="729"/>
                  </a:cubicBezTo>
                  <a:cubicBezTo>
                    <a:pt x="514" y="746"/>
                    <a:pt x="522" y="763"/>
                    <a:pt x="522" y="788"/>
                  </a:cubicBezTo>
                  <a:cubicBezTo>
                    <a:pt x="574" y="780"/>
                    <a:pt x="634" y="746"/>
                    <a:pt x="668" y="75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7" name="Freeform 78"/>
            <p:cNvSpPr>
              <a:spLocks noChangeArrowheads="1"/>
            </p:cNvSpPr>
            <p:nvPr/>
          </p:nvSpPr>
          <p:spPr bwMode="auto">
            <a:xfrm>
              <a:off x="3581400" y="2516188"/>
              <a:ext cx="592138" cy="538162"/>
            </a:xfrm>
            <a:custGeom>
              <a:avLst/>
              <a:gdLst>
                <a:gd name="T0" fmla="*/ 2147483647 w 1647"/>
                <a:gd name="T1" fmla="*/ 2147483647 h 1493"/>
                <a:gd name="T2" fmla="*/ 2147483647 w 1647"/>
                <a:gd name="T3" fmla="*/ 2147483647 h 1493"/>
                <a:gd name="T4" fmla="*/ 2147483647 w 1647"/>
                <a:gd name="T5" fmla="*/ 2147483647 h 1493"/>
                <a:gd name="T6" fmla="*/ 2147483647 w 1647"/>
                <a:gd name="T7" fmla="*/ 2147483647 h 1493"/>
                <a:gd name="T8" fmla="*/ 2147483647 w 1647"/>
                <a:gd name="T9" fmla="*/ 2147483647 h 1493"/>
                <a:gd name="T10" fmla="*/ 2147483647 w 1647"/>
                <a:gd name="T11" fmla="*/ 2147483647 h 1493"/>
                <a:gd name="T12" fmla="*/ 2147483647 w 1647"/>
                <a:gd name="T13" fmla="*/ 2147483647 h 1493"/>
                <a:gd name="T14" fmla="*/ 2147483647 w 1647"/>
                <a:gd name="T15" fmla="*/ 0 h 1493"/>
                <a:gd name="T16" fmla="*/ 2147483647 w 1647"/>
                <a:gd name="T17" fmla="*/ 2147483647 h 1493"/>
                <a:gd name="T18" fmla="*/ 2147483647 w 1647"/>
                <a:gd name="T19" fmla="*/ 2147483647 h 1493"/>
                <a:gd name="T20" fmla="*/ 2147483647 w 1647"/>
                <a:gd name="T21" fmla="*/ 0 h 1493"/>
                <a:gd name="T22" fmla="*/ 2147483647 w 1647"/>
                <a:gd name="T23" fmla="*/ 0 h 1493"/>
                <a:gd name="T24" fmla="*/ 2147483647 w 1647"/>
                <a:gd name="T25" fmla="*/ 0 h 1493"/>
                <a:gd name="T26" fmla="*/ 2147483647 w 1647"/>
                <a:gd name="T27" fmla="*/ 2147483647 h 1493"/>
                <a:gd name="T28" fmla="*/ 2147483647 w 1647"/>
                <a:gd name="T29" fmla="*/ 2147483647 h 1493"/>
                <a:gd name="T30" fmla="*/ 2147483647 w 1647"/>
                <a:gd name="T31" fmla="*/ 2147483647 h 1493"/>
                <a:gd name="T32" fmla="*/ 2147483647 w 1647"/>
                <a:gd name="T33" fmla="*/ 2147483647 h 1493"/>
                <a:gd name="T34" fmla="*/ 2147483647 w 1647"/>
                <a:gd name="T35" fmla="*/ 2147483647 h 1493"/>
                <a:gd name="T36" fmla="*/ 2147483647 w 1647"/>
                <a:gd name="T37" fmla="*/ 2147483647 h 1493"/>
                <a:gd name="T38" fmla="*/ 2147483647 w 1647"/>
                <a:gd name="T39" fmla="*/ 2147483647 h 1493"/>
                <a:gd name="T40" fmla="*/ 2147483647 w 1647"/>
                <a:gd name="T41" fmla="*/ 2147483647 h 1493"/>
                <a:gd name="T42" fmla="*/ 2147483647 w 1647"/>
                <a:gd name="T43" fmla="*/ 2147483647 h 1493"/>
                <a:gd name="T44" fmla="*/ 2147483647 w 1647"/>
                <a:gd name="T45" fmla="*/ 2147483647 h 1493"/>
                <a:gd name="T46" fmla="*/ 2147483647 w 1647"/>
                <a:gd name="T47" fmla="*/ 2147483647 h 1493"/>
                <a:gd name="T48" fmla="*/ 2147483647 w 1647"/>
                <a:gd name="T49" fmla="*/ 2147483647 h 1493"/>
                <a:gd name="T50" fmla="*/ 0 w 1647"/>
                <a:gd name="T51" fmla="*/ 2147483647 h 1493"/>
                <a:gd name="T52" fmla="*/ 2147483647 w 1647"/>
                <a:gd name="T53" fmla="*/ 2147483647 h 1493"/>
                <a:gd name="T54" fmla="*/ 2147483647 w 1647"/>
                <a:gd name="T55" fmla="*/ 2147483647 h 1493"/>
                <a:gd name="T56" fmla="*/ 2147483647 w 1647"/>
                <a:gd name="T57" fmla="*/ 2147483647 h 1493"/>
                <a:gd name="T58" fmla="*/ 2147483647 w 1647"/>
                <a:gd name="T59" fmla="*/ 2147483647 h 1493"/>
                <a:gd name="T60" fmla="*/ 2147483647 w 1647"/>
                <a:gd name="T61" fmla="*/ 2147483647 h 1493"/>
                <a:gd name="T62" fmla="*/ 2147483647 w 1647"/>
                <a:gd name="T63" fmla="*/ 2147483647 h 1493"/>
                <a:gd name="T64" fmla="*/ 2147483647 w 1647"/>
                <a:gd name="T65" fmla="*/ 2147483647 h 1493"/>
                <a:gd name="T66" fmla="*/ 2147483647 w 1647"/>
                <a:gd name="T67" fmla="*/ 2147483647 h 1493"/>
                <a:gd name="T68" fmla="*/ 2147483647 w 1647"/>
                <a:gd name="T69" fmla="*/ 2147483647 h 1493"/>
                <a:gd name="T70" fmla="*/ 2147483647 w 1647"/>
                <a:gd name="T71" fmla="*/ 2147483647 h 1493"/>
                <a:gd name="T72" fmla="*/ 2147483647 w 1647"/>
                <a:gd name="T73" fmla="*/ 2147483647 h 1493"/>
                <a:gd name="T74" fmla="*/ 2147483647 w 1647"/>
                <a:gd name="T75" fmla="*/ 2147483647 h 1493"/>
                <a:gd name="T76" fmla="*/ 2147483647 w 1647"/>
                <a:gd name="T77" fmla="*/ 2147483647 h 1493"/>
                <a:gd name="T78" fmla="*/ 2147483647 w 1647"/>
                <a:gd name="T79" fmla="*/ 2147483647 h 1493"/>
                <a:gd name="T80" fmla="*/ 2147483647 w 1647"/>
                <a:gd name="T81" fmla="*/ 2147483647 h 1493"/>
                <a:gd name="T82" fmla="*/ 2147483647 w 1647"/>
                <a:gd name="T83" fmla="*/ 2147483647 h 1493"/>
                <a:gd name="T84" fmla="*/ 2147483647 w 1647"/>
                <a:gd name="T85" fmla="*/ 2147483647 h 1493"/>
                <a:gd name="T86" fmla="*/ 2147483647 w 1647"/>
                <a:gd name="T87" fmla="*/ 2147483647 h 1493"/>
                <a:gd name="T88" fmla="*/ 2147483647 w 1647"/>
                <a:gd name="T89" fmla="*/ 2147483647 h 1493"/>
                <a:gd name="T90" fmla="*/ 2147483647 w 1647"/>
                <a:gd name="T91" fmla="*/ 2147483647 h 1493"/>
                <a:gd name="T92" fmla="*/ 2147483647 w 1647"/>
                <a:gd name="T93" fmla="*/ 2147483647 h 149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47"/>
                <a:gd name="T142" fmla="*/ 0 h 1493"/>
                <a:gd name="T143" fmla="*/ 1647 w 1647"/>
                <a:gd name="T144" fmla="*/ 1493 h 149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47" h="1493">
                  <a:moveTo>
                    <a:pt x="1595" y="557"/>
                  </a:moveTo>
                  <a:lnTo>
                    <a:pt x="1595" y="557"/>
                  </a:lnTo>
                  <a:cubicBezTo>
                    <a:pt x="1552" y="523"/>
                    <a:pt x="1552" y="540"/>
                    <a:pt x="1535" y="514"/>
                  </a:cubicBezTo>
                  <a:cubicBezTo>
                    <a:pt x="1518" y="497"/>
                    <a:pt x="1535" y="489"/>
                    <a:pt x="1501" y="489"/>
                  </a:cubicBezTo>
                  <a:cubicBezTo>
                    <a:pt x="1475" y="489"/>
                    <a:pt x="1466" y="489"/>
                    <a:pt x="1449" y="489"/>
                  </a:cubicBezTo>
                  <a:cubicBezTo>
                    <a:pt x="1440" y="489"/>
                    <a:pt x="1415" y="514"/>
                    <a:pt x="1415" y="497"/>
                  </a:cubicBezTo>
                  <a:cubicBezTo>
                    <a:pt x="1406" y="472"/>
                    <a:pt x="1423" y="437"/>
                    <a:pt x="1380" y="420"/>
                  </a:cubicBezTo>
                  <a:cubicBezTo>
                    <a:pt x="1338" y="411"/>
                    <a:pt x="1312" y="429"/>
                    <a:pt x="1295" y="394"/>
                  </a:cubicBezTo>
                  <a:cubicBezTo>
                    <a:pt x="1278" y="369"/>
                    <a:pt x="1261" y="360"/>
                    <a:pt x="1244" y="334"/>
                  </a:cubicBezTo>
                  <a:cubicBezTo>
                    <a:pt x="1235" y="317"/>
                    <a:pt x="1252" y="309"/>
                    <a:pt x="1226" y="300"/>
                  </a:cubicBezTo>
                  <a:cubicBezTo>
                    <a:pt x="1200" y="283"/>
                    <a:pt x="1149" y="257"/>
                    <a:pt x="1158" y="232"/>
                  </a:cubicBezTo>
                  <a:cubicBezTo>
                    <a:pt x="1175" y="214"/>
                    <a:pt x="1200" y="232"/>
                    <a:pt x="1166" y="180"/>
                  </a:cubicBezTo>
                  <a:cubicBezTo>
                    <a:pt x="1141" y="137"/>
                    <a:pt x="1132" y="137"/>
                    <a:pt x="1123" y="103"/>
                  </a:cubicBezTo>
                  <a:cubicBezTo>
                    <a:pt x="1123" y="69"/>
                    <a:pt x="1115" y="34"/>
                    <a:pt x="1106" y="34"/>
                  </a:cubicBezTo>
                  <a:cubicBezTo>
                    <a:pt x="1098" y="43"/>
                    <a:pt x="1106" y="60"/>
                    <a:pt x="1081" y="43"/>
                  </a:cubicBezTo>
                  <a:cubicBezTo>
                    <a:pt x="1055" y="17"/>
                    <a:pt x="1029" y="0"/>
                    <a:pt x="1004" y="0"/>
                  </a:cubicBezTo>
                  <a:cubicBezTo>
                    <a:pt x="978" y="0"/>
                    <a:pt x="926" y="9"/>
                    <a:pt x="918" y="17"/>
                  </a:cubicBezTo>
                  <a:cubicBezTo>
                    <a:pt x="909" y="34"/>
                    <a:pt x="901" y="94"/>
                    <a:pt x="875" y="69"/>
                  </a:cubicBezTo>
                  <a:cubicBezTo>
                    <a:pt x="858" y="52"/>
                    <a:pt x="875" y="9"/>
                    <a:pt x="849" y="9"/>
                  </a:cubicBezTo>
                  <a:cubicBezTo>
                    <a:pt x="832" y="9"/>
                    <a:pt x="781" y="0"/>
                    <a:pt x="764" y="9"/>
                  </a:cubicBezTo>
                  <a:cubicBezTo>
                    <a:pt x="755" y="9"/>
                    <a:pt x="729" y="34"/>
                    <a:pt x="720" y="26"/>
                  </a:cubicBezTo>
                  <a:cubicBezTo>
                    <a:pt x="712" y="9"/>
                    <a:pt x="712" y="0"/>
                    <a:pt x="695" y="0"/>
                  </a:cubicBezTo>
                  <a:cubicBezTo>
                    <a:pt x="669" y="9"/>
                    <a:pt x="669" y="26"/>
                    <a:pt x="652" y="17"/>
                  </a:cubicBezTo>
                  <a:cubicBezTo>
                    <a:pt x="643" y="9"/>
                    <a:pt x="635" y="17"/>
                    <a:pt x="635" y="0"/>
                  </a:cubicBezTo>
                  <a:cubicBezTo>
                    <a:pt x="626" y="0"/>
                    <a:pt x="609" y="9"/>
                    <a:pt x="609" y="9"/>
                  </a:cubicBezTo>
                  <a:cubicBezTo>
                    <a:pt x="592" y="9"/>
                    <a:pt x="575" y="60"/>
                    <a:pt x="566" y="86"/>
                  </a:cubicBezTo>
                  <a:cubicBezTo>
                    <a:pt x="566" y="103"/>
                    <a:pt x="592" y="120"/>
                    <a:pt x="558" y="129"/>
                  </a:cubicBezTo>
                  <a:cubicBezTo>
                    <a:pt x="532" y="146"/>
                    <a:pt x="524" y="146"/>
                    <a:pt x="506" y="146"/>
                  </a:cubicBezTo>
                  <a:cubicBezTo>
                    <a:pt x="489" y="146"/>
                    <a:pt x="480" y="137"/>
                    <a:pt x="472" y="146"/>
                  </a:cubicBezTo>
                  <a:cubicBezTo>
                    <a:pt x="463" y="154"/>
                    <a:pt x="438" y="180"/>
                    <a:pt x="429" y="180"/>
                  </a:cubicBezTo>
                  <a:cubicBezTo>
                    <a:pt x="429" y="180"/>
                    <a:pt x="421" y="189"/>
                    <a:pt x="421" y="197"/>
                  </a:cubicBezTo>
                  <a:cubicBezTo>
                    <a:pt x="421" y="214"/>
                    <a:pt x="412" y="240"/>
                    <a:pt x="412" y="257"/>
                  </a:cubicBezTo>
                  <a:cubicBezTo>
                    <a:pt x="412" y="274"/>
                    <a:pt x="421" y="300"/>
                    <a:pt x="429" y="300"/>
                  </a:cubicBezTo>
                  <a:cubicBezTo>
                    <a:pt x="446" y="300"/>
                    <a:pt x="472" y="300"/>
                    <a:pt x="463" y="317"/>
                  </a:cubicBezTo>
                  <a:cubicBezTo>
                    <a:pt x="455" y="326"/>
                    <a:pt x="489" y="369"/>
                    <a:pt x="446" y="360"/>
                  </a:cubicBezTo>
                  <a:cubicBezTo>
                    <a:pt x="412" y="351"/>
                    <a:pt x="386" y="369"/>
                    <a:pt x="386" y="386"/>
                  </a:cubicBezTo>
                  <a:cubicBezTo>
                    <a:pt x="386" y="403"/>
                    <a:pt x="395" y="420"/>
                    <a:pt x="378" y="429"/>
                  </a:cubicBezTo>
                  <a:cubicBezTo>
                    <a:pt x="369" y="437"/>
                    <a:pt x="335" y="446"/>
                    <a:pt x="335" y="472"/>
                  </a:cubicBezTo>
                  <a:cubicBezTo>
                    <a:pt x="335" y="489"/>
                    <a:pt x="343" y="506"/>
                    <a:pt x="343" y="540"/>
                  </a:cubicBezTo>
                  <a:cubicBezTo>
                    <a:pt x="343" y="566"/>
                    <a:pt x="326" y="591"/>
                    <a:pt x="326" y="600"/>
                  </a:cubicBezTo>
                  <a:cubicBezTo>
                    <a:pt x="326" y="617"/>
                    <a:pt x="343" y="617"/>
                    <a:pt x="361" y="634"/>
                  </a:cubicBezTo>
                  <a:cubicBezTo>
                    <a:pt x="378" y="651"/>
                    <a:pt x="361" y="720"/>
                    <a:pt x="343" y="686"/>
                  </a:cubicBezTo>
                  <a:cubicBezTo>
                    <a:pt x="335" y="660"/>
                    <a:pt x="352" y="643"/>
                    <a:pt x="335" y="643"/>
                  </a:cubicBezTo>
                  <a:cubicBezTo>
                    <a:pt x="309" y="651"/>
                    <a:pt x="301" y="660"/>
                    <a:pt x="284" y="669"/>
                  </a:cubicBezTo>
                  <a:cubicBezTo>
                    <a:pt x="266" y="677"/>
                    <a:pt x="266" y="694"/>
                    <a:pt x="240" y="703"/>
                  </a:cubicBezTo>
                  <a:cubicBezTo>
                    <a:pt x="215" y="703"/>
                    <a:pt x="198" y="720"/>
                    <a:pt x="198" y="729"/>
                  </a:cubicBezTo>
                  <a:cubicBezTo>
                    <a:pt x="198" y="737"/>
                    <a:pt x="232" y="737"/>
                    <a:pt x="206" y="754"/>
                  </a:cubicBezTo>
                  <a:cubicBezTo>
                    <a:pt x="189" y="772"/>
                    <a:pt x="189" y="806"/>
                    <a:pt x="146" y="797"/>
                  </a:cubicBezTo>
                  <a:cubicBezTo>
                    <a:pt x="112" y="789"/>
                    <a:pt x="52" y="823"/>
                    <a:pt x="0" y="831"/>
                  </a:cubicBezTo>
                  <a:cubicBezTo>
                    <a:pt x="9" y="857"/>
                    <a:pt x="18" y="892"/>
                    <a:pt x="35" y="917"/>
                  </a:cubicBezTo>
                  <a:cubicBezTo>
                    <a:pt x="69" y="969"/>
                    <a:pt x="112" y="1020"/>
                    <a:pt x="112" y="1037"/>
                  </a:cubicBezTo>
                  <a:cubicBezTo>
                    <a:pt x="112" y="1054"/>
                    <a:pt x="121" y="1089"/>
                    <a:pt x="129" y="1106"/>
                  </a:cubicBezTo>
                  <a:cubicBezTo>
                    <a:pt x="129" y="1123"/>
                    <a:pt x="138" y="1157"/>
                    <a:pt x="138" y="1166"/>
                  </a:cubicBezTo>
                  <a:cubicBezTo>
                    <a:pt x="129" y="1174"/>
                    <a:pt x="78" y="1217"/>
                    <a:pt x="69" y="1226"/>
                  </a:cubicBezTo>
                  <a:cubicBezTo>
                    <a:pt x="52" y="1243"/>
                    <a:pt x="18" y="1303"/>
                    <a:pt x="44" y="1311"/>
                  </a:cubicBezTo>
                  <a:cubicBezTo>
                    <a:pt x="61" y="1320"/>
                    <a:pt x="121" y="1329"/>
                    <a:pt x="129" y="1355"/>
                  </a:cubicBezTo>
                  <a:cubicBezTo>
                    <a:pt x="129" y="1380"/>
                    <a:pt x="138" y="1466"/>
                    <a:pt x="138" y="1492"/>
                  </a:cubicBezTo>
                  <a:cubicBezTo>
                    <a:pt x="155" y="1483"/>
                    <a:pt x="163" y="1474"/>
                    <a:pt x="172" y="1474"/>
                  </a:cubicBezTo>
                  <a:cubicBezTo>
                    <a:pt x="198" y="1474"/>
                    <a:pt x="215" y="1483"/>
                    <a:pt x="223" y="1466"/>
                  </a:cubicBezTo>
                  <a:cubicBezTo>
                    <a:pt x="240" y="1449"/>
                    <a:pt x="249" y="1397"/>
                    <a:pt x="266" y="1380"/>
                  </a:cubicBezTo>
                  <a:cubicBezTo>
                    <a:pt x="284" y="1372"/>
                    <a:pt x="361" y="1355"/>
                    <a:pt x="395" y="1346"/>
                  </a:cubicBezTo>
                  <a:cubicBezTo>
                    <a:pt x="421" y="1337"/>
                    <a:pt x="489" y="1337"/>
                    <a:pt x="506" y="1320"/>
                  </a:cubicBezTo>
                  <a:cubicBezTo>
                    <a:pt x="524" y="1311"/>
                    <a:pt x="618" y="1320"/>
                    <a:pt x="678" y="1320"/>
                  </a:cubicBezTo>
                  <a:cubicBezTo>
                    <a:pt x="738" y="1320"/>
                    <a:pt x="746" y="1294"/>
                    <a:pt x="764" y="1303"/>
                  </a:cubicBezTo>
                  <a:cubicBezTo>
                    <a:pt x="789" y="1311"/>
                    <a:pt x="781" y="1337"/>
                    <a:pt x="815" y="1337"/>
                  </a:cubicBezTo>
                  <a:cubicBezTo>
                    <a:pt x="849" y="1337"/>
                    <a:pt x="875" y="1329"/>
                    <a:pt x="875" y="1337"/>
                  </a:cubicBezTo>
                  <a:cubicBezTo>
                    <a:pt x="883" y="1355"/>
                    <a:pt x="875" y="1372"/>
                    <a:pt x="892" y="1363"/>
                  </a:cubicBezTo>
                  <a:cubicBezTo>
                    <a:pt x="901" y="1355"/>
                    <a:pt x="883" y="1329"/>
                    <a:pt x="909" y="1329"/>
                  </a:cubicBezTo>
                  <a:cubicBezTo>
                    <a:pt x="935" y="1320"/>
                    <a:pt x="960" y="1329"/>
                    <a:pt x="969" y="1311"/>
                  </a:cubicBezTo>
                  <a:cubicBezTo>
                    <a:pt x="986" y="1286"/>
                    <a:pt x="978" y="1294"/>
                    <a:pt x="995" y="1303"/>
                  </a:cubicBezTo>
                  <a:cubicBezTo>
                    <a:pt x="1004" y="1311"/>
                    <a:pt x="1012" y="1303"/>
                    <a:pt x="1029" y="1303"/>
                  </a:cubicBezTo>
                  <a:cubicBezTo>
                    <a:pt x="1055" y="1303"/>
                    <a:pt x="1072" y="1346"/>
                    <a:pt x="1081" y="1320"/>
                  </a:cubicBezTo>
                  <a:cubicBezTo>
                    <a:pt x="1081" y="1303"/>
                    <a:pt x="1072" y="1303"/>
                    <a:pt x="1089" y="1286"/>
                  </a:cubicBezTo>
                  <a:cubicBezTo>
                    <a:pt x="1115" y="1260"/>
                    <a:pt x="1115" y="1234"/>
                    <a:pt x="1132" y="1252"/>
                  </a:cubicBezTo>
                  <a:cubicBezTo>
                    <a:pt x="1149" y="1269"/>
                    <a:pt x="1175" y="1337"/>
                    <a:pt x="1200" y="1311"/>
                  </a:cubicBezTo>
                  <a:cubicBezTo>
                    <a:pt x="1226" y="1294"/>
                    <a:pt x="1235" y="1277"/>
                    <a:pt x="1252" y="1269"/>
                  </a:cubicBezTo>
                  <a:cubicBezTo>
                    <a:pt x="1269" y="1269"/>
                    <a:pt x="1321" y="1243"/>
                    <a:pt x="1338" y="1252"/>
                  </a:cubicBezTo>
                  <a:cubicBezTo>
                    <a:pt x="1363" y="1252"/>
                    <a:pt x="1423" y="1311"/>
                    <a:pt x="1423" y="1286"/>
                  </a:cubicBezTo>
                  <a:cubicBezTo>
                    <a:pt x="1423" y="1269"/>
                    <a:pt x="1398" y="1226"/>
                    <a:pt x="1389" y="1192"/>
                  </a:cubicBezTo>
                  <a:cubicBezTo>
                    <a:pt x="1380" y="1166"/>
                    <a:pt x="1406" y="1054"/>
                    <a:pt x="1415" y="1046"/>
                  </a:cubicBezTo>
                  <a:cubicBezTo>
                    <a:pt x="1432" y="1029"/>
                    <a:pt x="1449" y="1046"/>
                    <a:pt x="1475" y="1029"/>
                  </a:cubicBezTo>
                  <a:cubicBezTo>
                    <a:pt x="1492" y="1012"/>
                    <a:pt x="1509" y="1003"/>
                    <a:pt x="1535" y="994"/>
                  </a:cubicBezTo>
                  <a:cubicBezTo>
                    <a:pt x="1543" y="994"/>
                    <a:pt x="1569" y="986"/>
                    <a:pt x="1586" y="986"/>
                  </a:cubicBezTo>
                  <a:cubicBezTo>
                    <a:pt x="1561" y="969"/>
                    <a:pt x="1518" y="952"/>
                    <a:pt x="1518" y="934"/>
                  </a:cubicBezTo>
                  <a:cubicBezTo>
                    <a:pt x="1518" y="909"/>
                    <a:pt x="1475" y="823"/>
                    <a:pt x="1458" y="806"/>
                  </a:cubicBezTo>
                  <a:cubicBezTo>
                    <a:pt x="1432" y="780"/>
                    <a:pt x="1406" y="772"/>
                    <a:pt x="1406" y="746"/>
                  </a:cubicBezTo>
                  <a:cubicBezTo>
                    <a:pt x="1406" y="729"/>
                    <a:pt x="1406" y="712"/>
                    <a:pt x="1432" y="694"/>
                  </a:cubicBezTo>
                  <a:cubicBezTo>
                    <a:pt x="1449" y="677"/>
                    <a:pt x="1475" y="686"/>
                    <a:pt x="1501" y="686"/>
                  </a:cubicBezTo>
                  <a:cubicBezTo>
                    <a:pt x="1535" y="686"/>
                    <a:pt x="1552" y="643"/>
                    <a:pt x="1569" y="626"/>
                  </a:cubicBezTo>
                  <a:cubicBezTo>
                    <a:pt x="1595" y="609"/>
                    <a:pt x="1595" y="609"/>
                    <a:pt x="1603" y="591"/>
                  </a:cubicBezTo>
                  <a:cubicBezTo>
                    <a:pt x="1612" y="566"/>
                    <a:pt x="1646" y="583"/>
                    <a:pt x="1595" y="55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8" name="Freeform 79"/>
            <p:cNvSpPr>
              <a:spLocks noChangeArrowheads="1"/>
            </p:cNvSpPr>
            <p:nvPr/>
          </p:nvSpPr>
          <p:spPr bwMode="auto">
            <a:xfrm>
              <a:off x="3467100" y="2171700"/>
              <a:ext cx="274638" cy="225425"/>
            </a:xfrm>
            <a:custGeom>
              <a:avLst/>
              <a:gdLst>
                <a:gd name="T0" fmla="*/ 2147483647 w 764"/>
                <a:gd name="T1" fmla="*/ 2147483647 h 627"/>
                <a:gd name="T2" fmla="*/ 2147483647 w 764"/>
                <a:gd name="T3" fmla="*/ 2147483647 h 627"/>
                <a:gd name="T4" fmla="*/ 2147483647 w 764"/>
                <a:gd name="T5" fmla="*/ 2147483647 h 627"/>
                <a:gd name="T6" fmla="*/ 2147483647 w 764"/>
                <a:gd name="T7" fmla="*/ 2147483647 h 627"/>
                <a:gd name="T8" fmla="*/ 2147483647 w 764"/>
                <a:gd name="T9" fmla="*/ 2147483647 h 627"/>
                <a:gd name="T10" fmla="*/ 2147483647 w 764"/>
                <a:gd name="T11" fmla="*/ 2147483647 h 627"/>
                <a:gd name="T12" fmla="*/ 2147483647 w 764"/>
                <a:gd name="T13" fmla="*/ 2147483647 h 627"/>
                <a:gd name="T14" fmla="*/ 2147483647 w 764"/>
                <a:gd name="T15" fmla="*/ 2147483647 h 627"/>
                <a:gd name="T16" fmla="*/ 2147483647 w 764"/>
                <a:gd name="T17" fmla="*/ 2147483647 h 627"/>
                <a:gd name="T18" fmla="*/ 2147483647 w 764"/>
                <a:gd name="T19" fmla="*/ 2147483647 h 627"/>
                <a:gd name="T20" fmla="*/ 2147483647 w 764"/>
                <a:gd name="T21" fmla="*/ 2147483647 h 627"/>
                <a:gd name="T22" fmla="*/ 2147483647 w 764"/>
                <a:gd name="T23" fmla="*/ 2147483647 h 627"/>
                <a:gd name="T24" fmla="*/ 2147483647 w 764"/>
                <a:gd name="T25" fmla="*/ 2147483647 h 627"/>
                <a:gd name="T26" fmla="*/ 2147483647 w 764"/>
                <a:gd name="T27" fmla="*/ 2147483647 h 627"/>
                <a:gd name="T28" fmla="*/ 2147483647 w 764"/>
                <a:gd name="T29" fmla="*/ 2147483647 h 627"/>
                <a:gd name="T30" fmla="*/ 2147483647 w 764"/>
                <a:gd name="T31" fmla="*/ 2147483647 h 627"/>
                <a:gd name="T32" fmla="*/ 2147483647 w 764"/>
                <a:gd name="T33" fmla="*/ 0 h 627"/>
                <a:gd name="T34" fmla="*/ 2147483647 w 764"/>
                <a:gd name="T35" fmla="*/ 2147483647 h 627"/>
                <a:gd name="T36" fmla="*/ 2147483647 w 764"/>
                <a:gd name="T37" fmla="*/ 2147483647 h 627"/>
                <a:gd name="T38" fmla="*/ 2147483647 w 764"/>
                <a:gd name="T39" fmla="*/ 2147483647 h 627"/>
                <a:gd name="T40" fmla="*/ 2147483647 w 764"/>
                <a:gd name="T41" fmla="*/ 2147483647 h 627"/>
                <a:gd name="T42" fmla="*/ 2147483647 w 764"/>
                <a:gd name="T43" fmla="*/ 2147483647 h 627"/>
                <a:gd name="T44" fmla="*/ 2147483647 w 764"/>
                <a:gd name="T45" fmla="*/ 2147483647 h 627"/>
                <a:gd name="T46" fmla="*/ 2147483647 w 764"/>
                <a:gd name="T47" fmla="*/ 2147483647 h 627"/>
                <a:gd name="T48" fmla="*/ 2147483647 w 764"/>
                <a:gd name="T49" fmla="*/ 2147483647 h 627"/>
                <a:gd name="T50" fmla="*/ 2147483647 w 764"/>
                <a:gd name="T51" fmla="*/ 2147483647 h 627"/>
                <a:gd name="T52" fmla="*/ 2147483647 w 764"/>
                <a:gd name="T53" fmla="*/ 2147483647 h 627"/>
                <a:gd name="T54" fmla="*/ 2147483647 w 764"/>
                <a:gd name="T55" fmla="*/ 2147483647 h 627"/>
                <a:gd name="T56" fmla="*/ 2147483647 w 764"/>
                <a:gd name="T57" fmla="*/ 2147483647 h 627"/>
                <a:gd name="T58" fmla="*/ 2147483647 w 764"/>
                <a:gd name="T59" fmla="*/ 2147483647 h 627"/>
                <a:gd name="T60" fmla="*/ 2147483647 w 764"/>
                <a:gd name="T61" fmla="*/ 2147483647 h 627"/>
                <a:gd name="T62" fmla="*/ 2147483647 w 764"/>
                <a:gd name="T63" fmla="*/ 2147483647 h 627"/>
                <a:gd name="T64" fmla="*/ 2147483647 w 764"/>
                <a:gd name="T65" fmla="*/ 2147483647 h 627"/>
                <a:gd name="T66" fmla="*/ 2147483647 w 764"/>
                <a:gd name="T67" fmla="*/ 2147483647 h 627"/>
                <a:gd name="T68" fmla="*/ 2147483647 w 764"/>
                <a:gd name="T69" fmla="*/ 2147483647 h 627"/>
                <a:gd name="T70" fmla="*/ 2147483647 w 764"/>
                <a:gd name="T71" fmla="*/ 2147483647 h 627"/>
                <a:gd name="T72" fmla="*/ 2147483647 w 764"/>
                <a:gd name="T73" fmla="*/ 2147483647 h 627"/>
                <a:gd name="T74" fmla="*/ 2147483647 w 764"/>
                <a:gd name="T75" fmla="*/ 2147483647 h 627"/>
                <a:gd name="T76" fmla="*/ 2147483647 w 764"/>
                <a:gd name="T77" fmla="*/ 2147483647 h 627"/>
                <a:gd name="T78" fmla="*/ 2147483647 w 764"/>
                <a:gd name="T79" fmla="*/ 2147483647 h 627"/>
                <a:gd name="T80" fmla="*/ 2147483647 w 764"/>
                <a:gd name="T81" fmla="*/ 2147483647 h 627"/>
                <a:gd name="T82" fmla="*/ 2147483647 w 764"/>
                <a:gd name="T83" fmla="*/ 2147483647 h 627"/>
                <a:gd name="T84" fmla="*/ 2147483647 w 764"/>
                <a:gd name="T85" fmla="*/ 2147483647 h 62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64"/>
                <a:gd name="T130" fmla="*/ 0 h 627"/>
                <a:gd name="T131" fmla="*/ 764 w 764"/>
                <a:gd name="T132" fmla="*/ 627 h 62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64" h="627">
                  <a:moveTo>
                    <a:pt x="386" y="532"/>
                  </a:moveTo>
                  <a:lnTo>
                    <a:pt x="386" y="532"/>
                  </a:lnTo>
                  <a:cubicBezTo>
                    <a:pt x="403" y="523"/>
                    <a:pt x="446" y="557"/>
                    <a:pt x="472" y="566"/>
                  </a:cubicBezTo>
                  <a:cubicBezTo>
                    <a:pt x="506" y="574"/>
                    <a:pt x="506" y="583"/>
                    <a:pt x="540" y="600"/>
                  </a:cubicBezTo>
                  <a:cubicBezTo>
                    <a:pt x="566" y="617"/>
                    <a:pt x="575" y="617"/>
                    <a:pt x="592" y="617"/>
                  </a:cubicBezTo>
                  <a:cubicBezTo>
                    <a:pt x="609" y="626"/>
                    <a:pt x="626" y="617"/>
                    <a:pt x="643" y="600"/>
                  </a:cubicBezTo>
                  <a:cubicBezTo>
                    <a:pt x="652" y="591"/>
                    <a:pt x="686" y="591"/>
                    <a:pt x="720" y="591"/>
                  </a:cubicBezTo>
                  <a:cubicBezTo>
                    <a:pt x="712" y="566"/>
                    <a:pt x="703" y="549"/>
                    <a:pt x="720" y="532"/>
                  </a:cubicBezTo>
                  <a:cubicBezTo>
                    <a:pt x="746" y="514"/>
                    <a:pt x="763" y="523"/>
                    <a:pt x="755" y="488"/>
                  </a:cubicBezTo>
                  <a:cubicBezTo>
                    <a:pt x="746" y="454"/>
                    <a:pt x="729" y="454"/>
                    <a:pt x="712" y="429"/>
                  </a:cubicBezTo>
                  <a:cubicBezTo>
                    <a:pt x="703" y="403"/>
                    <a:pt x="686" y="394"/>
                    <a:pt x="686" y="377"/>
                  </a:cubicBezTo>
                  <a:cubicBezTo>
                    <a:pt x="686" y="351"/>
                    <a:pt x="678" y="326"/>
                    <a:pt x="660" y="292"/>
                  </a:cubicBezTo>
                  <a:cubicBezTo>
                    <a:pt x="643" y="257"/>
                    <a:pt x="626" y="248"/>
                    <a:pt x="643" y="223"/>
                  </a:cubicBezTo>
                  <a:cubicBezTo>
                    <a:pt x="660" y="189"/>
                    <a:pt x="686" y="171"/>
                    <a:pt x="686" y="146"/>
                  </a:cubicBezTo>
                  <a:cubicBezTo>
                    <a:pt x="686" y="120"/>
                    <a:pt x="678" y="103"/>
                    <a:pt x="686" y="77"/>
                  </a:cubicBezTo>
                  <a:cubicBezTo>
                    <a:pt x="695" y="60"/>
                    <a:pt x="703" y="34"/>
                    <a:pt x="703" y="34"/>
                  </a:cubicBezTo>
                  <a:cubicBezTo>
                    <a:pt x="703" y="34"/>
                    <a:pt x="703" y="17"/>
                    <a:pt x="678" y="0"/>
                  </a:cubicBezTo>
                  <a:cubicBezTo>
                    <a:pt x="678" y="8"/>
                    <a:pt x="678" y="17"/>
                    <a:pt x="669" y="26"/>
                  </a:cubicBezTo>
                  <a:cubicBezTo>
                    <a:pt x="643" y="34"/>
                    <a:pt x="532" y="69"/>
                    <a:pt x="515" y="60"/>
                  </a:cubicBezTo>
                  <a:cubicBezTo>
                    <a:pt x="498" y="51"/>
                    <a:pt x="515" y="51"/>
                    <a:pt x="472" y="51"/>
                  </a:cubicBezTo>
                  <a:cubicBezTo>
                    <a:pt x="429" y="51"/>
                    <a:pt x="378" y="51"/>
                    <a:pt x="361" y="51"/>
                  </a:cubicBezTo>
                  <a:cubicBezTo>
                    <a:pt x="335" y="51"/>
                    <a:pt x="300" y="51"/>
                    <a:pt x="300" y="69"/>
                  </a:cubicBezTo>
                  <a:cubicBezTo>
                    <a:pt x="292" y="86"/>
                    <a:pt x="300" y="111"/>
                    <a:pt x="283" y="111"/>
                  </a:cubicBezTo>
                  <a:cubicBezTo>
                    <a:pt x="266" y="111"/>
                    <a:pt x="180" y="120"/>
                    <a:pt x="163" y="129"/>
                  </a:cubicBezTo>
                  <a:cubicBezTo>
                    <a:pt x="155" y="137"/>
                    <a:pt x="129" y="146"/>
                    <a:pt x="121" y="163"/>
                  </a:cubicBezTo>
                  <a:cubicBezTo>
                    <a:pt x="103" y="180"/>
                    <a:pt x="112" y="206"/>
                    <a:pt x="103" y="214"/>
                  </a:cubicBezTo>
                  <a:cubicBezTo>
                    <a:pt x="86" y="223"/>
                    <a:pt x="60" y="214"/>
                    <a:pt x="43" y="231"/>
                  </a:cubicBezTo>
                  <a:cubicBezTo>
                    <a:pt x="26" y="248"/>
                    <a:pt x="0" y="283"/>
                    <a:pt x="18" y="300"/>
                  </a:cubicBezTo>
                  <a:cubicBezTo>
                    <a:pt x="35" y="317"/>
                    <a:pt x="52" y="309"/>
                    <a:pt x="52" y="309"/>
                  </a:cubicBezTo>
                  <a:cubicBezTo>
                    <a:pt x="52" y="309"/>
                    <a:pt x="43" y="317"/>
                    <a:pt x="43" y="326"/>
                  </a:cubicBezTo>
                  <a:cubicBezTo>
                    <a:pt x="35" y="334"/>
                    <a:pt x="26" y="360"/>
                    <a:pt x="52" y="369"/>
                  </a:cubicBezTo>
                  <a:cubicBezTo>
                    <a:pt x="60" y="369"/>
                    <a:pt x="77" y="369"/>
                    <a:pt x="77" y="369"/>
                  </a:cubicBezTo>
                  <a:cubicBezTo>
                    <a:pt x="77" y="377"/>
                    <a:pt x="69" y="377"/>
                    <a:pt x="60" y="377"/>
                  </a:cubicBezTo>
                  <a:cubicBezTo>
                    <a:pt x="60" y="386"/>
                    <a:pt x="60" y="403"/>
                    <a:pt x="60" y="420"/>
                  </a:cubicBezTo>
                  <a:cubicBezTo>
                    <a:pt x="60" y="429"/>
                    <a:pt x="69" y="437"/>
                    <a:pt x="77" y="437"/>
                  </a:cubicBezTo>
                  <a:cubicBezTo>
                    <a:pt x="86" y="446"/>
                    <a:pt x="86" y="454"/>
                    <a:pt x="103" y="471"/>
                  </a:cubicBezTo>
                  <a:cubicBezTo>
                    <a:pt x="121" y="497"/>
                    <a:pt x="155" y="506"/>
                    <a:pt x="172" y="506"/>
                  </a:cubicBezTo>
                  <a:cubicBezTo>
                    <a:pt x="198" y="506"/>
                    <a:pt x="189" y="471"/>
                    <a:pt x="206" y="471"/>
                  </a:cubicBezTo>
                  <a:cubicBezTo>
                    <a:pt x="215" y="471"/>
                    <a:pt x="232" y="454"/>
                    <a:pt x="223" y="488"/>
                  </a:cubicBezTo>
                  <a:cubicBezTo>
                    <a:pt x="223" y="514"/>
                    <a:pt x="215" y="557"/>
                    <a:pt x="223" y="600"/>
                  </a:cubicBezTo>
                  <a:cubicBezTo>
                    <a:pt x="223" y="609"/>
                    <a:pt x="223" y="609"/>
                    <a:pt x="223" y="609"/>
                  </a:cubicBezTo>
                  <a:cubicBezTo>
                    <a:pt x="258" y="574"/>
                    <a:pt x="317" y="540"/>
                    <a:pt x="326" y="532"/>
                  </a:cubicBezTo>
                  <a:cubicBezTo>
                    <a:pt x="343" y="523"/>
                    <a:pt x="361" y="532"/>
                    <a:pt x="386" y="532"/>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79" name="Freeform 80"/>
            <p:cNvSpPr>
              <a:spLocks noChangeArrowheads="1"/>
            </p:cNvSpPr>
            <p:nvPr/>
          </p:nvSpPr>
          <p:spPr bwMode="auto">
            <a:xfrm>
              <a:off x="3379788" y="2359025"/>
              <a:ext cx="430212" cy="254000"/>
            </a:xfrm>
            <a:custGeom>
              <a:avLst/>
              <a:gdLst>
                <a:gd name="T0" fmla="*/ 2147483647 w 1193"/>
                <a:gd name="T1" fmla="*/ 2147483647 h 704"/>
                <a:gd name="T2" fmla="*/ 2147483647 w 1193"/>
                <a:gd name="T3" fmla="*/ 2147483647 h 704"/>
                <a:gd name="T4" fmla="*/ 2147483647 w 1193"/>
                <a:gd name="T5" fmla="*/ 2147483647 h 704"/>
                <a:gd name="T6" fmla="*/ 2147483647 w 1193"/>
                <a:gd name="T7" fmla="*/ 2147483647 h 704"/>
                <a:gd name="T8" fmla="*/ 2147483647 w 1193"/>
                <a:gd name="T9" fmla="*/ 2147483647 h 704"/>
                <a:gd name="T10" fmla="*/ 2147483647 w 1193"/>
                <a:gd name="T11" fmla="*/ 2147483647 h 704"/>
                <a:gd name="T12" fmla="*/ 2147483647 w 1193"/>
                <a:gd name="T13" fmla="*/ 2147483647 h 704"/>
                <a:gd name="T14" fmla="*/ 2147483647 w 1193"/>
                <a:gd name="T15" fmla="*/ 2147483647 h 704"/>
                <a:gd name="T16" fmla="*/ 2147483647 w 1193"/>
                <a:gd name="T17" fmla="*/ 2147483647 h 704"/>
                <a:gd name="T18" fmla="*/ 2147483647 w 1193"/>
                <a:gd name="T19" fmla="*/ 2147483647 h 704"/>
                <a:gd name="T20" fmla="*/ 2147483647 w 1193"/>
                <a:gd name="T21" fmla="*/ 2147483647 h 704"/>
                <a:gd name="T22" fmla="*/ 2147483647 w 1193"/>
                <a:gd name="T23" fmla="*/ 2147483647 h 704"/>
                <a:gd name="T24" fmla="*/ 2147483647 w 1193"/>
                <a:gd name="T25" fmla="*/ 2147483647 h 704"/>
                <a:gd name="T26" fmla="*/ 2147483647 w 1193"/>
                <a:gd name="T27" fmla="*/ 2147483647 h 704"/>
                <a:gd name="T28" fmla="*/ 2147483647 w 1193"/>
                <a:gd name="T29" fmla="*/ 2147483647 h 704"/>
                <a:gd name="T30" fmla="*/ 2147483647 w 1193"/>
                <a:gd name="T31" fmla="*/ 2147483647 h 704"/>
                <a:gd name="T32" fmla="*/ 2147483647 w 1193"/>
                <a:gd name="T33" fmla="*/ 2147483647 h 704"/>
                <a:gd name="T34" fmla="*/ 2147483647 w 1193"/>
                <a:gd name="T35" fmla="*/ 2147483647 h 704"/>
                <a:gd name="T36" fmla="*/ 2147483647 w 1193"/>
                <a:gd name="T37" fmla="*/ 2147483647 h 704"/>
                <a:gd name="T38" fmla="*/ 2147483647 w 1193"/>
                <a:gd name="T39" fmla="*/ 2147483647 h 704"/>
                <a:gd name="T40" fmla="*/ 2147483647 w 1193"/>
                <a:gd name="T41" fmla="*/ 2147483647 h 704"/>
                <a:gd name="T42" fmla="*/ 2147483647 w 1193"/>
                <a:gd name="T43" fmla="*/ 2147483647 h 704"/>
                <a:gd name="T44" fmla="*/ 2147483647 w 1193"/>
                <a:gd name="T45" fmla="*/ 2147483647 h 704"/>
                <a:gd name="T46" fmla="*/ 2147483647 w 1193"/>
                <a:gd name="T47" fmla="*/ 2147483647 h 704"/>
                <a:gd name="T48" fmla="*/ 2147483647 w 1193"/>
                <a:gd name="T49" fmla="*/ 2147483647 h 704"/>
                <a:gd name="T50" fmla="*/ 2147483647 w 1193"/>
                <a:gd name="T51" fmla="*/ 2147483647 h 704"/>
                <a:gd name="T52" fmla="*/ 2147483647 w 1193"/>
                <a:gd name="T53" fmla="*/ 2147483647 h 704"/>
                <a:gd name="T54" fmla="*/ 2147483647 w 1193"/>
                <a:gd name="T55" fmla="*/ 2147483647 h 704"/>
                <a:gd name="T56" fmla="*/ 2147483647 w 1193"/>
                <a:gd name="T57" fmla="*/ 2147483647 h 704"/>
                <a:gd name="T58" fmla="*/ 2147483647 w 1193"/>
                <a:gd name="T59" fmla="*/ 2147483647 h 704"/>
                <a:gd name="T60" fmla="*/ 2147483647 w 1193"/>
                <a:gd name="T61" fmla="*/ 2147483647 h 704"/>
                <a:gd name="T62" fmla="*/ 2147483647 w 1193"/>
                <a:gd name="T63" fmla="*/ 2147483647 h 704"/>
                <a:gd name="T64" fmla="*/ 2147483647 w 1193"/>
                <a:gd name="T65" fmla="*/ 2147483647 h 704"/>
                <a:gd name="T66" fmla="*/ 2147483647 w 1193"/>
                <a:gd name="T67" fmla="*/ 2147483647 h 704"/>
                <a:gd name="T68" fmla="*/ 2147483647 w 1193"/>
                <a:gd name="T69" fmla="*/ 2147483647 h 704"/>
                <a:gd name="T70" fmla="*/ 2147483647 w 1193"/>
                <a:gd name="T71" fmla="*/ 2147483647 h 704"/>
                <a:gd name="T72" fmla="*/ 2147483647 w 1193"/>
                <a:gd name="T73" fmla="*/ 2147483647 h 704"/>
                <a:gd name="T74" fmla="*/ 2147483647 w 1193"/>
                <a:gd name="T75" fmla="*/ 2147483647 h 704"/>
                <a:gd name="T76" fmla="*/ 2147483647 w 1193"/>
                <a:gd name="T77" fmla="*/ 2147483647 h 704"/>
                <a:gd name="T78" fmla="*/ 2147483647 w 1193"/>
                <a:gd name="T79" fmla="*/ 2147483647 h 704"/>
                <a:gd name="T80" fmla="*/ 2147483647 w 1193"/>
                <a:gd name="T81" fmla="*/ 2147483647 h 704"/>
                <a:gd name="T82" fmla="*/ 2147483647 w 1193"/>
                <a:gd name="T83" fmla="*/ 2147483647 h 704"/>
                <a:gd name="T84" fmla="*/ 2147483647 w 1193"/>
                <a:gd name="T85" fmla="*/ 2147483647 h 704"/>
                <a:gd name="T86" fmla="*/ 2147483647 w 1193"/>
                <a:gd name="T87" fmla="*/ 2147483647 h 704"/>
                <a:gd name="T88" fmla="*/ 2147483647 w 1193"/>
                <a:gd name="T89" fmla="*/ 2147483647 h 704"/>
                <a:gd name="T90" fmla="*/ 2147483647 w 1193"/>
                <a:gd name="T91" fmla="*/ 2147483647 h 704"/>
                <a:gd name="T92" fmla="*/ 2147483647 w 1193"/>
                <a:gd name="T93" fmla="*/ 2147483647 h 704"/>
                <a:gd name="T94" fmla="*/ 2147483647 w 1193"/>
                <a:gd name="T95" fmla="*/ 2147483647 h 704"/>
                <a:gd name="T96" fmla="*/ 2147483647 w 1193"/>
                <a:gd name="T97" fmla="*/ 2147483647 h 704"/>
                <a:gd name="T98" fmla="*/ 2147483647 w 1193"/>
                <a:gd name="T99" fmla="*/ 2147483647 h 704"/>
                <a:gd name="T100" fmla="*/ 2147483647 w 1193"/>
                <a:gd name="T101" fmla="*/ 2147483647 h 70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93"/>
                <a:gd name="T154" fmla="*/ 0 h 704"/>
                <a:gd name="T155" fmla="*/ 1193 w 1193"/>
                <a:gd name="T156" fmla="*/ 704 h 70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93" h="704">
                  <a:moveTo>
                    <a:pt x="77" y="660"/>
                  </a:moveTo>
                  <a:lnTo>
                    <a:pt x="77" y="660"/>
                  </a:lnTo>
                  <a:cubicBezTo>
                    <a:pt x="86" y="643"/>
                    <a:pt x="163" y="600"/>
                    <a:pt x="180" y="591"/>
                  </a:cubicBezTo>
                  <a:cubicBezTo>
                    <a:pt x="198" y="574"/>
                    <a:pt x="215" y="574"/>
                    <a:pt x="249" y="566"/>
                  </a:cubicBezTo>
                  <a:cubicBezTo>
                    <a:pt x="283" y="557"/>
                    <a:pt x="292" y="557"/>
                    <a:pt x="309" y="557"/>
                  </a:cubicBezTo>
                  <a:cubicBezTo>
                    <a:pt x="326" y="557"/>
                    <a:pt x="326" y="557"/>
                    <a:pt x="352" y="566"/>
                  </a:cubicBezTo>
                  <a:cubicBezTo>
                    <a:pt x="378" y="574"/>
                    <a:pt x="369" y="557"/>
                    <a:pt x="403" y="548"/>
                  </a:cubicBezTo>
                  <a:cubicBezTo>
                    <a:pt x="438" y="540"/>
                    <a:pt x="438" y="548"/>
                    <a:pt x="463" y="548"/>
                  </a:cubicBezTo>
                  <a:cubicBezTo>
                    <a:pt x="480" y="548"/>
                    <a:pt x="540" y="540"/>
                    <a:pt x="566" y="540"/>
                  </a:cubicBezTo>
                  <a:cubicBezTo>
                    <a:pt x="592" y="540"/>
                    <a:pt x="635" y="480"/>
                    <a:pt x="643" y="480"/>
                  </a:cubicBezTo>
                  <a:cubicBezTo>
                    <a:pt x="652" y="480"/>
                    <a:pt x="678" y="514"/>
                    <a:pt x="678" y="531"/>
                  </a:cubicBezTo>
                  <a:cubicBezTo>
                    <a:pt x="686" y="540"/>
                    <a:pt x="738" y="531"/>
                    <a:pt x="772" y="540"/>
                  </a:cubicBezTo>
                  <a:cubicBezTo>
                    <a:pt x="806" y="540"/>
                    <a:pt x="832" y="574"/>
                    <a:pt x="849" y="591"/>
                  </a:cubicBezTo>
                  <a:cubicBezTo>
                    <a:pt x="875" y="600"/>
                    <a:pt x="892" y="617"/>
                    <a:pt x="918" y="643"/>
                  </a:cubicBezTo>
                  <a:cubicBezTo>
                    <a:pt x="935" y="660"/>
                    <a:pt x="943" y="643"/>
                    <a:pt x="978" y="634"/>
                  </a:cubicBezTo>
                  <a:cubicBezTo>
                    <a:pt x="978" y="626"/>
                    <a:pt x="986" y="617"/>
                    <a:pt x="986" y="617"/>
                  </a:cubicBezTo>
                  <a:cubicBezTo>
                    <a:pt x="995" y="617"/>
                    <a:pt x="1020" y="591"/>
                    <a:pt x="1029" y="583"/>
                  </a:cubicBezTo>
                  <a:cubicBezTo>
                    <a:pt x="1037" y="574"/>
                    <a:pt x="1046" y="583"/>
                    <a:pt x="1063" y="583"/>
                  </a:cubicBezTo>
                  <a:cubicBezTo>
                    <a:pt x="1081" y="583"/>
                    <a:pt x="1089" y="583"/>
                    <a:pt x="1115" y="566"/>
                  </a:cubicBezTo>
                  <a:cubicBezTo>
                    <a:pt x="1149" y="557"/>
                    <a:pt x="1123" y="540"/>
                    <a:pt x="1123" y="523"/>
                  </a:cubicBezTo>
                  <a:cubicBezTo>
                    <a:pt x="1132" y="497"/>
                    <a:pt x="1149" y="446"/>
                    <a:pt x="1166" y="446"/>
                  </a:cubicBezTo>
                  <a:cubicBezTo>
                    <a:pt x="1166" y="446"/>
                    <a:pt x="1183" y="437"/>
                    <a:pt x="1192" y="437"/>
                  </a:cubicBezTo>
                  <a:cubicBezTo>
                    <a:pt x="1192" y="411"/>
                    <a:pt x="1183" y="394"/>
                    <a:pt x="1175" y="368"/>
                  </a:cubicBezTo>
                  <a:cubicBezTo>
                    <a:pt x="1158" y="351"/>
                    <a:pt x="1123" y="257"/>
                    <a:pt x="1098" y="257"/>
                  </a:cubicBezTo>
                  <a:cubicBezTo>
                    <a:pt x="1072" y="257"/>
                    <a:pt x="1046" y="214"/>
                    <a:pt x="1055" y="180"/>
                  </a:cubicBezTo>
                  <a:cubicBezTo>
                    <a:pt x="1072" y="146"/>
                    <a:pt x="1098" y="154"/>
                    <a:pt x="1063" y="137"/>
                  </a:cubicBezTo>
                  <a:cubicBezTo>
                    <a:pt x="1037" y="120"/>
                    <a:pt x="1012" y="111"/>
                    <a:pt x="1003" y="94"/>
                  </a:cubicBezTo>
                  <a:cubicBezTo>
                    <a:pt x="986" y="77"/>
                    <a:pt x="986" y="68"/>
                    <a:pt x="960" y="68"/>
                  </a:cubicBezTo>
                  <a:cubicBezTo>
                    <a:pt x="926" y="68"/>
                    <a:pt x="892" y="68"/>
                    <a:pt x="883" y="77"/>
                  </a:cubicBezTo>
                  <a:cubicBezTo>
                    <a:pt x="866" y="94"/>
                    <a:pt x="849" y="103"/>
                    <a:pt x="832" y="94"/>
                  </a:cubicBezTo>
                  <a:cubicBezTo>
                    <a:pt x="815" y="94"/>
                    <a:pt x="806" y="94"/>
                    <a:pt x="780" y="77"/>
                  </a:cubicBezTo>
                  <a:cubicBezTo>
                    <a:pt x="746" y="60"/>
                    <a:pt x="746" y="51"/>
                    <a:pt x="712" y="43"/>
                  </a:cubicBezTo>
                  <a:cubicBezTo>
                    <a:pt x="686" y="34"/>
                    <a:pt x="643" y="0"/>
                    <a:pt x="626" y="9"/>
                  </a:cubicBezTo>
                  <a:cubicBezTo>
                    <a:pt x="601" y="9"/>
                    <a:pt x="583" y="0"/>
                    <a:pt x="566" y="9"/>
                  </a:cubicBezTo>
                  <a:cubicBezTo>
                    <a:pt x="557" y="17"/>
                    <a:pt x="498" y="51"/>
                    <a:pt x="463" y="86"/>
                  </a:cubicBezTo>
                  <a:cubicBezTo>
                    <a:pt x="472" y="128"/>
                    <a:pt x="498" y="154"/>
                    <a:pt x="506" y="205"/>
                  </a:cubicBezTo>
                  <a:cubicBezTo>
                    <a:pt x="515" y="249"/>
                    <a:pt x="506" y="274"/>
                    <a:pt x="498" y="283"/>
                  </a:cubicBezTo>
                  <a:cubicBezTo>
                    <a:pt x="489" y="291"/>
                    <a:pt x="446" y="394"/>
                    <a:pt x="412" y="377"/>
                  </a:cubicBezTo>
                  <a:cubicBezTo>
                    <a:pt x="386" y="351"/>
                    <a:pt x="361" y="343"/>
                    <a:pt x="352" y="326"/>
                  </a:cubicBezTo>
                  <a:cubicBezTo>
                    <a:pt x="343" y="317"/>
                    <a:pt x="326" y="300"/>
                    <a:pt x="309" y="283"/>
                  </a:cubicBezTo>
                  <a:cubicBezTo>
                    <a:pt x="300" y="274"/>
                    <a:pt x="206" y="197"/>
                    <a:pt x="206" y="180"/>
                  </a:cubicBezTo>
                  <a:cubicBezTo>
                    <a:pt x="198" y="171"/>
                    <a:pt x="198" y="163"/>
                    <a:pt x="189" y="171"/>
                  </a:cubicBezTo>
                  <a:cubicBezTo>
                    <a:pt x="172" y="188"/>
                    <a:pt x="112" y="223"/>
                    <a:pt x="86" y="231"/>
                  </a:cubicBezTo>
                  <a:cubicBezTo>
                    <a:pt x="60" y="240"/>
                    <a:pt x="69" y="283"/>
                    <a:pt x="52" y="308"/>
                  </a:cubicBezTo>
                  <a:cubicBezTo>
                    <a:pt x="43" y="334"/>
                    <a:pt x="60" y="377"/>
                    <a:pt x="43" y="403"/>
                  </a:cubicBezTo>
                  <a:cubicBezTo>
                    <a:pt x="26" y="429"/>
                    <a:pt x="0" y="463"/>
                    <a:pt x="9" y="489"/>
                  </a:cubicBezTo>
                  <a:cubicBezTo>
                    <a:pt x="9" y="523"/>
                    <a:pt x="9" y="634"/>
                    <a:pt x="26" y="669"/>
                  </a:cubicBezTo>
                  <a:cubicBezTo>
                    <a:pt x="26" y="686"/>
                    <a:pt x="35" y="694"/>
                    <a:pt x="35" y="703"/>
                  </a:cubicBezTo>
                  <a:cubicBezTo>
                    <a:pt x="60" y="694"/>
                    <a:pt x="77" y="677"/>
                    <a:pt x="77" y="660"/>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0" name="Freeform 81"/>
            <p:cNvSpPr>
              <a:spLocks noChangeArrowheads="1"/>
            </p:cNvSpPr>
            <p:nvPr/>
          </p:nvSpPr>
          <p:spPr bwMode="auto">
            <a:xfrm>
              <a:off x="3343275" y="2689225"/>
              <a:ext cx="188913" cy="107950"/>
            </a:xfrm>
            <a:custGeom>
              <a:avLst/>
              <a:gdLst>
                <a:gd name="T0" fmla="*/ 2147483647 w 523"/>
                <a:gd name="T1" fmla="*/ 2147483647 h 301"/>
                <a:gd name="T2" fmla="*/ 2147483647 w 523"/>
                <a:gd name="T3" fmla="*/ 2147483647 h 301"/>
                <a:gd name="T4" fmla="*/ 2147483647 w 523"/>
                <a:gd name="T5" fmla="*/ 2147483647 h 301"/>
                <a:gd name="T6" fmla="*/ 2147483647 w 523"/>
                <a:gd name="T7" fmla="*/ 2147483647 h 301"/>
                <a:gd name="T8" fmla="*/ 2147483647 w 523"/>
                <a:gd name="T9" fmla="*/ 2147483647 h 301"/>
                <a:gd name="T10" fmla="*/ 2147483647 w 523"/>
                <a:gd name="T11" fmla="*/ 2147483647 h 301"/>
                <a:gd name="T12" fmla="*/ 2147483647 w 523"/>
                <a:gd name="T13" fmla="*/ 2147483647 h 301"/>
                <a:gd name="T14" fmla="*/ 2147483647 w 523"/>
                <a:gd name="T15" fmla="*/ 0 h 301"/>
                <a:gd name="T16" fmla="*/ 2147483647 w 523"/>
                <a:gd name="T17" fmla="*/ 0 h 301"/>
                <a:gd name="T18" fmla="*/ 2147483647 w 523"/>
                <a:gd name="T19" fmla="*/ 2147483647 h 301"/>
                <a:gd name="T20" fmla="*/ 2147483647 w 523"/>
                <a:gd name="T21" fmla="*/ 2147483647 h 301"/>
                <a:gd name="T22" fmla="*/ 2147483647 w 523"/>
                <a:gd name="T23" fmla="*/ 2147483647 h 301"/>
                <a:gd name="T24" fmla="*/ 2147483647 w 523"/>
                <a:gd name="T25" fmla="*/ 2147483647 h 301"/>
                <a:gd name="T26" fmla="*/ 2147483647 w 523"/>
                <a:gd name="T27" fmla="*/ 2147483647 h 301"/>
                <a:gd name="T28" fmla="*/ 2147483647 w 523"/>
                <a:gd name="T29" fmla="*/ 2147483647 h 301"/>
                <a:gd name="T30" fmla="*/ 2147483647 w 523"/>
                <a:gd name="T31" fmla="*/ 2147483647 h 301"/>
                <a:gd name="T32" fmla="*/ 0 w 523"/>
                <a:gd name="T33" fmla="*/ 2147483647 h 301"/>
                <a:gd name="T34" fmla="*/ 2147483647 w 523"/>
                <a:gd name="T35" fmla="*/ 2147483647 h 301"/>
                <a:gd name="T36" fmla="*/ 2147483647 w 523"/>
                <a:gd name="T37" fmla="*/ 2147483647 h 301"/>
                <a:gd name="T38" fmla="*/ 2147483647 w 523"/>
                <a:gd name="T39" fmla="*/ 2147483647 h 3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3"/>
                <a:gd name="T61" fmla="*/ 0 h 301"/>
                <a:gd name="T62" fmla="*/ 523 w 523"/>
                <a:gd name="T63" fmla="*/ 301 h 3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3" h="301">
                  <a:moveTo>
                    <a:pt x="497" y="223"/>
                  </a:moveTo>
                  <a:lnTo>
                    <a:pt x="497" y="223"/>
                  </a:lnTo>
                  <a:cubicBezTo>
                    <a:pt x="480" y="206"/>
                    <a:pt x="488" y="163"/>
                    <a:pt x="488" y="146"/>
                  </a:cubicBezTo>
                  <a:cubicBezTo>
                    <a:pt x="488" y="120"/>
                    <a:pt x="488" y="120"/>
                    <a:pt x="505" y="94"/>
                  </a:cubicBezTo>
                  <a:cubicBezTo>
                    <a:pt x="522" y="69"/>
                    <a:pt x="454" y="43"/>
                    <a:pt x="437" y="26"/>
                  </a:cubicBezTo>
                  <a:cubicBezTo>
                    <a:pt x="428" y="17"/>
                    <a:pt x="419" y="26"/>
                    <a:pt x="394" y="52"/>
                  </a:cubicBezTo>
                  <a:cubicBezTo>
                    <a:pt x="368" y="69"/>
                    <a:pt x="360" y="52"/>
                    <a:pt x="325" y="43"/>
                  </a:cubicBezTo>
                  <a:cubicBezTo>
                    <a:pt x="282" y="43"/>
                    <a:pt x="248" y="17"/>
                    <a:pt x="223" y="0"/>
                  </a:cubicBezTo>
                  <a:cubicBezTo>
                    <a:pt x="223" y="0"/>
                    <a:pt x="214" y="0"/>
                    <a:pt x="205" y="0"/>
                  </a:cubicBezTo>
                  <a:cubicBezTo>
                    <a:pt x="205" y="9"/>
                    <a:pt x="205" y="26"/>
                    <a:pt x="205" y="34"/>
                  </a:cubicBezTo>
                  <a:cubicBezTo>
                    <a:pt x="205" y="60"/>
                    <a:pt x="231" y="120"/>
                    <a:pt x="214" y="120"/>
                  </a:cubicBezTo>
                  <a:cubicBezTo>
                    <a:pt x="205" y="120"/>
                    <a:pt x="162" y="129"/>
                    <a:pt x="137" y="129"/>
                  </a:cubicBezTo>
                  <a:cubicBezTo>
                    <a:pt x="120" y="129"/>
                    <a:pt x="111" y="120"/>
                    <a:pt x="94" y="120"/>
                  </a:cubicBezTo>
                  <a:cubicBezTo>
                    <a:pt x="77" y="129"/>
                    <a:pt x="17" y="129"/>
                    <a:pt x="8" y="137"/>
                  </a:cubicBezTo>
                  <a:cubicBezTo>
                    <a:pt x="0" y="146"/>
                    <a:pt x="8" y="214"/>
                    <a:pt x="25" y="214"/>
                  </a:cubicBezTo>
                  <a:cubicBezTo>
                    <a:pt x="51" y="214"/>
                    <a:pt x="85" y="197"/>
                    <a:pt x="77" y="214"/>
                  </a:cubicBezTo>
                  <a:cubicBezTo>
                    <a:pt x="68" y="232"/>
                    <a:pt x="17" y="274"/>
                    <a:pt x="0" y="300"/>
                  </a:cubicBezTo>
                  <a:cubicBezTo>
                    <a:pt x="231" y="300"/>
                    <a:pt x="428" y="257"/>
                    <a:pt x="454" y="249"/>
                  </a:cubicBezTo>
                  <a:cubicBezTo>
                    <a:pt x="471" y="249"/>
                    <a:pt x="497" y="240"/>
                    <a:pt x="505" y="232"/>
                  </a:cubicBezTo>
                  <a:cubicBezTo>
                    <a:pt x="505" y="223"/>
                    <a:pt x="505" y="223"/>
                    <a:pt x="497" y="22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1" name="Freeform 82"/>
            <p:cNvSpPr>
              <a:spLocks noChangeArrowheads="1"/>
            </p:cNvSpPr>
            <p:nvPr/>
          </p:nvSpPr>
          <p:spPr bwMode="auto">
            <a:xfrm>
              <a:off x="3003550" y="2760663"/>
              <a:ext cx="688975" cy="590550"/>
            </a:xfrm>
            <a:custGeom>
              <a:avLst/>
              <a:gdLst>
                <a:gd name="T0" fmla="*/ 2147483647 w 1912"/>
                <a:gd name="T1" fmla="*/ 2147483647 h 1639"/>
                <a:gd name="T2" fmla="*/ 2147483647 w 1912"/>
                <a:gd name="T3" fmla="*/ 2147483647 h 1639"/>
                <a:gd name="T4" fmla="*/ 2147483647 w 1912"/>
                <a:gd name="T5" fmla="*/ 2147483647 h 1639"/>
                <a:gd name="T6" fmla="*/ 2147483647 w 1912"/>
                <a:gd name="T7" fmla="*/ 2147483647 h 1639"/>
                <a:gd name="T8" fmla="*/ 2147483647 w 1912"/>
                <a:gd name="T9" fmla="*/ 2147483647 h 1639"/>
                <a:gd name="T10" fmla="*/ 2147483647 w 1912"/>
                <a:gd name="T11" fmla="*/ 2147483647 h 1639"/>
                <a:gd name="T12" fmla="*/ 2147483647 w 1912"/>
                <a:gd name="T13" fmla="*/ 2147483647 h 1639"/>
                <a:gd name="T14" fmla="*/ 2147483647 w 1912"/>
                <a:gd name="T15" fmla="*/ 2147483647 h 1639"/>
                <a:gd name="T16" fmla="*/ 2147483647 w 1912"/>
                <a:gd name="T17" fmla="*/ 2147483647 h 1639"/>
                <a:gd name="T18" fmla="*/ 2147483647 w 1912"/>
                <a:gd name="T19" fmla="*/ 2147483647 h 1639"/>
                <a:gd name="T20" fmla="*/ 2147483647 w 1912"/>
                <a:gd name="T21" fmla="*/ 2147483647 h 1639"/>
                <a:gd name="T22" fmla="*/ 2147483647 w 1912"/>
                <a:gd name="T23" fmla="*/ 2147483647 h 1639"/>
                <a:gd name="T24" fmla="*/ 2147483647 w 1912"/>
                <a:gd name="T25" fmla="*/ 2147483647 h 1639"/>
                <a:gd name="T26" fmla="*/ 2147483647 w 1912"/>
                <a:gd name="T27" fmla="*/ 2147483647 h 1639"/>
                <a:gd name="T28" fmla="*/ 2147483647 w 1912"/>
                <a:gd name="T29" fmla="*/ 2147483647 h 1639"/>
                <a:gd name="T30" fmla="*/ 2147483647 w 1912"/>
                <a:gd name="T31" fmla="*/ 2147483647 h 1639"/>
                <a:gd name="T32" fmla="*/ 2147483647 w 1912"/>
                <a:gd name="T33" fmla="*/ 2147483647 h 1639"/>
                <a:gd name="T34" fmla="*/ 2147483647 w 1912"/>
                <a:gd name="T35" fmla="*/ 2147483647 h 1639"/>
                <a:gd name="T36" fmla="*/ 2147483647 w 1912"/>
                <a:gd name="T37" fmla="*/ 2147483647 h 1639"/>
                <a:gd name="T38" fmla="*/ 2147483647 w 1912"/>
                <a:gd name="T39" fmla="*/ 2147483647 h 1639"/>
                <a:gd name="T40" fmla="*/ 2147483647 w 1912"/>
                <a:gd name="T41" fmla="*/ 2147483647 h 1639"/>
                <a:gd name="T42" fmla="*/ 2147483647 w 1912"/>
                <a:gd name="T43" fmla="*/ 2147483647 h 1639"/>
                <a:gd name="T44" fmla="*/ 2147483647 w 1912"/>
                <a:gd name="T45" fmla="*/ 2147483647 h 1639"/>
                <a:gd name="T46" fmla="*/ 2147483647 w 1912"/>
                <a:gd name="T47" fmla="*/ 2147483647 h 1639"/>
                <a:gd name="T48" fmla="*/ 2147483647 w 1912"/>
                <a:gd name="T49" fmla="*/ 2147483647 h 1639"/>
                <a:gd name="T50" fmla="*/ 2147483647 w 1912"/>
                <a:gd name="T51" fmla="*/ 2147483647 h 1639"/>
                <a:gd name="T52" fmla="*/ 2147483647 w 1912"/>
                <a:gd name="T53" fmla="*/ 2147483647 h 1639"/>
                <a:gd name="T54" fmla="*/ 2147483647 w 1912"/>
                <a:gd name="T55" fmla="*/ 2147483647 h 1639"/>
                <a:gd name="T56" fmla="*/ 2147483647 w 1912"/>
                <a:gd name="T57" fmla="*/ 2147483647 h 1639"/>
                <a:gd name="T58" fmla="*/ 2147483647 w 1912"/>
                <a:gd name="T59" fmla="*/ 2147483647 h 1639"/>
                <a:gd name="T60" fmla="*/ 2147483647 w 1912"/>
                <a:gd name="T61" fmla="*/ 2147483647 h 1639"/>
                <a:gd name="T62" fmla="*/ 2147483647 w 1912"/>
                <a:gd name="T63" fmla="*/ 2147483647 h 1639"/>
                <a:gd name="T64" fmla="*/ 2147483647 w 1912"/>
                <a:gd name="T65" fmla="*/ 2147483647 h 1639"/>
                <a:gd name="T66" fmla="*/ 2147483647 w 1912"/>
                <a:gd name="T67" fmla="*/ 2147483647 h 1639"/>
                <a:gd name="T68" fmla="*/ 2147483647 w 1912"/>
                <a:gd name="T69" fmla="*/ 2147483647 h 1639"/>
                <a:gd name="T70" fmla="*/ 2147483647 w 1912"/>
                <a:gd name="T71" fmla="*/ 2147483647 h 1639"/>
                <a:gd name="T72" fmla="*/ 2147483647 w 1912"/>
                <a:gd name="T73" fmla="*/ 2147483647 h 1639"/>
                <a:gd name="T74" fmla="*/ 2147483647 w 1912"/>
                <a:gd name="T75" fmla="*/ 2147483647 h 1639"/>
                <a:gd name="T76" fmla="*/ 2147483647 w 1912"/>
                <a:gd name="T77" fmla="*/ 2147483647 h 1639"/>
                <a:gd name="T78" fmla="*/ 0 w 1912"/>
                <a:gd name="T79" fmla="*/ 2147483647 h 1639"/>
                <a:gd name="T80" fmla="*/ 2147483647 w 1912"/>
                <a:gd name="T81" fmla="*/ 2147483647 h 1639"/>
                <a:gd name="T82" fmla="*/ 2147483647 w 1912"/>
                <a:gd name="T83" fmla="*/ 2147483647 h 1639"/>
                <a:gd name="T84" fmla="*/ 2147483647 w 1912"/>
                <a:gd name="T85" fmla="*/ 2147483647 h 1639"/>
                <a:gd name="T86" fmla="*/ 2147483647 w 1912"/>
                <a:gd name="T87" fmla="*/ 2147483647 h 1639"/>
                <a:gd name="T88" fmla="*/ 2147483647 w 1912"/>
                <a:gd name="T89" fmla="*/ 2147483647 h 1639"/>
                <a:gd name="T90" fmla="*/ 2147483647 w 1912"/>
                <a:gd name="T91" fmla="*/ 2147483647 h 163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912"/>
                <a:gd name="T139" fmla="*/ 0 h 1639"/>
                <a:gd name="T140" fmla="*/ 1912 w 1912"/>
                <a:gd name="T141" fmla="*/ 1639 h 163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912" h="1639">
                  <a:moveTo>
                    <a:pt x="197" y="1192"/>
                  </a:moveTo>
                  <a:lnTo>
                    <a:pt x="197" y="1192"/>
                  </a:lnTo>
                  <a:cubicBezTo>
                    <a:pt x="214" y="1192"/>
                    <a:pt x="240" y="1200"/>
                    <a:pt x="248" y="1217"/>
                  </a:cubicBezTo>
                  <a:cubicBezTo>
                    <a:pt x="257" y="1235"/>
                    <a:pt x="300" y="1252"/>
                    <a:pt x="334" y="1269"/>
                  </a:cubicBezTo>
                  <a:cubicBezTo>
                    <a:pt x="368" y="1286"/>
                    <a:pt x="385" y="1286"/>
                    <a:pt x="402" y="1286"/>
                  </a:cubicBezTo>
                  <a:cubicBezTo>
                    <a:pt x="420" y="1286"/>
                    <a:pt x="488" y="1286"/>
                    <a:pt x="471" y="1312"/>
                  </a:cubicBezTo>
                  <a:cubicBezTo>
                    <a:pt x="454" y="1329"/>
                    <a:pt x="402" y="1329"/>
                    <a:pt x="428" y="1346"/>
                  </a:cubicBezTo>
                  <a:cubicBezTo>
                    <a:pt x="454" y="1363"/>
                    <a:pt x="488" y="1406"/>
                    <a:pt x="497" y="1415"/>
                  </a:cubicBezTo>
                  <a:cubicBezTo>
                    <a:pt x="505" y="1415"/>
                    <a:pt x="505" y="1440"/>
                    <a:pt x="523" y="1432"/>
                  </a:cubicBezTo>
                  <a:cubicBezTo>
                    <a:pt x="540" y="1423"/>
                    <a:pt x="600" y="1389"/>
                    <a:pt x="583" y="1372"/>
                  </a:cubicBezTo>
                  <a:cubicBezTo>
                    <a:pt x="574" y="1355"/>
                    <a:pt x="548" y="1346"/>
                    <a:pt x="565" y="1338"/>
                  </a:cubicBezTo>
                  <a:cubicBezTo>
                    <a:pt x="574" y="1329"/>
                    <a:pt x="574" y="1329"/>
                    <a:pt x="608" y="1346"/>
                  </a:cubicBezTo>
                  <a:cubicBezTo>
                    <a:pt x="642" y="1355"/>
                    <a:pt x="694" y="1380"/>
                    <a:pt x="711" y="1372"/>
                  </a:cubicBezTo>
                  <a:cubicBezTo>
                    <a:pt x="720" y="1363"/>
                    <a:pt x="737" y="1363"/>
                    <a:pt x="728" y="1380"/>
                  </a:cubicBezTo>
                  <a:cubicBezTo>
                    <a:pt x="720" y="1398"/>
                    <a:pt x="711" y="1415"/>
                    <a:pt x="728" y="1415"/>
                  </a:cubicBezTo>
                  <a:cubicBezTo>
                    <a:pt x="737" y="1415"/>
                    <a:pt x="737" y="1440"/>
                    <a:pt x="754" y="1432"/>
                  </a:cubicBezTo>
                  <a:cubicBezTo>
                    <a:pt x="771" y="1423"/>
                    <a:pt x="780" y="1415"/>
                    <a:pt x="805" y="1423"/>
                  </a:cubicBezTo>
                  <a:cubicBezTo>
                    <a:pt x="831" y="1432"/>
                    <a:pt x="908" y="1466"/>
                    <a:pt x="908" y="1483"/>
                  </a:cubicBezTo>
                  <a:cubicBezTo>
                    <a:pt x="917" y="1500"/>
                    <a:pt x="917" y="1517"/>
                    <a:pt x="943" y="1517"/>
                  </a:cubicBezTo>
                  <a:cubicBezTo>
                    <a:pt x="951" y="1526"/>
                    <a:pt x="951" y="1535"/>
                    <a:pt x="951" y="1543"/>
                  </a:cubicBezTo>
                  <a:cubicBezTo>
                    <a:pt x="977" y="1552"/>
                    <a:pt x="985" y="1578"/>
                    <a:pt x="994" y="1586"/>
                  </a:cubicBezTo>
                  <a:cubicBezTo>
                    <a:pt x="1011" y="1595"/>
                    <a:pt x="1045" y="1543"/>
                    <a:pt x="1054" y="1526"/>
                  </a:cubicBezTo>
                  <a:cubicBezTo>
                    <a:pt x="1071" y="1509"/>
                    <a:pt x="1080" y="1517"/>
                    <a:pt x="1088" y="1535"/>
                  </a:cubicBezTo>
                  <a:cubicBezTo>
                    <a:pt x="1097" y="1543"/>
                    <a:pt x="1114" y="1552"/>
                    <a:pt x="1131" y="1569"/>
                  </a:cubicBezTo>
                  <a:cubicBezTo>
                    <a:pt x="1157" y="1586"/>
                    <a:pt x="1157" y="1595"/>
                    <a:pt x="1157" y="1612"/>
                  </a:cubicBezTo>
                  <a:cubicBezTo>
                    <a:pt x="1166" y="1638"/>
                    <a:pt x="1174" y="1612"/>
                    <a:pt x="1191" y="1620"/>
                  </a:cubicBezTo>
                  <a:cubicBezTo>
                    <a:pt x="1200" y="1620"/>
                    <a:pt x="1217" y="1595"/>
                    <a:pt x="1217" y="1586"/>
                  </a:cubicBezTo>
                  <a:cubicBezTo>
                    <a:pt x="1225" y="1578"/>
                    <a:pt x="1277" y="1543"/>
                    <a:pt x="1303" y="1543"/>
                  </a:cubicBezTo>
                  <a:cubicBezTo>
                    <a:pt x="1320" y="1535"/>
                    <a:pt x="1354" y="1560"/>
                    <a:pt x="1371" y="1552"/>
                  </a:cubicBezTo>
                  <a:cubicBezTo>
                    <a:pt x="1380" y="1543"/>
                    <a:pt x="1388" y="1526"/>
                    <a:pt x="1414" y="1517"/>
                  </a:cubicBezTo>
                  <a:cubicBezTo>
                    <a:pt x="1431" y="1509"/>
                    <a:pt x="1474" y="1526"/>
                    <a:pt x="1508" y="1526"/>
                  </a:cubicBezTo>
                  <a:cubicBezTo>
                    <a:pt x="1543" y="1526"/>
                    <a:pt x="1560" y="1543"/>
                    <a:pt x="1585" y="1560"/>
                  </a:cubicBezTo>
                  <a:cubicBezTo>
                    <a:pt x="1611" y="1578"/>
                    <a:pt x="1663" y="1586"/>
                    <a:pt x="1688" y="1586"/>
                  </a:cubicBezTo>
                  <a:cubicBezTo>
                    <a:pt x="1714" y="1586"/>
                    <a:pt x="1723" y="1586"/>
                    <a:pt x="1740" y="1586"/>
                  </a:cubicBezTo>
                  <a:cubicBezTo>
                    <a:pt x="1748" y="1586"/>
                    <a:pt x="1731" y="1552"/>
                    <a:pt x="1705" y="1535"/>
                  </a:cubicBezTo>
                  <a:cubicBezTo>
                    <a:pt x="1688" y="1509"/>
                    <a:pt x="1688" y="1449"/>
                    <a:pt x="1697" y="1432"/>
                  </a:cubicBezTo>
                  <a:cubicBezTo>
                    <a:pt x="1697" y="1415"/>
                    <a:pt x="1731" y="1355"/>
                    <a:pt x="1731" y="1329"/>
                  </a:cubicBezTo>
                  <a:cubicBezTo>
                    <a:pt x="1740" y="1303"/>
                    <a:pt x="1800" y="1217"/>
                    <a:pt x="1817" y="1200"/>
                  </a:cubicBezTo>
                  <a:cubicBezTo>
                    <a:pt x="1825" y="1183"/>
                    <a:pt x="1851" y="1166"/>
                    <a:pt x="1868" y="1166"/>
                  </a:cubicBezTo>
                  <a:cubicBezTo>
                    <a:pt x="1877" y="1166"/>
                    <a:pt x="1886" y="1123"/>
                    <a:pt x="1903" y="1097"/>
                  </a:cubicBezTo>
                  <a:cubicBezTo>
                    <a:pt x="1911" y="1072"/>
                    <a:pt x="1860" y="1055"/>
                    <a:pt x="1851" y="1046"/>
                  </a:cubicBezTo>
                  <a:cubicBezTo>
                    <a:pt x="1851" y="1029"/>
                    <a:pt x="1868" y="1020"/>
                    <a:pt x="1877" y="1020"/>
                  </a:cubicBezTo>
                  <a:cubicBezTo>
                    <a:pt x="1894" y="1020"/>
                    <a:pt x="1851" y="1003"/>
                    <a:pt x="1842" y="986"/>
                  </a:cubicBezTo>
                  <a:cubicBezTo>
                    <a:pt x="1825" y="960"/>
                    <a:pt x="1791" y="926"/>
                    <a:pt x="1774" y="883"/>
                  </a:cubicBezTo>
                  <a:cubicBezTo>
                    <a:pt x="1748" y="849"/>
                    <a:pt x="1748" y="832"/>
                    <a:pt x="1740" y="815"/>
                  </a:cubicBezTo>
                  <a:cubicBezTo>
                    <a:pt x="1740" y="806"/>
                    <a:pt x="1731" y="703"/>
                    <a:pt x="1731" y="678"/>
                  </a:cubicBezTo>
                  <a:cubicBezTo>
                    <a:pt x="1723" y="652"/>
                    <a:pt x="1663" y="643"/>
                    <a:pt x="1646" y="634"/>
                  </a:cubicBezTo>
                  <a:cubicBezTo>
                    <a:pt x="1620" y="626"/>
                    <a:pt x="1654" y="566"/>
                    <a:pt x="1671" y="549"/>
                  </a:cubicBezTo>
                  <a:cubicBezTo>
                    <a:pt x="1680" y="540"/>
                    <a:pt x="1731" y="497"/>
                    <a:pt x="1740" y="489"/>
                  </a:cubicBezTo>
                  <a:cubicBezTo>
                    <a:pt x="1740" y="480"/>
                    <a:pt x="1731" y="446"/>
                    <a:pt x="1731" y="429"/>
                  </a:cubicBezTo>
                  <a:cubicBezTo>
                    <a:pt x="1723" y="412"/>
                    <a:pt x="1714" y="377"/>
                    <a:pt x="1714" y="360"/>
                  </a:cubicBezTo>
                  <a:cubicBezTo>
                    <a:pt x="1714" y="343"/>
                    <a:pt x="1671" y="292"/>
                    <a:pt x="1637" y="240"/>
                  </a:cubicBezTo>
                  <a:cubicBezTo>
                    <a:pt x="1602" y="189"/>
                    <a:pt x="1602" y="129"/>
                    <a:pt x="1594" y="95"/>
                  </a:cubicBezTo>
                  <a:cubicBezTo>
                    <a:pt x="1585" y="60"/>
                    <a:pt x="1551" y="69"/>
                    <a:pt x="1525" y="52"/>
                  </a:cubicBezTo>
                  <a:cubicBezTo>
                    <a:pt x="1508" y="35"/>
                    <a:pt x="1491" y="9"/>
                    <a:pt x="1474" y="26"/>
                  </a:cubicBezTo>
                  <a:cubicBezTo>
                    <a:pt x="1465" y="35"/>
                    <a:pt x="1457" y="35"/>
                    <a:pt x="1448" y="35"/>
                  </a:cubicBezTo>
                  <a:cubicBezTo>
                    <a:pt x="1440" y="43"/>
                    <a:pt x="1414" y="52"/>
                    <a:pt x="1397" y="52"/>
                  </a:cubicBezTo>
                  <a:cubicBezTo>
                    <a:pt x="1371" y="60"/>
                    <a:pt x="1174" y="103"/>
                    <a:pt x="943" y="103"/>
                  </a:cubicBezTo>
                  <a:cubicBezTo>
                    <a:pt x="917" y="120"/>
                    <a:pt x="882" y="163"/>
                    <a:pt x="882" y="163"/>
                  </a:cubicBezTo>
                  <a:cubicBezTo>
                    <a:pt x="874" y="163"/>
                    <a:pt x="865" y="154"/>
                    <a:pt x="848" y="146"/>
                  </a:cubicBezTo>
                  <a:cubicBezTo>
                    <a:pt x="840" y="137"/>
                    <a:pt x="840" y="137"/>
                    <a:pt x="823" y="146"/>
                  </a:cubicBezTo>
                  <a:cubicBezTo>
                    <a:pt x="805" y="146"/>
                    <a:pt x="763" y="163"/>
                    <a:pt x="754" y="146"/>
                  </a:cubicBezTo>
                  <a:cubicBezTo>
                    <a:pt x="737" y="129"/>
                    <a:pt x="728" y="120"/>
                    <a:pt x="728" y="112"/>
                  </a:cubicBezTo>
                  <a:cubicBezTo>
                    <a:pt x="728" y="103"/>
                    <a:pt x="711" y="43"/>
                    <a:pt x="694" y="35"/>
                  </a:cubicBezTo>
                  <a:cubicBezTo>
                    <a:pt x="703" y="35"/>
                    <a:pt x="737" y="43"/>
                    <a:pt x="754" y="60"/>
                  </a:cubicBezTo>
                  <a:cubicBezTo>
                    <a:pt x="771" y="77"/>
                    <a:pt x="771" y="60"/>
                    <a:pt x="728" y="26"/>
                  </a:cubicBezTo>
                  <a:cubicBezTo>
                    <a:pt x="677" y="0"/>
                    <a:pt x="660" y="9"/>
                    <a:pt x="634" y="17"/>
                  </a:cubicBezTo>
                  <a:cubicBezTo>
                    <a:pt x="608" y="26"/>
                    <a:pt x="497" y="60"/>
                    <a:pt x="471" y="77"/>
                  </a:cubicBezTo>
                  <a:cubicBezTo>
                    <a:pt x="454" y="95"/>
                    <a:pt x="446" y="112"/>
                    <a:pt x="411" y="120"/>
                  </a:cubicBezTo>
                  <a:cubicBezTo>
                    <a:pt x="385" y="129"/>
                    <a:pt x="360" y="137"/>
                    <a:pt x="351" y="163"/>
                  </a:cubicBezTo>
                  <a:cubicBezTo>
                    <a:pt x="343" y="189"/>
                    <a:pt x="343" y="197"/>
                    <a:pt x="291" y="223"/>
                  </a:cubicBezTo>
                  <a:cubicBezTo>
                    <a:pt x="240" y="240"/>
                    <a:pt x="111" y="300"/>
                    <a:pt x="85" y="317"/>
                  </a:cubicBezTo>
                  <a:cubicBezTo>
                    <a:pt x="60" y="326"/>
                    <a:pt x="43" y="352"/>
                    <a:pt x="25" y="352"/>
                  </a:cubicBezTo>
                  <a:cubicBezTo>
                    <a:pt x="17" y="352"/>
                    <a:pt x="17" y="352"/>
                    <a:pt x="8" y="352"/>
                  </a:cubicBezTo>
                  <a:cubicBezTo>
                    <a:pt x="8" y="377"/>
                    <a:pt x="8" y="403"/>
                    <a:pt x="8" y="412"/>
                  </a:cubicBezTo>
                  <a:cubicBezTo>
                    <a:pt x="8" y="438"/>
                    <a:pt x="34" y="515"/>
                    <a:pt x="34" y="532"/>
                  </a:cubicBezTo>
                  <a:cubicBezTo>
                    <a:pt x="34" y="540"/>
                    <a:pt x="51" y="575"/>
                    <a:pt x="34" y="592"/>
                  </a:cubicBezTo>
                  <a:cubicBezTo>
                    <a:pt x="17" y="609"/>
                    <a:pt x="0" y="617"/>
                    <a:pt x="0" y="634"/>
                  </a:cubicBezTo>
                  <a:cubicBezTo>
                    <a:pt x="0" y="652"/>
                    <a:pt x="34" y="669"/>
                    <a:pt x="43" y="686"/>
                  </a:cubicBezTo>
                  <a:cubicBezTo>
                    <a:pt x="60" y="703"/>
                    <a:pt x="94" y="720"/>
                    <a:pt x="94" y="746"/>
                  </a:cubicBezTo>
                  <a:cubicBezTo>
                    <a:pt x="85" y="772"/>
                    <a:pt x="68" y="780"/>
                    <a:pt x="77" y="815"/>
                  </a:cubicBezTo>
                  <a:cubicBezTo>
                    <a:pt x="94" y="857"/>
                    <a:pt x="103" y="849"/>
                    <a:pt x="111" y="874"/>
                  </a:cubicBezTo>
                  <a:cubicBezTo>
                    <a:pt x="120" y="900"/>
                    <a:pt x="120" y="935"/>
                    <a:pt x="111" y="943"/>
                  </a:cubicBezTo>
                  <a:cubicBezTo>
                    <a:pt x="111" y="960"/>
                    <a:pt x="111" y="969"/>
                    <a:pt x="120" y="986"/>
                  </a:cubicBezTo>
                  <a:cubicBezTo>
                    <a:pt x="120" y="995"/>
                    <a:pt x="128" y="1003"/>
                    <a:pt x="128" y="1020"/>
                  </a:cubicBezTo>
                  <a:cubicBezTo>
                    <a:pt x="128" y="1029"/>
                    <a:pt x="137" y="1063"/>
                    <a:pt x="154" y="1063"/>
                  </a:cubicBezTo>
                  <a:cubicBezTo>
                    <a:pt x="171" y="1063"/>
                    <a:pt x="171" y="1046"/>
                    <a:pt x="180" y="1080"/>
                  </a:cubicBezTo>
                  <a:cubicBezTo>
                    <a:pt x="180" y="1106"/>
                    <a:pt x="188" y="1140"/>
                    <a:pt x="188" y="1158"/>
                  </a:cubicBezTo>
                  <a:cubicBezTo>
                    <a:pt x="188" y="1175"/>
                    <a:pt x="180" y="1183"/>
                    <a:pt x="188" y="1192"/>
                  </a:cubicBezTo>
                  <a:cubicBezTo>
                    <a:pt x="188" y="1192"/>
                    <a:pt x="188" y="1192"/>
                    <a:pt x="197" y="1192"/>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2" name="Freeform 83"/>
            <p:cNvSpPr>
              <a:spLocks noChangeArrowheads="1"/>
            </p:cNvSpPr>
            <p:nvPr/>
          </p:nvSpPr>
          <p:spPr bwMode="auto">
            <a:xfrm>
              <a:off x="2701925" y="3602038"/>
              <a:ext cx="19050" cy="19050"/>
            </a:xfrm>
            <a:custGeom>
              <a:avLst/>
              <a:gdLst>
                <a:gd name="T0" fmla="*/ 2147483647 w 52"/>
                <a:gd name="T1" fmla="*/ 2147483647 h 53"/>
                <a:gd name="T2" fmla="*/ 2147483647 w 52"/>
                <a:gd name="T3" fmla="*/ 2147483647 h 53"/>
                <a:gd name="T4" fmla="*/ 0 w 52"/>
                <a:gd name="T5" fmla="*/ 0 h 53"/>
                <a:gd name="T6" fmla="*/ 2147483647 w 52"/>
                <a:gd name="T7" fmla="*/ 2147483647 h 53"/>
                <a:gd name="T8" fmla="*/ 2147483647 w 52"/>
                <a:gd name="T9" fmla="*/ 2147483647 h 53"/>
                <a:gd name="T10" fmla="*/ 2147483647 w 52"/>
                <a:gd name="T11" fmla="*/ 2147483647 h 53"/>
                <a:gd name="T12" fmla="*/ 0 60000 65536"/>
                <a:gd name="T13" fmla="*/ 0 60000 65536"/>
                <a:gd name="T14" fmla="*/ 0 60000 65536"/>
                <a:gd name="T15" fmla="*/ 0 60000 65536"/>
                <a:gd name="T16" fmla="*/ 0 60000 65536"/>
                <a:gd name="T17" fmla="*/ 0 60000 65536"/>
                <a:gd name="T18" fmla="*/ 0 w 52"/>
                <a:gd name="T19" fmla="*/ 0 h 53"/>
                <a:gd name="T20" fmla="*/ 52 w 5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52" h="53">
                  <a:moveTo>
                    <a:pt x="42" y="26"/>
                  </a:moveTo>
                  <a:lnTo>
                    <a:pt x="42" y="26"/>
                  </a:lnTo>
                  <a:cubicBezTo>
                    <a:pt x="34" y="9"/>
                    <a:pt x="17" y="0"/>
                    <a:pt x="0" y="0"/>
                  </a:cubicBezTo>
                  <a:cubicBezTo>
                    <a:pt x="8" y="18"/>
                    <a:pt x="17" y="43"/>
                    <a:pt x="25" y="43"/>
                  </a:cubicBezTo>
                  <a:cubicBezTo>
                    <a:pt x="25" y="52"/>
                    <a:pt x="34" y="52"/>
                    <a:pt x="42" y="52"/>
                  </a:cubicBezTo>
                  <a:cubicBezTo>
                    <a:pt x="42" y="43"/>
                    <a:pt x="51" y="35"/>
                    <a:pt x="42" y="2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3" name="Freeform 84"/>
            <p:cNvSpPr>
              <a:spLocks noChangeArrowheads="1"/>
            </p:cNvSpPr>
            <p:nvPr/>
          </p:nvSpPr>
          <p:spPr bwMode="auto">
            <a:xfrm>
              <a:off x="2436813" y="3549650"/>
              <a:ext cx="342900" cy="196850"/>
            </a:xfrm>
            <a:custGeom>
              <a:avLst/>
              <a:gdLst>
                <a:gd name="T0" fmla="*/ 2147483647 w 951"/>
                <a:gd name="T1" fmla="*/ 2147483647 h 549"/>
                <a:gd name="T2" fmla="*/ 2147483647 w 951"/>
                <a:gd name="T3" fmla="*/ 2147483647 h 549"/>
                <a:gd name="T4" fmla="*/ 2147483647 w 951"/>
                <a:gd name="T5" fmla="*/ 2147483647 h 549"/>
                <a:gd name="T6" fmla="*/ 2147483647 w 951"/>
                <a:gd name="T7" fmla="*/ 2147483647 h 549"/>
                <a:gd name="T8" fmla="*/ 2147483647 w 951"/>
                <a:gd name="T9" fmla="*/ 2147483647 h 549"/>
                <a:gd name="T10" fmla="*/ 2147483647 w 951"/>
                <a:gd name="T11" fmla="*/ 2147483647 h 549"/>
                <a:gd name="T12" fmla="*/ 2147483647 w 951"/>
                <a:gd name="T13" fmla="*/ 2147483647 h 549"/>
                <a:gd name="T14" fmla="*/ 2147483647 w 951"/>
                <a:gd name="T15" fmla="*/ 2147483647 h 549"/>
                <a:gd name="T16" fmla="*/ 2147483647 w 951"/>
                <a:gd name="T17" fmla="*/ 2147483647 h 549"/>
                <a:gd name="T18" fmla="*/ 2147483647 w 951"/>
                <a:gd name="T19" fmla="*/ 0 h 549"/>
                <a:gd name="T20" fmla="*/ 2147483647 w 951"/>
                <a:gd name="T21" fmla="*/ 2147483647 h 549"/>
                <a:gd name="T22" fmla="*/ 2147483647 w 951"/>
                <a:gd name="T23" fmla="*/ 2147483647 h 549"/>
                <a:gd name="T24" fmla="*/ 2147483647 w 951"/>
                <a:gd name="T25" fmla="*/ 2147483647 h 549"/>
                <a:gd name="T26" fmla="*/ 2147483647 w 951"/>
                <a:gd name="T27" fmla="*/ 2147483647 h 549"/>
                <a:gd name="T28" fmla="*/ 2147483647 w 951"/>
                <a:gd name="T29" fmla="*/ 2147483647 h 549"/>
                <a:gd name="T30" fmla="*/ 2147483647 w 951"/>
                <a:gd name="T31" fmla="*/ 2147483647 h 549"/>
                <a:gd name="T32" fmla="*/ 2147483647 w 951"/>
                <a:gd name="T33" fmla="*/ 2147483647 h 549"/>
                <a:gd name="T34" fmla="*/ 2147483647 w 951"/>
                <a:gd name="T35" fmla="*/ 2147483647 h 549"/>
                <a:gd name="T36" fmla="*/ 2147483647 w 951"/>
                <a:gd name="T37" fmla="*/ 2147483647 h 549"/>
                <a:gd name="T38" fmla="*/ 2147483647 w 951"/>
                <a:gd name="T39" fmla="*/ 2147483647 h 549"/>
                <a:gd name="T40" fmla="*/ 2147483647 w 951"/>
                <a:gd name="T41" fmla="*/ 2147483647 h 549"/>
                <a:gd name="T42" fmla="*/ 2147483647 w 951"/>
                <a:gd name="T43" fmla="*/ 2147483647 h 549"/>
                <a:gd name="T44" fmla="*/ 2147483647 w 951"/>
                <a:gd name="T45" fmla="*/ 2147483647 h 549"/>
                <a:gd name="T46" fmla="*/ 2147483647 w 951"/>
                <a:gd name="T47" fmla="*/ 2147483647 h 549"/>
                <a:gd name="T48" fmla="*/ 2147483647 w 951"/>
                <a:gd name="T49" fmla="*/ 2147483647 h 549"/>
                <a:gd name="T50" fmla="*/ 2147483647 w 951"/>
                <a:gd name="T51" fmla="*/ 2147483647 h 549"/>
                <a:gd name="T52" fmla="*/ 2147483647 w 951"/>
                <a:gd name="T53" fmla="*/ 2147483647 h 549"/>
                <a:gd name="T54" fmla="*/ 2147483647 w 951"/>
                <a:gd name="T55" fmla="*/ 2147483647 h 549"/>
                <a:gd name="T56" fmla="*/ 2147483647 w 951"/>
                <a:gd name="T57" fmla="*/ 2147483647 h 549"/>
                <a:gd name="T58" fmla="*/ 2147483647 w 951"/>
                <a:gd name="T59" fmla="*/ 2147483647 h 549"/>
                <a:gd name="T60" fmla="*/ 2147483647 w 951"/>
                <a:gd name="T61" fmla="*/ 2147483647 h 549"/>
                <a:gd name="T62" fmla="*/ 2147483647 w 951"/>
                <a:gd name="T63" fmla="*/ 2147483647 h 549"/>
                <a:gd name="T64" fmla="*/ 2147483647 w 951"/>
                <a:gd name="T65" fmla="*/ 2147483647 h 549"/>
                <a:gd name="T66" fmla="*/ 2147483647 w 951"/>
                <a:gd name="T67" fmla="*/ 2147483647 h 549"/>
                <a:gd name="T68" fmla="*/ 2147483647 w 951"/>
                <a:gd name="T69" fmla="*/ 2147483647 h 549"/>
                <a:gd name="T70" fmla="*/ 2147483647 w 951"/>
                <a:gd name="T71" fmla="*/ 2147483647 h 549"/>
                <a:gd name="T72" fmla="*/ 2147483647 w 951"/>
                <a:gd name="T73" fmla="*/ 2147483647 h 549"/>
                <a:gd name="T74" fmla="*/ 2147483647 w 951"/>
                <a:gd name="T75" fmla="*/ 2147483647 h 549"/>
                <a:gd name="T76" fmla="*/ 2147483647 w 951"/>
                <a:gd name="T77" fmla="*/ 2147483647 h 549"/>
                <a:gd name="T78" fmla="*/ 2147483647 w 951"/>
                <a:gd name="T79" fmla="*/ 2147483647 h 549"/>
                <a:gd name="T80" fmla="*/ 2147483647 w 951"/>
                <a:gd name="T81" fmla="*/ 2147483647 h 549"/>
                <a:gd name="T82" fmla="*/ 2147483647 w 951"/>
                <a:gd name="T83" fmla="*/ 2147483647 h 549"/>
                <a:gd name="T84" fmla="*/ 2147483647 w 951"/>
                <a:gd name="T85" fmla="*/ 2147483647 h 549"/>
                <a:gd name="T86" fmla="*/ 2147483647 w 951"/>
                <a:gd name="T87" fmla="*/ 2147483647 h 549"/>
                <a:gd name="T88" fmla="*/ 2147483647 w 951"/>
                <a:gd name="T89" fmla="*/ 2147483647 h 549"/>
                <a:gd name="T90" fmla="*/ 2147483647 w 951"/>
                <a:gd name="T91" fmla="*/ 2147483647 h 549"/>
                <a:gd name="T92" fmla="*/ 2147483647 w 951"/>
                <a:gd name="T93" fmla="*/ 2147483647 h 549"/>
                <a:gd name="T94" fmla="*/ 2147483647 w 951"/>
                <a:gd name="T95" fmla="*/ 2147483647 h 549"/>
                <a:gd name="T96" fmla="*/ 2147483647 w 951"/>
                <a:gd name="T97" fmla="*/ 2147483647 h 549"/>
                <a:gd name="T98" fmla="*/ 2147483647 w 951"/>
                <a:gd name="T99" fmla="*/ 2147483647 h 549"/>
                <a:gd name="T100" fmla="*/ 2147483647 w 951"/>
                <a:gd name="T101" fmla="*/ 2147483647 h 549"/>
                <a:gd name="T102" fmla="*/ 2147483647 w 951"/>
                <a:gd name="T103" fmla="*/ 2147483647 h 549"/>
                <a:gd name="T104" fmla="*/ 2147483647 w 951"/>
                <a:gd name="T105" fmla="*/ 2147483647 h 549"/>
                <a:gd name="T106" fmla="*/ 2147483647 w 951"/>
                <a:gd name="T107" fmla="*/ 2147483647 h 549"/>
                <a:gd name="T108" fmla="*/ 2147483647 w 951"/>
                <a:gd name="T109" fmla="*/ 2147483647 h 549"/>
                <a:gd name="T110" fmla="*/ 2147483647 w 951"/>
                <a:gd name="T111" fmla="*/ 2147483647 h 549"/>
                <a:gd name="T112" fmla="*/ 2147483647 w 951"/>
                <a:gd name="T113" fmla="*/ 2147483647 h 549"/>
                <a:gd name="T114" fmla="*/ 2147483647 w 951"/>
                <a:gd name="T115" fmla="*/ 2147483647 h 549"/>
                <a:gd name="T116" fmla="*/ 2147483647 w 951"/>
                <a:gd name="T117" fmla="*/ 2147483647 h 5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51"/>
                <a:gd name="T178" fmla="*/ 0 h 549"/>
                <a:gd name="T179" fmla="*/ 951 w 951"/>
                <a:gd name="T180" fmla="*/ 549 h 5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51" h="549">
                  <a:moveTo>
                    <a:pt x="864" y="257"/>
                  </a:moveTo>
                  <a:lnTo>
                    <a:pt x="864" y="257"/>
                  </a:lnTo>
                  <a:cubicBezTo>
                    <a:pt x="847" y="274"/>
                    <a:pt x="830" y="248"/>
                    <a:pt x="814" y="222"/>
                  </a:cubicBezTo>
                  <a:cubicBezTo>
                    <a:pt x="805" y="205"/>
                    <a:pt x="771" y="197"/>
                    <a:pt x="762" y="188"/>
                  </a:cubicBezTo>
                  <a:cubicBezTo>
                    <a:pt x="745" y="180"/>
                    <a:pt x="737" y="154"/>
                    <a:pt x="737" y="137"/>
                  </a:cubicBezTo>
                  <a:cubicBezTo>
                    <a:pt x="737" y="128"/>
                    <a:pt x="745" y="111"/>
                    <a:pt x="762" y="94"/>
                  </a:cubicBezTo>
                  <a:cubicBezTo>
                    <a:pt x="771" y="85"/>
                    <a:pt x="771" y="77"/>
                    <a:pt x="762" y="68"/>
                  </a:cubicBezTo>
                  <a:cubicBezTo>
                    <a:pt x="762" y="60"/>
                    <a:pt x="762" y="60"/>
                    <a:pt x="754" y="51"/>
                  </a:cubicBezTo>
                  <a:cubicBezTo>
                    <a:pt x="745" y="34"/>
                    <a:pt x="702" y="34"/>
                    <a:pt x="677" y="26"/>
                  </a:cubicBezTo>
                  <a:cubicBezTo>
                    <a:pt x="651" y="26"/>
                    <a:pt x="625" y="0"/>
                    <a:pt x="600" y="0"/>
                  </a:cubicBezTo>
                  <a:cubicBezTo>
                    <a:pt x="565" y="0"/>
                    <a:pt x="539" y="26"/>
                    <a:pt x="531" y="34"/>
                  </a:cubicBezTo>
                  <a:cubicBezTo>
                    <a:pt x="514" y="43"/>
                    <a:pt x="488" y="43"/>
                    <a:pt x="462" y="43"/>
                  </a:cubicBezTo>
                  <a:cubicBezTo>
                    <a:pt x="445" y="43"/>
                    <a:pt x="428" y="34"/>
                    <a:pt x="402" y="34"/>
                  </a:cubicBezTo>
                  <a:cubicBezTo>
                    <a:pt x="394" y="34"/>
                    <a:pt x="377" y="34"/>
                    <a:pt x="360" y="34"/>
                  </a:cubicBezTo>
                  <a:cubicBezTo>
                    <a:pt x="360" y="43"/>
                    <a:pt x="360" y="43"/>
                    <a:pt x="360" y="43"/>
                  </a:cubicBezTo>
                  <a:cubicBezTo>
                    <a:pt x="368" y="60"/>
                    <a:pt x="343" y="60"/>
                    <a:pt x="299" y="68"/>
                  </a:cubicBezTo>
                  <a:cubicBezTo>
                    <a:pt x="257" y="77"/>
                    <a:pt x="265" y="60"/>
                    <a:pt x="248" y="60"/>
                  </a:cubicBezTo>
                  <a:cubicBezTo>
                    <a:pt x="240" y="60"/>
                    <a:pt x="240" y="77"/>
                    <a:pt x="240" y="85"/>
                  </a:cubicBezTo>
                  <a:cubicBezTo>
                    <a:pt x="240" y="103"/>
                    <a:pt x="205" y="120"/>
                    <a:pt x="188" y="145"/>
                  </a:cubicBezTo>
                  <a:cubicBezTo>
                    <a:pt x="162" y="163"/>
                    <a:pt x="145" y="205"/>
                    <a:pt x="120" y="214"/>
                  </a:cubicBezTo>
                  <a:cubicBezTo>
                    <a:pt x="103" y="222"/>
                    <a:pt x="111" y="240"/>
                    <a:pt x="103" y="266"/>
                  </a:cubicBezTo>
                  <a:cubicBezTo>
                    <a:pt x="94" y="291"/>
                    <a:pt x="103" y="283"/>
                    <a:pt x="68" y="291"/>
                  </a:cubicBezTo>
                  <a:cubicBezTo>
                    <a:pt x="42" y="308"/>
                    <a:pt x="59" y="308"/>
                    <a:pt x="34" y="334"/>
                  </a:cubicBezTo>
                  <a:cubicBezTo>
                    <a:pt x="8" y="360"/>
                    <a:pt x="51" y="368"/>
                    <a:pt x="51" y="394"/>
                  </a:cubicBezTo>
                  <a:cubicBezTo>
                    <a:pt x="51" y="411"/>
                    <a:pt x="25" y="411"/>
                    <a:pt x="17" y="428"/>
                  </a:cubicBezTo>
                  <a:cubicBezTo>
                    <a:pt x="0" y="445"/>
                    <a:pt x="25" y="445"/>
                    <a:pt x="42" y="437"/>
                  </a:cubicBezTo>
                  <a:cubicBezTo>
                    <a:pt x="68" y="428"/>
                    <a:pt x="85" y="394"/>
                    <a:pt x="94" y="385"/>
                  </a:cubicBezTo>
                  <a:cubicBezTo>
                    <a:pt x="103" y="377"/>
                    <a:pt x="145" y="377"/>
                    <a:pt x="154" y="377"/>
                  </a:cubicBezTo>
                  <a:cubicBezTo>
                    <a:pt x="162" y="377"/>
                    <a:pt x="171" y="385"/>
                    <a:pt x="180" y="403"/>
                  </a:cubicBezTo>
                  <a:cubicBezTo>
                    <a:pt x="197" y="411"/>
                    <a:pt x="180" y="411"/>
                    <a:pt x="180" y="437"/>
                  </a:cubicBezTo>
                  <a:cubicBezTo>
                    <a:pt x="180" y="454"/>
                    <a:pt x="222" y="506"/>
                    <a:pt x="214" y="523"/>
                  </a:cubicBezTo>
                  <a:cubicBezTo>
                    <a:pt x="214" y="531"/>
                    <a:pt x="214" y="531"/>
                    <a:pt x="214" y="531"/>
                  </a:cubicBezTo>
                  <a:cubicBezTo>
                    <a:pt x="240" y="540"/>
                    <a:pt x="257" y="531"/>
                    <a:pt x="282" y="523"/>
                  </a:cubicBezTo>
                  <a:cubicBezTo>
                    <a:pt x="308" y="514"/>
                    <a:pt x="325" y="514"/>
                    <a:pt x="334" y="514"/>
                  </a:cubicBezTo>
                  <a:cubicBezTo>
                    <a:pt x="351" y="514"/>
                    <a:pt x="368" y="523"/>
                    <a:pt x="394" y="514"/>
                  </a:cubicBezTo>
                  <a:cubicBezTo>
                    <a:pt x="420" y="497"/>
                    <a:pt x="411" y="488"/>
                    <a:pt x="428" y="471"/>
                  </a:cubicBezTo>
                  <a:cubicBezTo>
                    <a:pt x="454" y="454"/>
                    <a:pt x="454" y="462"/>
                    <a:pt x="454" y="437"/>
                  </a:cubicBezTo>
                  <a:cubicBezTo>
                    <a:pt x="445" y="420"/>
                    <a:pt x="445" y="428"/>
                    <a:pt x="462" y="411"/>
                  </a:cubicBezTo>
                  <a:cubicBezTo>
                    <a:pt x="488" y="394"/>
                    <a:pt x="497" y="368"/>
                    <a:pt x="514" y="377"/>
                  </a:cubicBezTo>
                  <a:cubicBezTo>
                    <a:pt x="531" y="377"/>
                    <a:pt x="514" y="394"/>
                    <a:pt x="514" y="420"/>
                  </a:cubicBezTo>
                  <a:cubicBezTo>
                    <a:pt x="514" y="437"/>
                    <a:pt x="539" y="445"/>
                    <a:pt x="557" y="462"/>
                  </a:cubicBezTo>
                  <a:cubicBezTo>
                    <a:pt x="565" y="480"/>
                    <a:pt x="574" y="471"/>
                    <a:pt x="591" y="480"/>
                  </a:cubicBezTo>
                  <a:cubicBezTo>
                    <a:pt x="617" y="488"/>
                    <a:pt x="600" y="488"/>
                    <a:pt x="591" y="506"/>
                  </a:cubicBezTo>
                  <a:cubicBezTo>
                    <a:pt x="583" y="523"/>
                    <a:pt x="617" y="548"/>
                    <a:pt x="634" y="548"/>
                  </a:cubicBezTo>
                  <a:cubicBezTo>
                    <a:pt x="651" y="540"/>
                    <a:pt x="634" y="514"/>
                    <a:pt x="634" y="497"/>
                  </a:cubicBezTo>
                  <a:cubicBezTo>
                    <a:pt x="642" y="488"/>
                    <a:pt x="651" y="462"/>
                    <a:pt x="677" y="445"/>
                  </a:cubicBezTo>
                  <a:cubicBezTo>
                    <a:pt x="694" y="428"/>
                    <a:pt x="694" y="403"/>
                    <a:pt x="694" y="377"/>
                  </a:cubicBezTo>
                  <a:cubicBezTo>
                    <a:pt x="694" y="343"/>
                    <a:pt x="702" y="368"/>
                    <a:pt x="720" y="368"/>
                  </a:cubicBezTo>
                  <a:cubicBezTo>
                    <a:pt x="728" y="368"/>
                    <a:pt x="737" y="403"/>
                    <a:pt x="754" y="420"/>
                  </a:cubicBezTo>
                  <a:cubicBezTo>
                    <a:pt x="771" y="437"/>
                    <a:pt x="788" y="403"/>
                    <a:pt x="822" y="403"/>
                  </a:cubicBezTo>
                  <a:cubicBezTo>
                    <a:pt x="856" y="403"/>
                    <a:pt x="839" y="428"/>
                    <a:pt x="864" y="437"/>
                  </a:cubicBezTo>
                  <a:cubicBezTo>
                    <a:pt x="881" y="437"/>
                    <a:pt x="856" y="394"/>
                    <a:pt x="856" y="377"/>
                  </a:cubicBezTo>
                  <a:cubicBezTo>
                    <a:pt x="856" y="368"/>
                    <a:pt x="847" y="351"/>
                    <a:pt x="856" y="334"/>
                  </a:cubicBezTo>
                  <a:cubicBezTo>
                    <a:pt x="873" y="308"/>
                    <a:pt x="881" y="334"/>
                    <a:pt x="916" y="343"/>
                  </a:cubicBezTo>
                  <a:cubicBezTo>
                    <a:pt x="950" y="360"/>
                    <a:pt x="933" y="317"/>
                    <a:pt x="916" y="308"/>
                  </a:cubicBezTo>
                  <a:cubicBezTo>
                    <a:pt x="899" y="300"/>
                    <a:pt x="924" y="291"/>
                    <a:pt x="924" y="266"/>
                  </a:cubicBezTo>
                  <a:cubicBezTo>
                    <a:pt x="924" y="266"/>
                    <a:pt x="924" y="266"/>
                    <a:pt x="924" y="257"/>
                  </a:cubicBezTo>
                  <a:cubicBezTo>
                    <a:pt x="924" y="248"/>
                    <a:pt x="933" y="240"/>
                    <a:pt x="933" y="222"/>
                  </a:cubicBezTo>
                  <a:cubicBezTo>
                    <a:pt x="933" y="197"/>
                    <a:pt x="890" y="240"/>
                    <a:pt x="864" y="25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4" name="Freeform 85"/>
            <p:cNvSpPr>
              <a:spLocks noChangeArrowheads="1"/>
            </p:cNvSpPr>
            <p:nvPr/>
          </p:nvSpPr>
          <p:spPr bwMode="auto">
            <a:xfrm>
              <a:off x="2619375" y="2557463"/>
              <a:ext cx="182563" cy="247650"/>
            </a:xfrm>
            <a:custGeom>
              <a:avLst/>
              <a:gdLst>
                <a:gd name="T0" fmla="*/ 2147483647 w 506"/>
                <a:gd name="T1" fmla="*/ 2147483647 h 687"/>
                <a:gd name="T2" fmla="*/ 2147483647 w 506"/>
                <a:gd name="T3" fmla="*/ 2147483647 h 687"/>
                <a:gd name="T4" fmla="*/ 2147483647 w 506"/>
                <a:gd name="T5" fmla="*/ 2147483647 h 687"/>
                <a:gd name="T6" fmla="*/ 2147483647 w 506"/>
                <a:gd name="T7" fmla="*/ 2147483647 h 687"/>
                <a:gd name="T8" fmla="*/ 2147483647 w 506"/>
                <a:gd name="T9" fmla="*/ 2147483647 h 687"/>
                <a:gd name="T10" fmla="*/ 2147483647 w 506"/>
                <a:gd name="T11" fmla="*/ 2147483647 h 687"/>
                <a:gd name="T12" fmla="*/ 2147483647 w 506"/>
                <a:gd name="T13" fmla="*/ 2147483647 h 687"/>
                <a:gd name="T14" fmla="*/ 2147483647 w 506"/>
                <a:gd name="T15" fmla="*/ 2147483647 h 687"/>
                <a:gd name="T16" fmla="*/ 2147483647 w 506"/>
                <a:gd name="T17" fmla="*/ 2147483647 h 687"/>
                <a:gd name="T18" fmla="*/ 2147483647 w 506"/>
                <a:gd name="T19" fmla="*/ 2147483647 h 687"/>
                <a:gd name="T20" fmla="*/ 2147483647 w 506"/>
                <a:gd name="T21" fmla="*/ 2147483647 h 687"/>
                <a:gd name="T22" fmla="*/ 2147483647 w 506"/>
                <a:gd name="T23" fmla="*/ 2147483647 h 687"/>
                <a:gd name="T24" fmla="*/ 2147483647 w 506"/>
                <a:gd name="T25" fmla="*/ 2147483647 h 687"/>
                <a:gd name="T26" fmla="*/ 2147483647 w 506"/>
                <a:gd name="T27" fmla="*/ 2147483647 h 687"/>
                <a:gd name="T28" fmla="*/ 2147483647 w 506"/>
                <a:gd name="T29" fmla="*/ 2147483647 h 687"/>
                <a:gd name="T30" fmla="*/ 2147483647 w 506"/>
                <a:gd name="T31" fmla="*/ 2147483647 h 687"/>
                <a:gd name="T32" fmla="*/ 2147483647 w 506"/>
                <a:gd name="T33" fmla="*/ 2147483647 h 687"/>
                <a:gd name="T34" fmla="*/ 2147483647 w 506"/>
                <a:gd name="T35" fmla="*/ 2147483647 h 687"/>
                <a:gd name="T36" fmla="*/ 2147483647 w 506"/>
                <a:gd name="T37" fmla="*/ 2147483647 h 687"/>
                <a:gd name="T38" fmla="*/ 2147483647 w 506"/>
                <a:gd name="T39" fmla="*/ 2147483647 h 687"/>
                <a:gd name="T40" fmla="*/ 2147483647 w 506"/>
                <a:gd name="T41" fmla="*/ 2147483647 h 687"/>
                <a:gd name="T42" fmla="*/ 2147483647 w 506"/>
                <a:gd name="T43" fmla="*/ 2147483647 h 687"/>
                <a:gd name="T44" fmla="*/ 2147483647 w 506"/>
                <a:gd name="T45" fmla="*/ 2147483647 h 687"/>
                <a:gd name="T46" fmla="*/ 2147483647 w 506"/>
                <a:gd name="T47" fmla="*/ 2147483647 h 687"/>
                <a:gd name="T48" fmla="*/ 2147483647 w 506"/>
                <a:gd name="T49" fmla="*/ 2147483647 h 687"/>
                <a:gd name="T50" fmla="*/ 2147483647 w 506"/>
                <a:gd name="T51" fmla="*/ 2147483647 h 687"/>
                <a:gd name="T52" fmla="*/ 2147483647 w 506"/>
                <a:gd name="T53" fmla="*/ 2147483647 h 687"/>
                <a:gd name="T54" fmla="*/ 2147483647 w 506"/>
                <a:gd name="T55" fmla="*/ 2147483647 h 687"/>
                <a:gd name="T56" fmla="*/ 2147483647 w 506"/>
                <a:gd name="T57" fmla="*/ 2147483647 h 687"/>
                <a:gd name="T58" fmla="*/ 2147483647 w 506"/>
                <a:gd name="T59" fmla="*/ 2147483647 h 687"/>
                <a:gd name="T60" fmla="*/ 2147483647 w 506"/>
                <a:gd name="T61" fmla="*/ 2147483647 h 687"/>
                <a:gd name="T62" fmla="*/ 2147483647 w 506"/>
                <a:gd name="T63" fmla="*/ 2147483647 h 687"/>
                <a:gd name="T64" fmla="*/ 2147483647 w 506"/>
                <a:gd name="T65" fmla="*/ 2147483647 h 687"/>
                <a:gd name="T66" fmla="*/ 2147483647 w 506"/>
                <a:gd name="T67" fmla="*/ 2147483647 h 687"/>
                <a:gd name="T68" fmla="*/ 2147483647 w 506"/>
                <a:gd name="T69" fmla="*/ 2147483647 h 687"/>
                <a:gd name="T70" fmla="*/ 2147483647 w 506"/>
                <a:gd name="T71" fmla="*/ 2147483647 h 687"/>
                <a:gd name="T72" fmla="*/ 2147483647 w 506"/>
                <a:gd name="T73" fmla="*/ 2147483647 h 687"/>
                <a:gd name="T74" fmla="*/ 2147483647 w 506"/>
                <a:gd name="T75" fmla="*/ 2147483647 h 687"/>
                <a:gd name="T76" fmla="*/ 2147483647 w 506"/>
                <a:gd name="T77" fmla="*/ 2147483647 h 687"/>
                <a:gd name="T78" fmla="*/ 2147483647 w 506"/>
                <a:gd name="T79" fmla="*/ 2147483647 h 687"/>
                <a:gd name="T80" fmla="*/ 2147483647 w 506"/>
                <a:gd name="T81" fmla="*/ 2147483647 h 687"/>
                <a:gd name="T82" fmla="*/ 2147483647 w 506"/>
                <a:gd name="T83" fmla="*/ 2147483647 h 687"/>
                <a:gd name="T84" fmla="*/ 2147483647 w 506"/>
                <a:gd name="T85" fmla="*/ 2147483647 h 687"/>
                <a:gd name="T86" fmla="*/ 2147483647 w 506"/>
                <a:gd name="T87" fmla="*/ 2147483647 h 687"/>
                <a:gd name="T88" fmla="*/ 2147483647 w 506"/>
                <a:gd name="T89" fmla="*/ 2147483647 h 687"/>
                <a:gd name="T90" fmla="*/ 2147483647 w 506"/>
                <a:gd name="T91" fmla="*/ 2147483647 h 68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06"/>
                <a:gd name="T139" fmla="*/ 0 h 687"/>
                <a:gd name="T140" fmla="*/ 506 w 506"/>
                <a:gd name="T141" fmla="*/ 687 h 68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06" h="687">
                  <a:moveTo>
                    <a:pt x="249" y="661"/>
                  </a:moveTo>
                  <a:lnTo>
                    <a:pt x="249" y="661"/>
                  </a:lnTo>
                  <a:cubicBezTo>
                    <a:pt x="257" y="652"/>
                    <a:pt x="292" y="661"/>
                    <a:pt x="317" y="661"/>
                  </a:cubicBezTo>
                  <a:cubicBezTo>
                    <a:pt x="309" y="661"/>
                    <a:pt x="309" y="652"/>
                    <a:pt x="300" y="643"/>
                  </a:cubicBezTo>
                  <a:cubicBezTo>
                    <a:pt x="283" y="626"/>
                    <a:pt x="232" y="583"/>
                    <a:pt x="240" y="575"/>
                  </a:cubicBezTo>
                  <a:cubicBezTo>
                    <a:pt x="249" y="558"/>
                    <a:pt x="274" y="540"/>
                    <a:pt x="274" y="523"/>
                  </a:cubicBezTo>
                  <a:cubicBezTo>
                    <a:pt x="274" y="506"/>
                    <a:pt x="240" y="472"/>
                    <a:pt x="257" y="463"/>
                  </a:cubicBezTo>
                  <a:cubicBezTo>
                    <a:pt x="274" y="455"/>
                    <a:pt x="300" y="472"/>
                    <a:pt x="292" y="455"/>
                  </a:cubicBezTo>
                  <a:cubicBezTo>
                    <a:pt x="283" y="438"/>
                    <a:pt x="257" y="412"/>
                    <a:pt x="274" y="412"/>
                  </a:cubicBezTo>
                  <a:cubicBezTo>
                    <a:pt x="283" y="412"/>
                    <a:pt x="300" y="412"/>
                    <a:pt x="309" y="412"/>
                  </a:cubicBezTo>
                  <a:cubicBezTo>
                    <a:pt x="325" y="403"/>
                    <a:pt x="342" y="395"/>
                    <a:pt x="334" y="386"/>
                  </a:cubicBezTo>
                  <a:cubicBezTo>
                    <a:pt x="325" y="369"/>
                    <a:pt x="317" y="361"/>
                    <a:pt x="334" y="361"/>
                  </a:cubicBezTo>
                  <a:cubicBezTo>
                    <a:pt x="342" y="361"/>
                    <a:pt x="342" y="378"/>
                    <a:pt x="359" y="361"/>
                  </a:cubicBezTo>
                  <a:cubicBezTo>
                    <a:pt x="368" y="343"/>
                    <a:pt x="359" y="258"/>
                    <a:pt x="376" y="249"/>
                  </a:cubicBezTo>
                  <a:cubicBezTo>
                    <a:pt x="394" y="249"/>
                    <a:pt x="385" y="266"/>
                    <a:pt x="402" y="266"/>
                  </a:cubicBezTo>
                  <a:cubicBezTo>
                    <a:pt x="419" y="266"/>
                    <a:pt x="428" y="275"/>
                    <a:pt x="445" y="258"/>
                  </a:cubicBezTo>
                  <a:cubicBezTo>
                    <a:pt x="471" y="240"/>
                    <a:pt x="505" y="198"/>
                    <a:pt x="488" y="181"/>
                  </a:cubicBezTo>
                  <a:cubicBezTo>
                    <a:pt x="471" y="172"/>
                    <a:pt x="479" y="146"/>
                    <a:pt x="445" y="146"/>
                  </a:cubicBezTo>
                  <a:cubicBezTo>
                    <a:pt x="419" y="146"/>
                    <a:pt x="385" y="172"/>
                    <a:pt x="394" y="146"/>
                  </a:cubicBezTo>
                  <a:cubicBezTo>
                    <a:pt x="394" y="129"/>
                    <a:pt x="368" y="86"/>
                    <a:pt x="368" y="60"/>
                  </a:cubicBezTo>
                  <a:cubicBezTo>
                    <a:pt x="368" y="43"/>
                    <a:pt x="385" y="35"/>
                    <a:pt x="351" y="18"/>
                  </a:cubicBezTo>
                  <a:cubicBezTo>
                    <a:pt x="325" y="9"/>
                    <a:pt x="317" y="0"/>
                    <a:pt x="300" y="9"/>
                  </a:cubicBezTo>
                  <a:cubicBezTo>
                    <a:pt x="274" y="9"/>
                    <a:pt x="283" y="18"/>
                    <a:pt x="257" y="18"/>
                  </a:cubicBezTo>
                  <a:cubicBezTo>
                    <a:pt x="232" y="18"/>
                    <a:pt x="197" y="26"/>
                    <a:pt x="197" y="35"/>
                  </a:cubicBezTo>
                  <a:cubicBezTo>
                    <a:pt x="189" y="52"/>
                    <a:pt x="197" y="86"/>
                    <a:pt x="206" y="103"/>
                  </a:cubicBezTo>
                  <a:cubicBezTo>
                    <a:pt x="215" y="112"/>
                    <a:pt x="223" y="129"/>
                    <a:pt x="215" y="138"/>
                  </a:cubicBezTo>
                  <a:cubicBezTo>
                    <a:pt x="215" y="155"/>
                    <a:pt x="206" y="138"/>
                    <a:pt x="197" y="138"/>
                  </a:cubicBezTo>
                  <a:cubicBezTo>
                    <a:pt x="180" y="146"/>
                    <a:pt x="172" y="163"/>
                    <a:pt x="172" y="146"/>
                  </a:cubicBezTo>
                  <a:cubicBezTo>
                    <a:pt x="180" y="129"/>
                    <a:pt x="189" y="103"/>
                    <a:pt x="180" y="95"/>
                  </a:cubicBezTo>
                  <a:cubicBezTo>
                    <a:pt x="172" y="86"/>
                    <a:pt x="155" y="78"/>
                    <a:pt x="155" y="95"/>
                  </a:cubicBezTo>
                  <a:cubicBezTo>
                    <a:pt x="146" y="103"/>
                    <a:pt x="155" y="103"/>
                    <a:pt x="137" y="121"/>
                  </a:cubicBezTo>
                  <a:cubicBezTo>
                    <a:pt x="129" y="129"/>
                    <a:pt x="129" y="146"/>
                    <a:pt x="129" y="155"/>
                  </a:cubicBezTo>
                  <a:cubicBezTo>
                    <a:pt x="129" y="163"/>
                    <a:pt x="120" y="181"/>
                    <a:pt x="103" y="172"/>
                  </a:cubicBezTo>
                  <a:cubicBezTo>
                    <a:pt x="86" y="163"/>
                    <a:pt x="78" y="138"/>
                    <a:pt x="69" y="138"/>
                  </a:cubicBezTo>
                  <a:cubicBezTo>
                    <a:pt x="52" y="138"/>
                    <a:pt x="26" y="103"/>
                    <a:pt x="17" y="129"/>
                  </a:cubicBezTo>
                  <a:cubicBezTo>
                    <a:pt x="9" y="146"/>
                    <a:pt x="9" y="266"/>
                    <a:pt x="17" y="292"/>
                  </a:cubicBezTo>
                  <a:cubicBezTo>
                    <a:pt x="17" y="318"/>
                    <a:pt x="43" y="386"/>
                    <a:pt x="26" y="403"/>
                  </a:cubicBezTo>
                  <a:cubicBezTo>
                    <a:pt x="17" y="429"/>
                    <a:pt x="0" y="438"/>
                    <a:pt x="17" y="446"/>
                  </a:cubicBezTo>
                  <a:cubicBezTo>
                    <a:pt x="34" y="455"/>
                    <a:pt x="43" y="446"/>
                    <a:pt x="52" y="472"/>
                  </a:cubicBezTo>
                  <a:cubicBezTo>
                    <a:pt x="60" y="489"/>
                    <a:pt x="43" y="515"/>
                    <a:pt x="60" y="506"/>
                  </a:cubicBezTo>
                  <a:cubicBezTo>
                    <a:pt x="78" y="489"/>
                    <a:pt x="78" y="480"/>
                    <a:pt x="95" y="498"/>
                  </a:cubicBezTo>
                  <a:cubicBezTo>
                    <a:pt x="112" y="515"/>
                    <a:pt x="112" y="592"/>
                    <a:pt x="103" y="583"/>
                  </a:cubicBezTo>
                  <a:cubicBezTo>
                    <a:pt x="95" y="575"/>
                    <a:pt x="86" y="540"/>
                    <a:pt x="78" y="566"/>
                  </a:cubicBezTo>
                  <a:cubicBezTo>
                    <a:pt x="69" y="583"/>
                    <a:pt x="52" y="601"/>
                    <a:pt x="52" y="626"/>
                  </a:cubicBezTo>
                  <a:cubicBezTo>
                    <a:pt x="103" y="626"/>
                    <a:pt x="172" y="652"/>
                    <a:pt x="189" y="669"/>
                  </a:cubicBezTo>
                  <a:cubicBezTo>
                    <a:pt x="206" y="686"/>
                    <a:pt x="215" y="669"/>
                    <a:pt x="249" y="661"/>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5" name="Freeform 86"/>
            <p:cNvSpPr>
              <a:spLocks noChangeArrowheads="1"/>
            </p:cNvSpPr>
            <p:nvPr/>
          </p:nvSpPr>
          <p:spPr bwMode="auto">
            <a:xfrm>
              <a:off x="2460625" y="2781300"/>
              <a:ext cx="611188" cy="817563"/>
            </a:xfrm>
            <a:custGeom>
              <a:avLst/>
              <a:gdLst>
                <a:gd name="T0" fmla="*/ 2147483647 w 1697"/>
                <a:gd name="T1" fmla="*/ 2147483647 h 2272"/>
                <a:gd name="T2" fmla="*/ 2147483647 w 1697"/>
                <a:gd name="T3" fmla="*/ 2147483647 h 2272"/>
                <a:gd name="T4" fmla="*/ 2147483647 w 1697"/>
                <a:gd name="T5" fmla="*/ 2147483647 h 2272"/>
                <a:gd name="T6" fmla="*/ 2147483647 w 1697"/>
                <a:gd name="T7" fmla="*/ 2147483647 h 2272"/>
                <a:gd name="T8" fmla="*/ 2147483647 w 1697"/>
                <a:gd name="T9" fmla="*/ 2147483647 h 2272"/>
                <a:gd name="T10" fmla="*/ 2147483647 w 1697"/>
                <a:gd name="T11" fmla="*/ 2147483647 h 2272"/>
                <a:gd name="T12" fmla="*/ 2147483647 w 1697"/>
                <a:gd name="T13" fmla="*/ 2147483647 h 2272"/>
                <a:gd name="T14" fmla="*/ 2147483647 w 1697"/>
                <a:gd name="T15" fmla="*/ 2147483647 h 2272"/>
                <a:gd name="T16" fmla="*/ 2147483647 w 1697"/>
                <a:gd name="T17" fmla="*/ 2147483647 h 2272"/>
                <a:gd name="T18" fmla="*/ 2147483647 w 1697"/>
                <a:gd name="T19" fmla="*/ 2147483647 h 2272"/>
                <a:gd name="T20" fmla="*/ 2147483647 w 1697"/>
                <a:gd name="T21" fmla="*/ 2147483647 h 2272"/>
                <a:gd name="T22" fmla="*/ 2147483647 w 1697"/>
                <a:gd name="T23" fmla="*/ 2147483647 h 2272"/>
                <a:gd name="T24" fmla="*/ 2147483647 w 1697"/>
                <a:gd name="T25" fmla="*/ 2147483647 h 2272"/>
                <a:gd name="T26" fmla="*/ 2147483647 w 1697"/>
                <a:gd name="T27" fmla="*/ 2147483647 h 2272"/>
                <a:gd name="T28" fmla="*/ 2147483647 w 1697"/>
                <a:gd name="T29" fmla="*/ 2147483647 h 2272"/>
                <a:gd name="T30" fmla="*/ 2147483647 w 1697"/>
                <a:gd name="T31" fmla="*/ 2147483647 h 2272"/>
                <a:gd name="T32" fmla="*/ 2147483647 w 1697"/>
                <a:gd name="T33" fmla="*/ 2147483647 h 2272"/>
                <a:gd name="T34" fmla="*/ 2147483647 w 1697"/>
                <a:gd name="T35" fmla="*/ 2147483647 h 2272"/>
                <a:gd name="T36" fmla="*/ 2147483647 w 1697"/>
                <a:gd name="T37" fmla="*/ 2147483647 h 2272"/>
                <a:gd name="T38" fmla="*/ 2147483647 w 1697"/>
                <a:gd name="T39" fmla="*/ 2147483647 h 2272"/>
                <a:gd name="T40" fmla="*/ 2147483647 w 1697"/>
                <a:gd name="T41" fmla="*/ 2147483647 h 2272"/>
                <a:gd name="T42" fmla="*/ 2147483647 w 1697"/>
                <a:gd name="T43" fmla="*/ 2147483647 h 2272"/>
                <a:gd name="T44" fmla="*/ 2147483647 w 1697"/>
                <a:gd name="T45" fmla="*/ 2147483647 h 2272"/>
                <a:gd name="T46" fmla="*/ 2147483647 w 1697"/>
                <a:gd name="T47" fmla="*/ 2147483647 h 2272"/>
                <a:gd name="T48" fmla="*/ 2147483647 w 1697"/>
                <a:gd name="T49" fmla="*/ 2147483647 h 2272"/>
                <a:gd name="T50" fmla="*/ 2147483647 w 1697"/>
                <a:gd name="T51" fmla="*/ 2147483647 h 2272"/>
                <a:gd name="T52" fmla="*/ 2147483647 w 1697"/>
                <a:gd name="T53" fmla="*/ 2147483647 h 2272"/>
                <a:gd name="T54" fmla="*/ 2147483647 w 1697"/>
                <a:gd name="T55" fmla="*/ 2147483647 h 2272"/>
                <a:gd name="T56" fmla="*/ 2147483647 w 1697"/>
                <a:gd name="T57" fmla="*/ 0 h 2272"/>
                <a:gd name="T58" fmla="*/ 2147483647 w 1697"/>
                <a:gd name="T59" fmla="*/ 2147483647 h 2272"/>
                <a:gd name="T60" fmla="*/ 2147483647 w 1697"/>
                <a:gd name="T61" fmla="*/ 2147483647 h 2272"/>
                <a:gd name="T62" fmla="*/ 2147483647 w 1697"/>
                <a:gd name="T63" fmla="*/ 2147483647 h 2272"/>
                <a:gd name="T64" fmla="*/ 2147483647 w 1697"/>
                <a:gd name="T65" fmla="*/ 2147483647 h 2272"/>
                <a:gd name="T66" fmla="*/ 2147483647 w 1697"/>
                <a:gd name="T67" fmla="*/ 2147483647 h 2272"/>
                <a:gd name="T68" fmla="*/ 2147483647 w 1697"/>
                <a:gd name="T69" fmla="*/ 2147483647 h 2272"/>
                <a:gd name="T70" fmla="*/ 2147483647 w 1697"/>
                <a:gd name="T71" fmla="*/ 2147483647 h 2272"/>
                <a:gd name="T72" fmla="*/ 2147483647 w 1697"/>
                <a:gd name="T73" fmla="*/ 2147483647 h 2272"/>
                <a:gd name="T74" fmla="*/ 2147483647 w 1697"/>
                <a:gd name="T75" fmla="*/ 2147483647 h 2272"/>
                <a:gd name="T76" fmla="*/ 2147483647 w 1697"/>
                <a:gd name="T77" fmla="*/ 2147483647 h 2272"/>
                <a:gd name="T78" fmla="*/ 2147483647 w 1697"/>
                <a:gd name="T79" fmla="*/ 2147483647 h 2272"/>
                <a:gd name="T80" fmla="*/ 2147483647 w 1697"/>
                <a:gd name="T81" fmla="*/ 2147483647 h 2272"/>
                <a:gd name="T82" fmla="*/ 2147483647 w 1697"/>
                <a:gd name="T83" fmla="*/ 2147483647 h 2272"/>
                <a:gd name="T84" fmla="*/ 2147483647 w 1697"/>
                <a:gd name="T85" fmla="*/ 2147483647 h 2272"/>
                <a:gd name="T86" fmla="*/ 2147483647 w 1697"/>
                <a:gd name="T87" fmla="*/ 2147483647 h 2272"/>
                <a:gd name="T88" fmla="*/ 2147483647 w 1697"/>
                <a:gd name="T89" fmla="*/ 2147483647 h 2272"/>
                <a:gd name="T90" fmla="*/ 2147483647 w 1697"/>
                <a:gd name="T91" fmla="*/ 2147483647 h 2272"/>
                <a:gd name="T92" fmla="*/ 2147483647 w 1697"/>
                <a:gd name="T93" fmla="*/ 2147483647 h 2272"/>
                <a:gd name="T94" fmla="*/ 2147483647 w 1697"/>
                <a:gd name="T95" fmla="*/ 2147483647 h 2272"/>
                <a:gd name="T96" fmla="*/ 2147483647 w 1697"/>
                <a:gd name="T97" fmla="*/ 2147483647 h 22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97"/>
                <a:gd name="T148" fmla="*/ 0 h 2272"/>
                <a:gd name="T149" fmla="*/ 1697 w 1697"/>
                <a:gd name="T150" fmla="*/ 2272 h 22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97" h="2272">
                  <a:moveTo>
                    <a:pt x="334" y="2168"/>
                  </a:moveTo>
                  <a:lnTo>
                    <a:pt x="334" y="2168"/>
                  </a:lnTo>
                  <a:cubicBezTo>
                    <a:pt x="360" y="2168"/>
                    <a:pt x="377" y="2177"/>
                    <a:pt x="394" y="2177"/>
                  </a:cubicBezTo>
                  <a:cubicBezTo>
                    <a:pt x="420" y="2177"/>
                    <a:pt x="446" y="2177"/>
                    <a:pt x="463" y="2168"/>
                  </a:cubicBezTo>
                  <a:cubicBezTo>
                    <a:pt x="471" y="2160"/>
                    <a:pt x="497" y="2134"/>
                    <a:pt x="532" y="2134"/>
                  </a:cubicBezTo>
                  <a:cubicBezTo>
                    <a:pt x="557" y="2134"/>
                    <a:pt x="583" y="2160"/>
                    <a:pt x="609" y="2160"/>
                  </a:cubicBezTo>
                  <a:cubicBezTo>
                    <a:pt x="634" y="2168"/>
                    <a:pt x="677" y="2168"/>
                    <a:pt x="686" y="2185"/>
                  </a:cubicBezTo>
                  <a:cubicBezTo>
                    <a:pt x="694" y="2194"/>
                    <a:pt x="694" y="2194"/>
                    <a:pt x="694" y="2202"/>
                  </a:cubicBezTo>
                  <a:cubicBezTo>
                    <a:pt x="720" y="2185"/>
                    <a:pt x="737" y="2177"/>
                    <a:pt x="746" y="2177"/>
                  </a:cubicBezTo>
                  <a:cubicBezTo>
                    <a:pt x="754" y="2168"/>
                    <a:pt x="779" y="2202"/>
                    <a:pt x="788" y="2219"/>
                  </a:cubicBezTo>
                  <a:cubicBezTo>
                    <a:pt x="796" y="2245"/>
                    <a:pt x="805" y="2245"/>
                    <a:pt x="813" y="2262"/>
                  </a:cubicBezTo>
                  <a:cubicBezTo>
                    <a:pt x="822" y="2271"/>
                    <a:pt x="831" y="2254"/>
                    <a:pt x="848" y="2245"/>
                  </a:cubicBezTo>
                  <a:cubicBezTo>
                    <a:pt x="865" y="2237"/>
                    <a:pt x="848" y="2202"/>
                    <a:pt x="848" y="2185"/>
                  </a:cubicBezTo>
                  <a:cubicBezTo>
                    <a:pt x="848" y="2168"/>
                    <a:pt x="882" y="2177"/>
                    <a:pt x="908" y="2177"/>
                  </a:cubicBezTo>
                  <a:cubicBezTo>
                    <a:pt x="942" y="2185"/>
                    <a:pt x="925" y="2194"/>
                    <a:pt x="942" y="2211"/>
                  </a:cubicBezTo>
                  <a:cubicBezTo>
                    <a:pt x="968" y="2219"/>
                    <a:pt x="968" y="2219"/>
                    <a:pt x="1011" y="2219"/>
                  </a:cubicBezTo>
                  <a:cubicBezTo>
                    <a:pt x="1045" y="2211"/>
                    <a:pt x="1079" y="2177"/>
                    <a:pt x="1105" y="2168"/>
                  </a:cubicBezTo>
                  <a:cubicBezTo>
                    <a:pt x="1122" y="2160"/>
                    <a:pt x="1182" y="2160"/>
                    <a:pt x="1199" y="2160"/>
                  </a:cubicBezTo>
                  <a:cubicBezTo>
                    <a:pt x="1225" y="2151"/>
                    <a:pt x="1208" y="2125"/>
                    <a:pt x="1225" y="2125"/>
                  </a:cubicBezTo>
                  <a:cubicBezTo>
                    <a:pt x="1251" y="2125"/>
                    <a:pt x="1259" y="2125"/>
                    <a:pt x="1268" y="2134"/>
                  </a:cubicBezTo>
                  <a:cubicBezTo>
                    <a:pt x="1285" y="2151"/>
                    <a:pt x="1293" y="2142"/>
                    <a:pt x="1311" y="2134"/>
                  </a:cubicBezTo>
                  <a:cubicBezTo>
                    <a:pt x="1328" y="2134"/>
                    <a:pt x="1328" y="2142"/>
                    <a:pt x="1328" y="2160"/>
                  </a:cubicBezTo>
                  <a:cubicBezTo>
                    <a:pt x="1328" y="2168"/>
                    <a:pt x="1345" y="2168"/>
                    <a:pt x="1371" y="2185"/>
                  </a:cubicBezTo>
                  <a:cubicBezTo>
                    <a:pt x="1388" y="2202"/>
                    <a:pt x="1388" y="2160"/>
                    <a:pt x="1388" y="2134"/>
                  </a:cubicBezTo>
                  <a:cubicBezTo>
                    <a:pt x="1388" y="2108"/>
                    <a:pt x="1362" y="2125"/>
                    <a:pt x="1362" y="2091"/>
                  </a:cubicBezTo>
                  <a:cubicBezTo>
                    <a:pt x="1362" y="2065"/>
                    <a:pt x="1336" y="2031"/>
                    <a:pt x="1319" y="2014"/>
                  </a:cubicBezTo>
                  <a:cubicBezTo>
                    <a:pt x="1311" y="2005"/>
                    <a:pt x="1328" y="1988"/>
                    <a:pt x="1345" y="1971"/>
                  </a:cubicBezTo>
                  <a:cubicBezTo>
                    <a:pt x="1362" y="1962"/>
                    <a:pt x="1405" y="1936"/>
                    <a:pt x="1422" y="1928"/>
                  </a:cubicBezTo>
                  <a:cubicBezTo>
                    <a:pt x="1439" y="1919"/>
                    <a:pt x="1448" y="1868"/>
                    <a:pt x="1448" y="1868"/>
                  </a:cubicBezTo>
                  <a:cubicBezTo>
                    <a:pt x="1448" y="1868"/>
                    <a:pt x="1482" y="1868"/>
                    <a:pt x="1508" y="1859"/>
                  </a:cubicBezTo>
                  <a:cubicBezTo>
                    <a:pt x="1516" y="1859"/>
                    <a:pt x="1516" y="1825"/>
                    <a:pt x="1516" y="1799"/>
                  </a:cubicBezTo>
                  <a:cubicBezTo>
                    <a:pt x="1499" y="1782"/>
                    <a:pt x="1482" y="1765"/>
                    <a:pt x="1448" y="1748"/>
                  </a:cubicBezTo>
                  <a:cubicBezTo>
                    <a:pt x="1413" y="1731"/>
                    <a:pt x="1396" y="1714"/>
                    <a:pt x="1362" y="1671"/>
                  </a:cubicBezTo>
                  <a:cubicBezTo>
                    <a:pt x="1328" y="1628"/>
                    <a:pt x="1311" y="1654"/>
                    <a:pt x="1293" y="1636"/>
                  </a:cubicBezTo>
                  <a:cubicBezTo>
                    <a:pt x="1276" y="1619"/>
                    <a:pt x="1251" y="1552"/>
                    <a:pt x="1242" y="1535"/>
                  </a:cubicBezTo>
                  <a:cubicBezTo>
                    <a:pt x="1225" y="1518"/>
                    <a:pt x="1259" y="1500"/>
                    <a:pt x="1242" y="1475"/>
                  </a:cubicBezTo>
                  <a:cubicBezTo>
                    <a:pt x="1225" y="1449"/>
                    <a:pt x="1190" y="1449"/>
                    <a:pt x="1182" y="1406"/>
                  </a:cubicBezTo>
                  <a:cubicBezTo>
                    <a:pt x="1173" y="1372"/>
                    <a:pt x="1148" y="1355"/>
                    <a:pt x="1173" y="1363"/>
                  </a:cubicBezTo>
                  <a:cubicBezTo>
                    <a:pt x="1190" y="1363"/>
                    <a:pt x="1199" y="1423"/>
                    <a:pt x="1208" y="1397"/>
                  </a:cubicBezTo>
                  <a:cubicBezTo>
                    <a:pt x="1216" y="1372"/>
                    <a:pt x="1216" y="1346"/>
                    <a:pt x="1259" y="1329"/>
                  </a:cubicBezTo>
                  <a:cubicBezTo>
                    <a:pt x="1311" y="1320"/>
                    <a:pt x="1311" y="1346"/>
                    <a:pt x="1336" y="1320"/>
                  </a:cubicBezTo>
                  <a:cubicBezTo>
                    <a:pt x="1362" y="1295"/>
                    <a:pt x="1413" y="1243"/>
                    <a:pt x="1465" y="1226"/>
                  </a:cubicBezTo>
                  <a:cubicBezTo>
                    <a:pt x="1516" y="1200"/>
                    <a:pt x="1585" y="1183"/>
                    <a:pt x="1576" y="1166"/>
                  </a:cubicBezTo>
                  <a:cubicBezTo>
                    <a:pt x="1568" y="1140"/>
                    <a:pt x="1576" y="1123"/>
                    <a:pt x="1593" y="1132"/>
                  </a:cubicBezTo>
                  <a:cubicBezTo>
                    <a:pt x="1611" y="1149"/>
                    <a:pt x="1645" y="1200"/>
                    <a:pt x="1653" y="1192"/>
                  </a:cubicBezTo>
                  <a:cubicBezTo>
                    <a:pt x="1662" y="1183"/>
                    <a:pt x="1670" y="1157"/>
                    <a:pt x="1696" y="1132"/>
                  </a:cubicBezTo>
                  <a:cubicBezTo>
                    <a:pt x="1688" y="1123"/>
                    <a:pt x="1696" y="1115"/>
                    <a:pt x="1696" y="1098"/>
                  </a:cubicBezTo>
                  <a:cubicBezTo>
                    <a:pt x="1696" y="1080"/>
                    <a:pt x="1688" y="1046"/>
                    <a:pt x="1688" y="1020"/>
                  </a:cubicBezTo>
                  <a:cubicBezTo>
                    <a:pt x="1679" y="986"/>
                    <a:pt x="1679" y="1003"/>
                    <a:pt x="1662" y="1003"/>
                  </a:cubicBezTo>
                  <a:cubicBezTo>
                    <a:pt x="1645" y="1003"/>
                    <a:pt x="1636" y="969"/>
                    <a:pt x="1636" y="960"/>
                  </a:cubicBezTo>
                  <a:cubicBezTo>
                    <a:pt x="1636" y="943"/>
                    <a:pt x="1628" y="935"/>
                    <a:pt x="1628" y="926"/>
                  </a:cubicBezTo>
                  <a:cubicBezTo>
                    <a:pt x="1619" y="909"/>
                    <a:pt x="1619" y="900"/>
                    <a:pt x="1619" y="883"/>
                  </a:cubicBezTo>
                  <a:cubicBezTo>
                    <a:pt x="1628" y="875"/>
                    <a:pt x="1628" y="840"/>
                    <a:pt x="1619" y="814"/>
                  </a:cubicBezTo>
                  <a:cubicBezTo>
                    <a:pt x="1611" y="789"/>
                    <a:pt x="1602" y="797"/>
                    <a:pt x="1585" y="755"/>
                  </a:cubicBezTo>
                  <a:cubicBezTo>
                    <a:pt x="1576" y="720"/>
                    <a:pt x="1593" y="712"/>
                    <a:pt x="1602" y="686"/>
                  </a:cubicBezTo>
                  <a:cubicBezTo>
                    <a:pt x="1602" y="660"/>
                    <a:pt x="1568" y="643"/>
                    <a:pt x="1551" y="626"/>
                  </a:cubicBezTo>
                  <a:cubicBezTo>
                    <a:pt x="1542" y="609"/>
                    <a:pt x="1508" y="592"/>
                    <a:pt x="1508" y="574"/>
                  </a:cubicBezTo>
                  <a:cubicBezTo>
                    <a:pt x="1508" y="557"/>
                    <a:pt x="1525" y="549"/>
                    <a:pt x="1542" y="532"/>
                  </a:cubicBezTo>
                  <a:cubicBezTo>
                    <a:pt x="1559" y="515"/>
                    <a:pt x="1542" y="480"/>
                    <a:pt x="1542" y="472"/>
                  </a:cubicBezTo>
                  <a:cubicBezTo>
                    <a:pt x="1542" y="455"/>
                    <a:pt x="1516" y="378"/>
                    <a:pt x="1516" y="352"/>
                  </a:cubicBezTo>
                  <a:cubicBezTo>
                    <a:pt x="1516" y="343"/>
                    <a:pt x="1516" y="317"/>
                    <a:pt x="1516" y="292"/>
                  </a:cubicBezTo>
                  <a:cubicBezTo>
                    <a:pt x="1508" y="292"/>
                    <a:pt x="1499" y="283"/>
                    <a:pt x="1482" y="266"/>
                  </a:cubicBezTo>
                  <a:cubicBezTo>
                    <a:pt x="1465" y="249"/>
                    <a:pt x="1439" y="223"/>
                    <a:pt x="1422" y="232"/>
                  </a:cubicBezTo>
                  <a:cubicBezTo>
                    <a:pt x="1396" y="232"/>
                    <a:pt x="1388" y="240"/>
                    <a:pt x="1371" y="232"/>
                  </a:cubicBezTo>
                  <a:cubicBezTo>
                    <a:pt x="1353" y="223"/>
                    <a:pt x="1336" y="223"/>
                    <a:pt x="1319" y="206"/>
                  </a:cubicBezTo>
                  <a:cubicBezTo>
                    <a:pt x="1302" y="189"/>
                    <a:pt x="1302" y="155"/>
                    <a:pt x="1268" y="155"/>
                  </a:cubicBezTo>
                  <a:cubicBezTo>
                    <a:pt x="1242" y="155"/>
                    <a:pt x="1216" y="163"/>
                    <a:pt x="1199" y="172"/>
                  </a:cubicBezTo>
                  <a:cubicBezTo>
                    <a:pt x="1182" y="180"/>
                    <a:pt x="1165" y="197"/>
                    <a:pt x="1148" y="215"/>
                  </a:cubicBezTo>
                  <a:cubicBezTo>
                    <a:pt x="1131" y="223"/>
                    <a:pt x="1105" y="232"/>
                    <a:pt x="1071" y="240"/>
                  </a:cubicBezTo>
                  <a:cubicBezTo>
                    <a:pt x="1045" y="249"/>
                    <a:pt x="1036" y="300"/>
                    <a:pt x="1019" y="300"/>
                  </a:cubicBezTo>
                  <a:cubicBezTo>
                    <a:pt x="994" y="300"/>
                    <a:pt x="985" y="283"/>
                    <a:pt x="959" y="283"/>
                  </a:cubicBezTo>
                  <a:cubicBezTo>
                    <a:pt x="942" y="283"/>
                    <a:pt x="925" y="292"/>
                    <a:pt x="916" y="283"/>
                  </a:cubicBezTo>
                  <a:cubicBezTo>
                    <a:pt x="908" y="266"/>
                    <a:pt x="908" y="257"/>
                    <a:pt x="925" y="249"/>
                  </a:cubicBezTo>
                  <a:cubicBezTo>
                    <a:pt x="942" y="249"/>
                    <a:pt x="950" y="232"/>
                    <a:pt x="950" y="206"/>
                  </a:cubicBezTo>
                  <a:cubicBezTo>
                    <a:pt x="950" y="180"/>
                    <a:pt x="950" y="163"/>
                    <a:pt x="933" y="172"/>
                  </a:cubicBezTo>
                  <a:cubicBezTo>
                    <a:pt x="916" y="180"/>
                    <a:pt x="933" y="206"/>
                    <a:pt x="890" y="197"/>
                  </a:cubicBezTo>
                  <a:cubicBezTo>
                    <a:pt x="848" y="180"/>
                    <a:pt x="848" y="163"/>
                    <a:pt x="822" y="163"/>
                  </a:cubicBezTo>
                  <a:cubicBezTo>
                    <a:pt x="805" y="163"/>
                    <a:pt x="779" y="189"/>
                    <a:pt x="788" y="172"/>
                  </a:cubicBezTo>
                  <a:cubicBezTo>
                    <a:pt x="788" y="155"/>
                    <a:pt x="796" y="137"/>
                    <a:pt x="779" y="137"/>
                  </a:cubicBezTo>
                  <a:cubicBezTo>
                    <a:pt x="771" y="146"/>
                    <a:pt x="720" y="163"/>
                    <a:pt x="746" y="146"/>
                  </a:cubicBezTo>
                  <a:cubicBezTo>
                    <a:pt x="762" y="129"/>
                    <a:pt x="779" y="120"/>
                    <a:pt x="771" y="94"/>
                  </a:cubicBezTo>
                  <a:cubicBezTo>
                    <a:pt x="762" y="77"/>
                    <a:pt x="762" y="60"/>
                    <a:pt x="754" y="43"/>
                  </a:cubicBezTo>
                  <a:cubicBezTo>
                    <a:pt x="754" y="43"/>
                    <a:pt x="754" y="43"/>
                    <a:pt x="754" y="35"/>
                  </a:cubicBezTo>
                  <a:cubicBezTo>
                    <a:pt x="729" y="35"/>
                    <a:pt x="694" y="26"/>
                    <a:pt x="686" y="35"/>
                  </a:cubicBezTo>
                  <a:cubicBezTo>
                    <a:pt x="652" y="43"/>
                    <a:pt x="643" y="60"/>
                    <a:pt x="626" y="43"/>
                  </a:cubicBezTo>
                  <a:cubicBezTo>
                    <a:pt x="609" y="26"/>
                    <a:pt x="540" y="0"/>
                    <a:pt x="489" y="0"/>
                  </a:cubicBezTo>
                  <a:cubicBezTo>
                    <a:pt x="489" y="26"/>
                    <a:pt x="506" y="35"/>
                    <a:pt x="515" y="26"/>
                  </a:cubicBezTo>
                  <a:cubicBezTo>
                    <a:pt x="515" y="17"/>
                    <a:pt x="532" y="9"/>
                    <a:pt x="540" y="43"/>
                  </a:cubicBezTo>
                  <a:cubicBezTo>
                    <a:pt x="540" y="86"/>
                    <a:pt x="600" y="137"/>
                    <a:pt x="600" y="155"/>
                  </a:cubicBezTo>
                  <a:cubicBezTo>
                    <a:pt x="592" y="163"/>
                    <a:pt x="549" y="146"/>
                    <a:pt x="540" y="172"/>
                  </a:cubicBezTo>
                  <a:cubicBezTo>
                    <a:pt x="532" y="189"/>
                    <a:pt x="540" y="206"/>
                    <a:pt x="549" y="215"/>
                  </a:cubicBezTo>
                  <a:cubicBezTo>
                    <a:pt x="566" y="215"/>
                    <a:pt x="549" y="215"/>
                    <a:pt x="566" y="240"/>
                  </a:cubicBezTo>
                  <a:cubicBezTo>
                    <a:pt x="592" y="266"/>
                    <a:pt x="617" y="249"/>
                    <a:pt x="592" y="266"/>
                  </a:cubicBezTo>
                  <a:cubicBezTo>
                    <a:pt x="574" y="292"/>
                    <a:pt x="549" y="292"/>
                    <a:pt x="566" y="300"/>
                  </a:cubicBezTo>
                  <a:cubicBezTo>
                    <a:pt x="592" y="317"/>
                    <a:pt x="600" y="334"/>
                    <a:pt x="592" y="334"/>
                  </a:cubicBezTo>
                  <a:cubicBezTo>
                    <a:pt x="574" y="334"/>
                    <a:pt x="566" y="300"/>
                    <a:pt x="540" y="326"/>
                  </a:cubicBezTo>
                  <a:cubicBezTo>
                    <a:pt x="515" y="343"/>
                    <a:pt x="497" y="360"/>
                    <a:pt x="497" y="386"/>
                  </a:cubicBezTo>
                  <a:cubicBezTo>
                    <a:pt x="506" y="403"/>
                    <a:pt x="523" y="463"/>
                    <a:pt x="506" y="437"/>
                  </a:cubicBezTo>
                  <a:cubicBezTo>
                    <a:pt x="480" y="420"/>
                    <a:pt x="463" y="395"/>
                    <a:pt x="471" y="412"/>
                  </a:cubicBezTo>
                  <a:cubicBezTo>
                    <a:pt x="471" y="429"/>
                    <a:pt x="506" y="446"/>
                    <a:pt x="471" y="429"/>
                  </a:cubicBezTo>
                  <a:cubicBezTo>
                    <a:pt x="437" y="420"/>
                    <a:pt x="412" y="360"/>
                    <a:pt x="394" y="360"/>
                  </a:cubicBezTo>
                  <a:cubicBezTo>
                    <a:pt x="369" y="360"/>
                    <a:pt x="326" y="378"/>
                    <a:pt x="300" y="378"/>
                  </a:cubicBezTo>
                  <a:cubicBezTo>
                    <a:pt x="275" y="378"/>
                    <a:pt x="266" y="378"/>
                    <a:pt x="249" y="403"/>
                  </a:cubicBezTo>
                  <a:cubicBezTo>
                    <a:pt x="240" y="429"/>
                    <a:pt x="240" y="446"/>
                    <a:pt x="249" y="480"/>
                  </a:cubicBezTo>
                  <a:cubicBezTo>
                    <a:pt x="257" y="497"/>
                    <a:pt x="249" y="497"/>
                    <a:pt x="240" y="489"/>
                  </a:cubicBezTo>
                  <a:cubicBezTo>
                    <a:pt x="257" y="549"/>
                    <a:pt x="266" y="592"/>
                    <a:pt x="257" y="600"/>
                  </a:cubicBezTo>
                  <a:cubicBezTo>
                    <a:pt x="240" y="618"/>
                    <a:pt x="240" y="669"/>
                    <a:pt x="240" y="677"/>
                  </a:cubicBezTo>
                  <a:cubicBezTo>
                    <a:pt x="231" y="686"/>
                    <a:pt x="206" y="677"/>
                    <a:pt x="180" y="677"/>
                  </a:cubicBezTo>
                  <a:cubicBezTo>
                    <a:pt x="154" y="677"/>
                    <a:pt x="180" y="686"/>
                    <a:pt x="180" y="712"/>
                  </a:cubicBezTo>
                  <a:cubicBezTo>
                    <a:pt x="180" y="737"/>
                    <a:pt x="197" y="729"/>
                    <a:pt x="223" y="737"/>
                  </a:cubicBezTo>
                  <a:cubicBezTo>
                    <a:pt x="249" y="746"/>
                    <a:pt x="240" y="763"/>
                    <a:pt x="231" y="780"/>
                  </a:cubicBezTo>
                  <a:cubicBezTo>
                    <a:pt x="223" y="806"/>
                    <a:pt x="206" y="814"/>
                    <a:pt x="180" y="832"/>
                  </a:cubicBezTo>
                  <a:cubicBezTo>
                    <a:pt x="154" y="849"/>
                    <a:pt x="180" y="858"/>
                    <a:pt x="180" y="866"/>
                  </a:cubicBezTo>
                  <a:cubicBezTo>
                    <a:pt x="180" y="883"/>
                    <a:pt x="180" y="883"/>
                    <a:pt x="146" y="892"/>
                  </a:cubicBezTo>
                  <a:cubicBezTo>
                    <a:pt x="120" y="900"/>
                    <a:pt x="86" y="892"/>
                    <a:pt x="69" y="892"/>
                  </a:cubicBezTo>
                  <a:cubicBezTo>
                    <a:pt x="52" y="900"/>
                    <a:pt x="35" y="909"/>
                    <a:pt x="35" y="926"/>
                  </a:cubicBezTo>
                  <a:cubicBezTo>
                    <a:pt x="35" y="943"/>
                    <a:pt x="77" y="1003"/>
                    <a:pt x="69" y="1029"/>
                  </a:cubicBezTo>
                  <a:cubicBezTo>
                    <a:pt x="60" y="1063"/>
                    <a:pt x="52" y="1063"/>
                    <a:pt x="35" y="1080"/>
                  </a:cubicBezTo>
                  <a:cubicBezTo>
                    <a:pt x="26" y="1089"/>
                    <a:pt x="52" y="1089"/>
                    <a:pt x="52" y="1106"/>
                  </a:cubicBezTo>
                  <a:cubicBezTo>
                    <a:pt x="52" y="1115"/>
                    <a:pt x="17" y="1132"/>
                    <a:pt x="9" y="1140"/>
                  </a:cubicBezTo>
                  <a:cubicBezTo>
                    <a:pt x="0" y="1149"/>
                    <a:pt x="26" y="1175"/>
                    <a:pt x="35" y="1183"/>
                  </a:cubicBezTo>
                  <a:cubicBezTo>
                    <a:pt x="35" y="1192"/>
                    <a:pt x="26" y="1200"/>
                    <a:pt x="17" y="1217"/>
                  </a:cubicBezTo>
                  <a:cubicBezTo>
                    <a:pt x="17" y="1235"/>
                    <a:pt x="52" y="1252"/>
                    <a:pt x="60" y="1260"/>
                  </a:cubicBezTo>
                  <a:cubicBezTo>
                    <a:pt x="69" y="1269"/>
                    <a:pt x="52" y="1269"/>
                    <a:pt x="52" y="1286"/>
                  </a:cubicBezTo>
                  <a:cubicBezTo>
                    <a:pt x="52" y="1295"/>
                    <a:pt x="77" y="1329"/>
                    <a:pt x="94" y="1355"/>
                  </a:cubicBezTo>
                  <a:cubicBezTo>
                    <a:pt x="94" y="1363"/>
                    <a:pt x="94" y="1363"/>
                    <a:pt x="94" y="1363"/>
                  </a:cubicBezTo>
                  <a:cubicBezTo>
                    <a:pt x="94" y="1380"/>
                    <a:pt x="94" y="1406"/>
                    <a:pt x="103" y="1423"/>
                  </a:cubicBezTo>
                  <a:cubicBezTo>
                    <a:pt x="112" y="1440"/>
                    <a:pt x="137" y="1492"/>
                    <a:pt x="154" y="1500"/>
                  </a:cubicBezTo>
                  <a:cubicBezTo>
                    <a:pt x="172" y="1509"/>
                    <a:pt x="189" y="1509"/>
                    <a:pt x="197" y="1526"/>
                  </a:cubicBezTo>
                  <a:cubicBezTo>
                    <a:pt x="197" y="1543"/>
                    <a:pt x="206" y="1560"/>
                    <a:pt x="197" y="1578"/>
                  </a:cubicBezTo>
                  <a:cubicBezTo>
                    <a:pt x="197" y="1594"/>
                    <a:pt x="197" y="1611"/>
                    <a:pt x="197" y="1611"/>
                  </a:cubicBezTo>
                  <a:cubicBezTo>
                    <a:pt x="189" y="1619"/>
                    <a:pt x="172" y="1611"/>
                    <a:pt x="163" y="1645"/>
                  </a:cubicBezTo>
                  <a:cubicBezTo>
                    <a:pt x="163" y="1662"/>
                    <a:pt x="163" y="1671"/>
                    <a:pt x="163" y="1679"/>
                  </a:cubicBezTo>
                  <a:cubicBezTo>
                    <a:pt x="163" y="1679"/>
                    <a:pt x="163" y="1679"/>
                    <a:pt x="172" y="1679"/>
                  </a:cubicBezTo>
                  <a:cubicBezTo>
                    <a:pt x="180" y="1671"/>
                    <a:pt x="189" y="1688"/>
                    <a:pt x="197" y="1714"/>
                  </a:cubicBezTo>
                  <a:cubicBezTo>
                    <a:pt x="214" y="1731"/>
                    <a:pt x="223" y="1722"/>
                    <a:pt x="249" y="1722"/>
                  </a:cubicBezTo>
                  <a:cubicBezTo>
                    <a:pt x="266" y="1731"/>
                    <a:pt x="266" y="1705"/>
                    <a:pt x="283" y="1696"/>
                  </a:cubicBezTo>
                  <a:cubicBezTo>
                    <a:pt x="292" y="1688"/>
                    <a:pt x="309" y="1731"/>
                    <a:pt x="343" y="1739"/>
                  </a:cubicBezTo>
                  <a:cubicBezTo>
                    <a:pt x="377" y="1757"/>
                    <a:pt x="420" y="1765"/>
                    <a:pt x="420" y="1765"/>
                  </a:cubicBezTo>
                  <a:cubicBezTo>
                    <a:pt x="420" y="1765"/>
                    <a:pt x="420" y="1782"/>
                    <a:pt x="403" y="1791"/>
                  </a:cubicBezTo>
                  <a:cubicBezTo>
                    <a:pt x="394" y="1808"/>
                    <a:pt x="377" y="1825"/>
                    <a:pt x="352" y="1842"/>
                  </a:cubicBezTo>
                  <a:cubicBezTo>
                    <a:pt x="334" y="1859"/>
                    <a:pt x="343" y="1911"/>
                    <a:pt x="343" y="1919"/>
                  </a:cubicBezTo>
                  <a:cubicBezTo>
                    <a:pt x="334" y="1928"/>
                    <a:pt x="300" y="1979"/>
                    <a:pt x="300" y="2005"/>
                  </a:cubicBezTo>
                  <a:cubicBezTo>
                    <a:pt x="292" y="2039"/>
                    <a:pt x="300" y="2074"/>
                    <a:pt x="283" y="2108"/>
                  </a:cubicBezTo>
                  <a:cubicBezTo>
                    <a:pt x="266" y="2142"/>
                    <a:pt x="283" y="2151"/>
                    <a:pt x="292" y="2168"/>
                  </a:cubicBezTo>
                  <a:cubicBezTo>
                    <a:pt x="309" y="2168"/>
                    <a:pt x="326" y="2168"/>
                    <a:pt x="334" y="216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6" name="Freeform 87"/>
            <p:cNvSpPr>
              <a:spLocks noChangeArrowheads="1"/>
            </p:cNvSpPr>
            <p:nvPr/>
          </p:nvSpPr>
          <p:spPr bwMode="auto">
            <a:xfrm>
              <a:off x="2479675" y="3608388"/>
              <a:ext cx="965200" cy="974725"/>
            </a:xfrm>
            <a:custGeom>
              <a:avLst/>
              <a:gdLst>
                <a:gd name="T0" fmla="*/ 2147483647 w 2682"/>
                <a:gd name="T1" fmla="*/ 2147483647 h 2709"/>
                <a:gd name="T2" fmla="*/ 2147483647 w 2682"/>
                <a:gd name="T3" fmla="*/ 2147483647 h 2709"/>
                <a:gd name="T4" fmla="*/ 2147483647 w 2682"/>
                <a:gd name="T5" fmla="*/ 2147483647 h 2709"/>
                <a:gd name="T6" fmla="*/ 2147483647 w 2682"/>
                <a:gd name="T7" fmla="*/ 2147483647 h 2709"/>
                <a:gd name="T8" fmla="*/ 2147483647 w 2682"/>
                <a:gd name="T9" fmla="*/ 2147483647 h 2709"/>
                <a:gd name="T10" fmla="*/ 2147483647 w 2682"/>
                <a:gd name="T11" fmla="*/ 2147483647 h 2709"/>
                <a:gd name="T12" fmla="*/ 2147483647 w 2682"/>
                <a:gd name="T13" fmla="*/ 2147483647 h 2709"/>
                <a:gd name="T14" fmla="*/ 2147483647 w 2682"/>
                <a:gd name="T15" fmla="*/ 2147483647 h 2709"/>
                <a:gd name="T16" fmla="*/ 2147483647 w 2682"/>
                <a:gd name="T17" fmla="*/ 2147483647 h 2709"/>
                <a:gd name="T18" fmla="*/ 2147483647 w 2682"/>
                <a:gd name="T19" fmla="*/ 2147483647 h 2709"/>
                <a:gd name="T20" fmla="*/ 2147483647 w 2682"/>
                <a:gd name="T21" fmla="*/ 2147483647 h 2709"/>
                <a:gd name="T22" fmla="*/ 2147483647 w 2682"/>
                <a:gd name="T23" fmla="*/ 2147483647 h 2709"/>
                <a:gd name="T24" fmla="*/ 2147483647 w 2682"/>
                <a:gd name="T25" fmla="*/ 2147483647 h 2709"/>
                <a:gd name="T26" fmla="*/ 2147483647 w 2682"/>
                <a:gd name="T27" fmla="*/ 2147483647 h 2709"/>
                <a:gd name="T28" fmla="*/ 2147483647 w 2682"/>
                <a:gd name="T29" fmla="*/ 2147483647 h 2709"/>
                <a:gd name="T30" fmla="*/ 2147483647 w 2682"/>
                <a:gd name="T31" fmla="*/ 2147483647 h 2709"/>
                <a:gd name="T32" fmla="*/ 2147483647 w 2682"/>
                <a:gd name="T33" fmla="*/ 2147483647 h 2709"/>
                <a:gd name="T34" fmla="*/ 2147483647 w 2682"/>
                <a:gd name="T35" fmla="*/ 2147483647 h 2709"/>
                <a:gd name="T36" fmla="*/ 2147483647 w 2682"/>
                <a:gd name="T37" fmla="*/ 2147483647 h 2709"/>
                <a:gd name="T38" fmla="*/ 2147483647 w 2682"/>
                <a:gd name="T39" fmla="*/ 2147483647 h 2709"/>
                <a:gd name="T40" fmla="*/ 2147483647 w 2682"/>
                <a:gd name="T41" fmla="*/ 2147483647 h 2709"/>
                <a:gd name="T42" fmla="*/ 2147483647 w 2682"/>
                <a:gd name="T43" fmla="*/ 2147483647 h 2709"/>
                <a:gd name="T44" fmla="*/ 2147483647 w 2682"/>
                <a:gd name="T45" fmla="*/ 2147483647 h 2709"/>
                <a:gd name="T46" fmla="*/ 2147483647 w 2682"/>
                <a:gd name="T47" fmla="*/ 2147483647 h 2709"/>
                <a:gd name="T48" fmla="*/ 2147483647 w 2682"/>
                <a:gd name="T49" fmla="*/ 2147483647 h 2709"/>
                <a:gd name="T50" fmla="*/ 2147483647 w 2682"/>
                <a:gd name="T51" fmla="*/ 2147483647 h 2709"/>
                <a:gd name="T52" fmla="*/ 2147483647 w 2682"/>
                <a:gd name="T53" fmla="*/ 2147483647 h 2709"/>
                <a:gd name="T54" fmla="*/ 2147483647 w 2682"/>
                <a:gd name="T55" fmla="*/ 2147483647 h 2709"/>
                <a:gd name="T56" fmla="*/ 2147483647 w 2682"/>
                <a:gd name="T57" fmla="*/ 2147483647 h 2709"/>
                <a:gd name="T58" fmla="*/ 2147483647 w 2682"/>
                <a:gd name="T59" fmla="*/ 2147483647 h 2709"/>
                <a:gd name="T60" fmla="*/ 2147483647 w 2682"/>
                <a:gd name="T61" fmla="*/ 2147483647 h 2709"/>
                <a:gd name="T62" fmla="*/ 2147483647 w 2682"/>
                <a:gd name="T63" fmla="*/ 2147483647 h 2709"/>
                <a:gd name="T64" fmla="*/ 2147483647 w 2682"/>
                <a:gd name="T65" fmla="*/ 2147483647 h 2709"/>
                <a:gd name="T66" fmla="*/ 2147483647 w 2682"/>
                <a:gd name="T67" fmla="*/ 2147483647 h 2709"/>
                <a:gd name="T68" fmla="*/ 2147483647 w 2682"/>
                <a:gd name="T69" fmla="*/ 2147483647 h 2709"/>
                <a:gd name="T70" fmla="*/ 2147483647 w 2682"/>
                <a:gd name="T71" fmla="*/ 2147483647 h 2709"/>
                <a:gd name="T72" fmla="*/ 2147483647 w 2682"/>
                <a:gd name="T73" fmla="*/ 2147483647 h 2709"/>
                <a:gd name="T74" fmla="*/ 2147483647 w 2682"/>
                <a:gd name="T75" fmla="*/ 2147483647 h 2709"/>
                <a:gd name="T76" fmla="*/ 2147483647 w 2682"/>
                <a:gd name="T77" fmla="*/ 2147483647 h 2709"/>
                <a:gd name="T78" fmla="*/ 2147483647 w 2682"/>
                <a:gd name="T79" fmla="*/ 2147483647 h 2709"/>
                <a:gd name="T80" fmla="*/ 2147483647 w 2682"/>
                <a:gd name="T81" fmla="*/ 2147483647 h 2709"/>
                <a:gd name="T82" fmla="*/ 2147483647 w 2682"/>
                <a:gd name="T83" fmla="*/ 2147483647 h 2709"/>
                <a:gd name="T84" fmla="*/ 2147483647 w 2682"/>
                <a:gd name="T85" fmla="*/ 2147483647 h 2709"/>
                <a:gd name="T86" fmla="*/ 2147483647 w 2682"/>
                <a:gd name="T87" fmla="*/ 2147483647 h 2709"/>
                <a:gd name="T88" fmla="*/ 2147483647 w 2682"/>
                <a:gd name="T89" fmla="*/ 2147483647 h 2709"/>
                <a:gd name="T90" fmla="*/ 2147483647 w 2682"/>
                <a:gd name="T91" fmla="*/ 2147483647 h 2709"/>
                <a:gd name="T92" fmla="*/ 2147483647 w 2682"/>
                <a:gd name="T93" fmla="*/ 2147483647 h 2709"/>
                <a:gd name="T94" fmla="*/ 2147483647 w 2682"/>
                <a:gd name="T95" fmla="*/ 2147483647 h 2709"/>
                <a:gd name="T96" fmla="*/ 2147483647 w 2682"/>
                <a:gd name="T97" fmla="*/ 2147483647 h 2709"/>
                <a:gd name="T98" fmla="*/ 2147483647 w 2682"/>
                <a:gd name="T99" fmla="*/ 2147483647 h 2709"/>
                <a:gd name="T100" fmla="*/ 2147483647 w 2682"/>
                <a:gd name="T101" fmla="*/ 2147483647 h 2709"/>
                <a:gd name="T102" fmla="*/ 2147483647 w 2682"/>
                <a:gd name="T103" fmla="*/ 2147483647 h 270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82"/>
                <a:gd name="T157" fmla="*/ 0 h 2709"/>
                <a:gd name="T158" fmla="*/ 2682 w 2682"/>
                <a:gd name="T159" fmla="*/ 2709 h 270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82" h="2709">
                  <a:moveTo>
                    <a:pt x="1439" y="325"/>
                  </a:moveTo>
                  <a:lnTo>
                    <a:pt x="1439" y="325"/>
                  </a:lnTo>
                  <a:cubicBezTo>
                    <a:pt x="1404" y="317"/>
                    <a:pt x="1439" y="299"/>
                    <a:pt x="1464" y="282"/>
                  </a:cubicBezTo>
                  <a:cubicBezTo>
                    <a:pt x="1490" y="257"/>
                    <a:pt x="1447" y="265"/>
                    <a:pt x="1430" y="257"/>
                  </a:cubicBezTo>
                  <a:cubicBezTo>
                    <a:pt x="1422" y="257"/>
                    <a:pt x="1413" y="248"/>
                    <a:pt x="1422" y="222"/>
                  </a:cubicBezTo>
                  <a:cubicBezTo>
                    <a:pt x="1430" y="205"/>
                    <a:pt x="1456" y="188"/>
                    <a:pt x="1473" y="180"/>
                  </a:cubicBezTo>
                  <a:cubicBezTo>
                    <a:pt x="1456" y="162"/>
                    <a:pt x="1447" y="154"/>
                    <a:pt x="1422" y="154"/>
                  </a:cubicBezTo>
                  <a:cubicBezTo>
                    <a:pt x="1370" y="145"/>
                    <a:pt x="1250" y="154"/>
                    <a:pt x="1224" y="137"/>
                  </a:cubicBezTo>
                  <a:cubicBezTo>
                    <a:pt x="1199" y="111"/>
                    <a:pt x="1173" y="85"/>
                    <a:pt x="1164" y="59"/>
                  </a:cubicBezTo>
                  <a:cubicBezTo>
                    <a:pt x="1147" y="34"/>
                    <a:pt x="1190" y="0"/>
                    <a:pt x="1156" y="8"/>
                  </a:cubicBezTo>
                  <a:cubicBezTo>
                    <a:pt x="1130" y="17"/>
                    <a:pt x="1104" y="42"/>
                    <a:pt x="1079" y="42"/>
                  </a:cubicBezTo>
                  <a:cubicBezTo>
                    <a:pt x="1053" y="42"/>
                    <a:pt x="1019" y="34"/>
                    <a:pt x="993" y="42"/>
                  </a:cubicBezTo>
                  <a:cubicBezTo>
                    <a:pt x="967" y="51"/>
                    <a:pt x="950" y="85"/>
                    <a:pt x="933" y="103"/>
                  </a:cubicBezTo>
                  <a:cubicBezTo>
                    <a:pt x="916" y="120"/>
                    <a:pt x="890" y="120"/>
                    <a:pt x="873" y="111"/>
                  </a:cubicBezTo>
                  <a:cubicBezTo>
                    <a:pt x="864" y="103"/>
                    <a:pt x="830" y="94"/>
                    <a:pt x="804" y="94"/>
                  </a:cubicBezTo>
                  <a:cubicBezTo>
                    <a:pt x="804" y="103"/>
                    <a:pt x="804" y="103"/>
                    <a:pt x="804" y="103"/>
                  </a:cubicBezTo>
                  <a:cubicBezTo>
                    <a:pt x="804" y="128"/>
                    <a:pt x="779" y="137"/>
                    <a:pt x="796" y="145"/>
                  </a:cubicBezTo>
                  <a:cubicBezTo>
                    <a:pt x="813" y="154"/>
                    <a:pt x="830" y="197"/>
                    <a:pt x="796" y="180"/>
                  </a:cubicBezTo>
                  <a:cubicBezTo>
                    <a:pt x="761" y="171"/>
                    <a:pt x="753" y="145"/>
                    <a:pt x="736" y="171"/>
                  </a:cubicBezTo>
                  <a:cubicBezTo>
                    <a:pt x="727" y="188"/>
                    <a:pt x="736" y="205"/>
                    <a:pt x="736" y="214"/>
                  </a:cubicBezTo>
                  <a:cubicBezTo>
                    <a:pt x="736" y="231"/>
                    <a:pt x="761" y="274"/>
                    <a:pt x="744" y="274"/>
                  </a:cubicBezTo>
                  <a:cubicBezTo>
                    <a:pt x="719" y="265"/>
                    <a:pt x="736" y="240"/>
                    <a:pt x="702" y="240"/>
                  </a:cubicBezTo>
                  <a:cubicBezTo>
                    <a:pt x="668" y="240"/>
                    <a:pt x="651" y="274"/>
                    <a:pt x="634" y="257"/>
                  </a:cubicBezTo>
                  <a:cubicBezTo>
                    <a:pt x="617" y="240"/>
                    <a:pt x="608" y="205"/>
                    <a:pt x="600" y="205"/>
                  </a:cubicBezTo>
                  <a:cubicBezTo>
                    <a:pt x="582" y="205"/>
                    <a:pt x="574" y="180"/>
                    <a:pt x="574" y="214"/>
                  </a:cubicBezTo>
                  <a:cubicBezTo>
                    <a:pt x="574" y="240"/>
                    <a:pt x="574" y="265"/>
                    <a:pt x="557" y="282"/>
                  </a:cubicBezTo>
                  <a:cubicBezTo>
                    <a:pt x="531" y="299"/>
                    <a:pt x="522" y="325"/>
                    <a:pt x="514" y="334"/>
                  </a:cubicBezTo>
                  <a:cubicBezTo>
                    <a:pt x="514" y="351"/>
                    <a:pt x="531" y="377"/>
                    <a:pt x="514" y="385"/>
                  </a:cubicBezTo>
                  <a:cubicBezTo>
                    <a:pt x="497" y="385"/>
                    <a:pt x="463" y="360"/>
                    <a:pt x="471" y="343"/>
                  </a:cubicBezTo>
                  <a:cubicBezTo>
                    <a:pt x="480" y="325"/>
                    <a:pt x="497" y="325"/>
                    <a:pt x="471" y="317"/>
                  </a:cubicBezTo>
                  <a:cubicBezTo>
                    <a:pt x="454" y="308"/>
                    <a:pt x="445" y="317"/>
                    <a:pt x="437" y="299"/>
                  </a:cubicBezTo>
                  <a:cubicBezTo>
                    <a:pt x="419" y="282"/>
                    <a:pt x="394" y="274"/>
                    <a:pt x="394" y="257"/>
                  </a:cubicBezTo>
                  <a:cubicBezTo>
                    <a:pt x="394" y="231"/>
                    <a:pt x="411" y="214"/>
                    <a:pt x="394" y="214"/>
                  </a:cubicBezTo>
                  <a:cubicBezTo>
                    <a:pt x="377" y="205"/>
                    <a:pt x="368" y="231"/>
                    <a:pt x="342" y="248"/>
                  </a:cubicBezTo>
                  <a:cubicBezTo>
                    <a:pt x="325" y="265"/>
                    <a:pt x="325" y="257"/>
                    <a:pt x="334" y="274"/>
                  </a:cubicBezTo>
                  <a:cubicBezTo>
                    <a:pt x="334" y="299"/>
                    <a:pt x="334" y="291"/>
                    <a:pt x="308" y="308"/>
                  </a:cubicBezTo>
                  <a:cubicBezTo>
                    <a:pt x="291" y="325"/>
                    <a:pt x="300" y="334"/>
                    <a:pt x="274" y="351"/>
                  </a:cubicBezTo>
                  <a:cubicBezTo>
                    <a:pt x="248" y="360"/>
                    <a:pt x="231" y="351"/>
                    <a:pt x="214" y="351"/>
                  </a:cubicBezTo>
                  <a:cubicBezTo>
                    <a:pt x="205" y="351"/>
                    <a:pt x="188" y="351"/>
                    <a:pt x="162" y="360"/>
                  </a:cubicBezTo>
                  <a:cubicBezTo>
                    <a:pt x="137" y="368"/>
                    <a:pt x="120" y="377"/>
                    <a:pt x="94" y="368"/>
                  </a:cubicBezTo>
                  <a:cubicBezTo>
                    <a:pt x="94" y="377"/>
                    <a:pt x="85" y="377"/>
                    <a:pt x="60" y="394"/>
                  </a:cubicBezTo>
                  <a:cubicBezTo>
                    <a:pt x="34" y="411"/>
                    <a:pt x="60" y="402"/>
                    <a:pt x="68" y="420"/>
                  </a:cubicBezTo>
                  <a:cubicBezTo>
                    <a:pt x="77" y="428"/>
                    <a:pt x="85" y="428"/>
                    <a:pt x="94" y="462"/>
                  </a:cubicBezTo>
                  <a:cubicBezTo>
                    <a:pt x="102" y="488"/>
                    <a:pt x="102" y="471"/>
                    <a:pt x="128" y="497"/>
                  </a:cubicBezTo>
                  <a:cubicBezTo>
                    <a:pt x="154" y="522"/>
                    <a:pt x="111" y="539"/>
                    <a:pt x="111" y="557"/>
                  </a:cubicBezTo>
                  <a:cubicBezTo>
                    <a:pt x="102" y="565"/>
                    <a:pt x="68" y="583"/>
                    <a:pt x="60" y="583"/>
                  </a:cubicBezTo>
                  <a:cubicBezTo>
                    <a:pt x="42" y="583"/>
                    <a:pt x="25" y="591"/>
                    <a:pt x="17" y="600"/>
                  </a:cubicBezTo>
                  <a:cubicBezTo>
                    <a:pt x="0" y="608"/>
                    <a:pt x="25" y="625"/>
                    <a:pt x="34" y="651"/>
                  </a:cubicBezTo>
                  <a:cubicBezTo>
                    <a:pt x="42" y="668"/>
                    <a:pt x="60" y="660"/>
                    <a:pt x="68" y="668"/>
                  </a:cubicBezTo>
                  <a:cubicBezTo>
                    <a:pt x="85" y="668"/>
                    <a:pt x="85" y="685"/>
                    <a:pt x="102" y="711"/>
                  </a:cubicBezTo>
                  <a:cubicBezTo>
                    <a:pt x="111" y="728"/>
                    <a:pt x="77" y="745"/>
                    <a:pt x="60" y="754"/>
                  </a:cubicBezTo>
                  <a:cubicBezTo>
                    <a:pt x="51" y="763"/>
                    <a:pt x="42" y="771"/>
                    <a:pt x="51" y="805"/>
                  </a:cubicBezTo>
                  <a:cubicBezTo>
                    <a:pt x="60" y="831"/>
                    <a:pt x="120" y="865"/>
                    <a:pt x="145" y="874"/>
                  </a:cubicBezTo>
                  <a:cubicBezTo>
                    <a:pt x="171" y="891"/>
                    <a:pt x="214" y="891"/>
                    <a:pt x="223" y="900"/>
                  </a:cubicBezTo>
                  <a:cubicBezTo>
                    <a:pt x="231" y="917"/>
                    <a:pt x="205" y="951"/>
                    <a:pt x="179" y="968"/>
                  </a:cubicBezTo>
                  <a:cubicBezTo>
                    <a:pt x="171" y="977"/>
                    <a:pt x="171" y="994"/>
                    <a:pt x="179" y="1011"/>
                  </a:cubicBezTo>
                  <a:cubicBezTo>
                    <a:pt x="214" y="1003"/>
                    <a:pt x="240" y="994"/>
                    <a:pt x="257" y="985"/>
                  </a:cubicBezTo>
                  <a:cubicBezTo>
                    <a:pt x="291" y="977"/>
                    <a:pt x="308" y="968"/>
                    <a:pt x="334" y="942"/>
                  </a:cubicBezTo>
                  <a:cubicBezTo>
                    <a:pt x="360" y="908"/>
                    <a:pt x="360" y="900"/>
                    <a:pt x="385" y="874"/>
                  </a:cubicBezTo>
                  <a:cubicBezTo>
                    <a:pt x="402" y="848"/>
                    <a:pt x="419" y="823"/>
                    <a:pt x="445" y="823"/>
                  </a:cubicBezTo>
                  <a:cubicBezTo>
                    <a:pt x="471" y="814"/>
                    <a:pt x="497" y="823"/>
                    <a:pt x="522" y="831"/>
                  </a:cubicBezTo>
                  <a:cubicBezTo>
                    <a:pt x="540" y="831"/>
                    <a:pt x="565" y="848"/>
                    <a:pt x="582" y="857"/>
                  </a:cubicBezTo>
                  <a:cubicBezTo>
                    <a:pt x="600" y="865"/>
                    <a:pt x="651" y="908"/>
                    <a:pt x="677" y="917"/>
                  </a:cubicBezTo>
                  <a:cubicBezTo>
                    <a:pt x="694" y="917"/>
                    <a:pt x="779" y="960"/>
                    <a:pt x="779" y="1003"/>
                  </a:cubicBezTo>
                  <a:cubicBezTo>
                    <a:pt x="787" y="1054"/>
                    <a:pt x="787" y="1080"/>
                    <a:pt x="796" y="1097"/>
                  </a:cubicBezTo>
                  <a:cubicBezTo>
                    <a:pt x="804" y="1122"/>
                    <a:pt x="838" y="1182"/>
                    <a:pt x="830" y="1208"/>
                  </a:cubicBezTo>
                  <a:cubicBezTo>
                    <a:pt x="830" y="1243"/>
                    <a:pt x="821" y="1260"/>
                    <a:pt x="838" y="1260"/>
                  </a:cubicBezTo>
                  <a:cubicBezTo>
                    <a:pt x="856" y="1260"/>
                    <a:pt x="890" y="1268"/>
                    <a:pt x="890" y="1277"/>
                  </a:cubicBezTo>
                  <a:cubicBezTo>
                    <a:pt x="890" y="1294"/>
                    <a:pt x="881" y="1294"/>
                    <a:pt x="890" y="1303"/>
                  </a:cubicBezTo>
                  <a:cubicBezTo>
                    <a:pt x="907" y="1303"/>
                    <a:pt x="924" y="1294"/>
                    <a:pt x="933" y="1320"/>
                  </a:cubicBezTo>
                  <a:cubicBezTo>
                    <a:pt x="950" y="1354"/>
                    <a:pt x="993" y="1380"/>
                    <a:pt x="984" y="1397"/>
                  </a:cubicBezTo>
                  <a:cubicBezTo>
                    <a:pt x="976" y="1414"/>
                    <a:pt x="950" y="1422"/>
                    <a:pt x="967" y="1422"/>
                  </a:cubicBezTo>
                  <a:cubicBezTo>
                    <a:pt x="984" y="1422"/>
                    <a:pt x="1079" y="1431"/>
                    <a:pt x="1104" y="1457"/>
                  </a:cubicBezTo>
                  <a:cubicBezTo>
                    <a:pt x="1121" y="1483"/>
                    <a:pt x="1096" y="1500"/>
                    <a:pt x="1113" y="1508"/>
                  </a:cubicBezTo>
                  <a:cubicBezTo>
                    <a:pt x="1130" y="1525"/>
                    <a:pt x="1207" y="1560"/>
                    <a:pt x="1207" y="1585"/>
                  </a:cubicBezTo>
                  <a:cubicBezTo>
                    <a:pt x="1216" y="1611"/>
                    <a:pt x="1259" y="1628"/>
                    <a:pt x="1284" y="1663"/>
                  </a:cubicBezTo>
                  <a:cubicBezTo>
                    <a:pt x="1310" y="1688"/>
                    <a:pt x="1378" y="1714"/>
                    <a:pt x="1396" y="1731"/>
                  </a:cubicBezTo>
                  <a:cubicBezTo>
                    <a:pt x="1413" y="1740"/>
                    <a:pt x="1413" y="1748"/>
                    <a:pt x="1439" y="1748"/>
                  </a:cubicBezTo>
                  <a:cubicBezTo>
                    <a:pt x="1456" y="1740"/>
                    <a:pt x="1490" y="1740"/>
                    <a:pt x="1507" y="1748"/>
                  </a:cubicBezTo>
                  <a:cubicBezTo>
                    <a:pt x="1524" y="1748"/>
                    <a:pt x="1541" y="1731"/>
                    <a:pt x="1567" y="1748"/>
                  </a:cubicBezTo>
                  <a:cubicBezTo>
                    <a:pt x="1593" y="1765"/>
                    <a:pt x="1627" y="1825"/>
                    <a:pt x="1636" y="1842"/>
                  </a:cubicBezTo>
                  <a:cubicBezTo>
                    <a:pt x="1644" y="1860"/>
                    <a:pt x="1670" y="1868"/>
                    <a:pt x="1687" y="1868"/>
                  </a:cubicBezTo>
                  <a:cubicBezTo>
                    <a:pt x="1704" y="1868"/>
                    <a:pt x="1739" y="1868"/>
                    <a:pt x="1739" y="1886"/>
                  </a:cubicBezTo>
                  <a:cubicBezTo>
                    <a:pt x="1730" y="1903"/>
                    <a:pt x="1713" y="1928"/>
                    <a:pt x="1739" y="1920"/>
                  </a:cubicBezTo>
                  <a:cubicBezTo>
                    <a:pt x="1756" y="1920"/>
                    <a:pt x="1816" y="1903"/>
                    <a:pt x="1824" y="1911"/>
                  </a:cubicBezTo>
                  <a:cubicBezTo>
                    <a:pt x="1824" y="1911"/>
                    <a:pt x="1867" y="1963"/>
                    <a:pt x="1867" y="1980"/>
                  </a:cubicBezTo>
                  <a:cubicBezTo>
                    <a:pt x="1867" y="1997"/>
                    <a:pt x="1858" y="2023"/>
                    <a:pt x="1876" y="2031"/>
                  </a:cubicBezTo>
                  <a:cubicBezTo>
                    <a:pt x="1893" y="2040"/>
                    <a:pt x="1902" y="2040"/>
                    <a:pt x="1927" y="2057"/>
                  </a:cubicBezTo>
                  <a:cubicBezTo>
                    <a:pt x="1944" y="2082"/>
                    <a:pt x="1953" y="2100"/>
                    <a:pt x="1970" y="2082"/>
                  </a:cubicBezTo>
                  <a:cubicBezTo>
                    <a:pt x="1996" y="2074"/>
                    <a:pt x="1996" y="2048"/>
                    <a:pt x="2013" y="2057"/>
                  </a:cubicBezTo>
                  <a:cubicBezTo>
                    <a:pt x="2030" y="2074"/>
                    <a:pt x="2064" y="2134"/>
                    <a:pt x="2081" y="2168"/>
                  </a:cubicBezTo>
                  <a:cubicBezTo>
                    <a:pt x="2090" y="2211"/>
                    <a:pt x="2124" y="2237"/>
                    <a:pt x="2124" y="2263"/>
                  </a:cubicBezTo>
                  <a:cubicBezTo>
                    <a:pt x="2133" y="2288"/>
                    <a:pt x="2150" y="2348"/>
                    <a:pt x="2159" y="2357"/>
                  </a:cubicBezTo>
                  <a:cubicBezTo>
                    <a:pt x="2167" y="2366"/>
                    <a:pt x="2201" y="2366"/>
                    <a:pt x="2184" y="2408"/>
                  </a:cubicBezTo>
                  <a:cubicBezTo>
                    <a:pt x="2176" y="2451"/>
                    <a:pt x="2184" y="2460"/>
                    <a:pt x="2167" y="2460"/>
                  </a:cubicBezTo>
                  <a:cubicBezTo>
                    <a:pt x="2159" y="2460"/>
                    <a:pt x="2107" y="2477"/>
                    <a:pt x="2116" y="2494"/>
                  </a:cubicBezTo>
                  <a:cubicBezTo>
                    <a:pt x="2116" y="2503"/>
                    <a:pt x="2124" y="2503"/>
                    <a:pt x="2124" y="2537"/>
                  </a:cubicBezTo>
                  <a:cubicBezTo>
                    <a:pt x="2116" y="2563"/>
                    <a:pt x="2098" y="2588"/>
                    <a:pt x="2090" y="2597"/>
                  </a:cubicBezTo>
                  <a:cubicBezTo>
                    <a:pt x="2081" y="2606"/>
                    <a:pt x="2073" y="2631"/>
                    <a:pt x="2073" y="2640"/>
                  </a:cubicBezTo>
                  <a:cubicBezTo>
                    <a:pt x="2073" y="2657"/>
                    <a:pt x="2073" y="2708"/>
                    <a:pt x="2098" y="2708"/>
                  </a:cubicBezTo>
                  <a:cubicBezTo>
                    <a:pt x="2133" y="2708"/>
                    <a:pt x="2184" y="2708"/>
                    <a:pt x="2184" y="2683"/>
                  </a:cubicBezTo>
                  <a:cubicBezTo>
                    <a:pt x="2184" y="2657"/>
                    <a:pt x="2184" y="2648"/>
                    <a:pt x="2193" y="2631"/>
                  </a:cubicBezTo>
                  <a:cubicBezTo>
                    <a:pt x="2210" y="2614"/>
                    <a:pt x="2244" y="2563"/>
                    <a:pt x="2253" y="2563"/>
                  </a:cubicBezTo>
                  <a:cubicBezTo>
                    <a:pt x="2270" y="2554"/>
                    <a:pt x="2287" y="2537"/>
                    <a:pt x="2279" y="2520"/>
                  </a:cubicBezTo>
                  <a:cubicBezTo>
                    <a:pt x="2279" y="2494"/>
                    <a:pt x="2261" y="2451"/>
                    <a:pt x="2270" y="2434"/>
                  </a:cubicBezTo>
                  <a:cubicBezTo>
                    <a:pt x="2279" y="2425"/>
                    <a:pt x="2338" y="2366"/>
                    <a:pt x="2356" y="2366"/>
                  </a:cubicBezTo>
                  <a:cubicBezTo>
                    <a:pt x="2364" y="2357"/>
                    <a:pt x="2416" y="2374"/>
                    <a:pt x="2407" y="2357"/>
                  </a:cubicBezTo>
                  <a:cubicBezTo>
                    <a:pt x="2399" y="2331"/>
                    <a:pt x="2390" y="2288"/>
                    <a:pt x="2390" y="2280"/>
                  </a:cubicBezTo>
                  <a:cubicBezTo>
                    <a:pt x="2390" y="2263"/>
                    <a:pt x="2390" y="2228"/>
                    <a:pt x="2364" y="2220"/>
                  </a:cubicBezTo>
                  <a:cubicBezTo>
                    <a:pt x="2347" y="2203"/>
                    <a:pt x="2304" y="2177"/>
                    <a:pt x="2296" y="2177"/>
                  </a:cubicBezTo>
                  <a:cubicBezTo>
                    <a:pt x="2279" y="2177"/>
                    <a:pt x="2227" y="2143"/>
                    <a:pt x="2227" y="2117"/>
                  </a:cubicBezTo>
                  <a:cubicBezTo>
                    <a:pt x="2227" y="2091"/>
                    <a:pt x="2253" y="2091"/>
                    <a:pt x="2253" y="2057"/>
                  </a:cubicBezTo>
                  <a:cubicBezTo>
                    <a:pt x="2253" y="2031"/>
                    <a:pt x="2270" y="1971"/>
                    <a:pt x="2279" y="1945"/>
                  </a:cubicBezTo>
                  <a:cubicBezTo>
                    <a:pt x="2296" y="1928"/>
                    <a:pt x="2330" y="1886"/>
                    <a:pt x="2356" y="1894"/>
                  </a:cubicBezTo>
                  <a:cubicBezTo>
                    <a:pt x="2373" y="1911"/>
                    <a:pt x="2382" y="1928"/>
                    <a:pt x="2399" y="1937"/>
                  </a:cubicBezTo>
                  <a:cubicBezTo>
                    <a:pt x="2407" y="1937"/>
                    <a:pt x="2484" y="1945"/>
                    <a:pt x="2510" y="1945"/>
                  </a:cubicBezTo>
                  <a:cubicBezTo>
                    <a:pt x="2544" y="1945"/>
                    <a:pt x="2561" y="1980"/>
                    <a:pt x="2561" y="1997"/>
                  </a:cubicBezTo>
                  <a:cubicBezTo>
                    <a:pt x="2561" y="2014"/>
                    <a:pt x="2561" y="2040"/>
                    <a:pt x="2587" y="2057"/>
                  </a:cubicBezTo>
                  <a:cubicBezTo>
                    <a:pt x="2613" y="2065"/>
                    <a:pt x="2639" y="2082"/>
                    <a:pt x="2656" y="2074"/>
                  </a:cubicBezTo>
                  <a:cubicBezTo>
                    <a:pt x="2664" y="2057"/>
                    <a:pt x="2664" y="2031"/>
                    <a:pt x="2673" y="2014"/>
                  </a:cubicBezTo>
                  <a:cubicBezTo>
                    <a:pt x="2681" y="1997"/>
                    <a:pt x="2681" y="1971"/>
                    <a:pt x="2664" y="1945"/>
                  </a:cubicBezTo>
                  <a:cubicBezTo>
                    <a:pt x="2639" y="1920"/>
                    <a:pt x="2613" y="1903"/>
                    <a:pt x="2596" y="1886"/>
                  </a:cubicBezTo>
                  <a:cubicBezTo>
                    <a:pt x="2570" y="1868"/>
                    <a:pt x="2561" y="1860"/>
                    <a:pt x="2553" y="1842"/>
                  </a:cubicBezTo>
                  <a:cubicBezTo>
                    <a:pt x="2536" y="1834"/>
                    <a:pt x="2459" y="1808"/>
                    <a:pt x="2424" y="1791"/>
                  </a:cubicBezTo>
                  <a:cubicBezTo>
                    <a:pt x="2390" y="1774"/>
                    <a:pt x="2347" y="1740"/>
                    <a:pt x="2313" y="1723"/>
                  </a:cubicBezTo>
                  <a:cubicBezTo>
                    <a:pt x="2279" y="1714"/>
                    <a:pt x="2090" y="1671"/>
                    <a:pt x="2064" y="1637"/>
                  </a:cubicBezTo>
                  <a:cubicBezTo>
                    <a:pt x="2047" y="1611"/>
                    <a:pt x="2030" y="1611"/>
                    <a:pt x="2039" y="1602"/>
                  </a:cubicBezTo>
                  <a:cubicBezTo>
                    <a:pt x="2056" y="1585"/>
                    <a:pt x="2116" y="1551"/>
                    <a:pt x="2098" y="1534"/>
                  </a:cubicBezTo>
                  <a:cubicBezTo>
                    <a:pt x="2090" y="1508"/>
                    <a:pt x="2081" y="1500"/>
                    <a:pt x="2073" y="1500"/>
                  </a:cubicBezTo>
                  <a:cubicBezTo>
                    <a:pt x="2064" y="1500"/>
                    <a:pt x="1979" y="1508"/>
                    <a:pt x="1961" y="1508"/>
                  </a:cubicBezTo>
                  <a:cubicBezTo>
                    <a:pt x="1944" y="1508"/>
                    <a:pt x="1876" y="1525"/>
                    <a:pt x="1858" y="1517"/>
                  </a:cubicBezTo>
                  <a:cubicBezTo>
                    <a:pt x="1841" y="1508"/>
                    <a:pt x="1824" y="1500"/>
                    <a:pt x="1807" y="1491"/>
                  </a:cubicBezTo>
                  <a:cubicBezTo>
                    <a:pt x="1799" y="1491"/>
                    <a:pt x="1790" y="1474"/>
                    <a:pt x="1773" y="1457"/>
                  </a:cubicBezTo>
                  <a:cubicBezTo>
                    <a:pt x="1756" y="1440"/>
                    <a:pt x="1704" y="1414"/>
                    <a:pt x="1670" y="1371"/>
                  </a:cubicBezTo>
                  <a:cubicBezTo>
                    <a:pt x="1636" y="1328"/>
                    <a:pt x="1601" y="1320"/>
                    <a:pt x="1584" y="1260"/>
                  </a:cubicBezTo>
                  <a:cubicBezTo>
                    <a:pt x="1567" y="1191"/>
                    <a:pt x="1524" y="1105"/>
                    <a:pt x="1507" y="1071"/>
                  </a:cubicBezTo>
                  <a:cubicBezTo>
                    <a:pt x="1490" y="1037"/>
                    <a:pt x="1481" y="1037"/>
                    <a:pt x="1456" y="1028"/>
                  </a:cubicBezTo>
                  <a:cubicBezTo>
                    <a:pt x="1430" y="1020"/>
                    <a:pt x="1353" y="968"/>
                    <a:pt x="1327" y="951"/>
                  </a:cubicBezTo>
                  <a:cubicBezTo>
                    <a:pt x="1301" y="925"/>
                    <a:pt x="1241" y="900"/>
                    <a:pt x="1241" y="882"/>
                  </a:cubicBezTo>
                  <a:cubicBezTo>
                    <a:pt x="1233" y="857"/>
                    <a:pt x="1182" y="797"/>
                    <a:pt x="1190" y="788"/>
                  </a:cubicBezTo>
                  <a:cubicBezTo>
                    <a:pt x="1199" y="771"/>
                    <a:pt x="1216" y="780"/>
                    <a:pt x="1207" y="763"/>
                  </a:cubicBezTo>
                  <a:cubicBezTo>
                    <a:pt x="1199" y="745"/>
                    <a:pt x="1182" y="720"/>
                    <a:pt x="1199" y="702"/>
                  </a:cubicBezTo>
                  <a:cubicBezTo>
                    <a:pt x="1207" y="685"/>
                    <a:pt x="1224" y="685"/>
                    <a:pt x="1233" y="668"/>
                  </a:cubicBezTo>
                  <a:cubicBezTo>
                    <a:pt x="1250" y="660"/>
                    <a:pt x="1267" y="651"/>
                    <a:pt x="1250" y="642"/>
                  </a:cubicBezTo>
                  <a:cubicBezTo>
                    <a:pt x="1224" y="625"/>
                    <a:pt x="1224" y="634"/>
                    <a:pt x="1216" y="617"/>
                  </a:cubicBezTo>
                  <a:cubicBezTo>
                    <a:pt x="1207" y="591"/>
                    <a:pt x="1216" y="583"/>
                    <a:pt x="1199" y="565"/>
                  </a:cubicBezTo>
                  <a:cubicBezTo>
                    <a:pt x="1182" y="548"/>
                    <a:pt x="1173" y="531"/>
                    <a:pt x="1182" y="522"/>
                  </a:cubicBezTo>
                  <a:cubicBezTo>
                    <a:pt x="1199" y="505"/>
                    <a:pt x="1173" y="505"/>
                    <a:pt x="1207" y="488"/>
                  </a:cubicBezTo>
                  <a:cubicBezTo>
                    <a:pt x="1233" y="480"/>
                    <a:pt x="1241" y="454"/>
                    <a:pt x="1241" y="462"/>
                  </a:cubicBezTo>
                  <a:cubicBezTo>
                    <a:pt x="1241" y="471"/>
                    <a:pt x="1216" y="488"/>
                    <a:pt x="1233" y="488"/>
                  </a:cubicBezTo>
                  <a:cubicBezTo>
                    <a:pt x="1259" y="480"/>
                    <a:pt x="1276" y="471"/>
                    <a:pt x="1301" y="454"/>
                  </a:cubicBezTo>
                  <a:cubicBezTo>
                    <a:pt x="1336" y="445"/>
                    <a:pt x="1361" y="454"/>
                    <a:pt x="1370" y="437"/>
                  </a:cubicBezTo>
                  <a:cubicBezTo>
                    <a:pt x="1370" y="420"/>
                    <a:pt x="1361" y="394"/>
                    <a:pt x="1378" y="394"/>
                  </a:cubicBezTo>
                  <a:cubicBezTo>
                    <a:pt x="1396" y="402"/>
                    <a:pt x="1422" y="428"/>
                    <a:pt x="1430" y="420"/>
                  </a:cubicBezTo>
                  <a:cubicBezTo>
                    <a:pt x="1439" y="420"/>
                    <a:pt x="1447" y="411"/>
                    <a:pt x="1464" y="411"/>
                  </a:cubicBezTo>
                  <a:cubicBezTo>
                    <a:pt x="1464" y="394"/>
                    <a:pt x="1473" y="377"/>
                    <a:pt x="1473" y="360"/>
                  </a:cubicBezTo>
                  <a:cubicBezTo>
                    <a:pt x="1490" y="334"/>
                    <a:pt x="1473" y="343"/>
                    <a:pt x="1439" y="325"/>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7" name="Freeform 88"/>
            <p:cNvSpPr>
              <a:spLocks noChangeArrowheads="1"/>
            </p:cNvSpPr>
            <p:nvPr/>
          </p:nvSpPr>
          <p:spPr bwMode="auto">
            <a:xfrm>
              <a:off x="2466975" y="3273425"/>
              <a:ext cx="68263" cy="117475"/>
            </a:xfrm>
            <a:custGeom>
              <a:avLst/>
              <a:gdLst>
                <a:gd name="T0" fmla="*/ 2147483647 w 190"/>
                <a:gd name="T1" fmla="*/ 2147483647 h 326"/>
                <a:gd name="T2" fmla="*/ 2147483647 w 190"/>
                <a:gd name="T3" fmla="*/ 2147483647 h 326"/>
                <a:gd name="T4" fmla="*/ 2147483647 w 190"/>
                <a:gd name="T5" fmla="*/ 2147483647 h 326"/>
                <a:gd name="T6" fmla="*/ 2147483647 w 190"/>
                <a:gd name="T7" fmla="*/ 2147483647 h 326"/>
                <a:gd name="T8" fmla="*/ 2147483647 w 190"/>
                <a:gd name="T9" fmla="*/ 2147483647 h 326"/>
                <a:gd name="T10" fmla="*/ 2147483647 w 190"/>
                <a:gd name="T11" fmla="*/ 2147483647 h 326"/>
                <a:gd name="T12" fmla="*/ 2147483647 w 190"/>
                <a:gd name="T13" fmla="*/ 2147483647 h 326"/>
                <a:gd name="T14" fmla="*/ 2147483647 w 190"/>
                <a:gd name="T15" fmla="*/ 0 h 326"/>
                <a:gd name="T16" fmla="*/ 2147483647 w 190"/>
                <a:gd name="T17" fmla="*/ 2147483647 h 326"/>
                <a:gd name="T18" fmla="*/ 2147483647 w 190"/>
                <a:gd name="T19" fmla="*/ 2147483647 h 326"/>
                <a:gd name="T20" fmla="*/ 2147483647 w 190"/>
                <a:gd name="T21" fmla="*/ 2147483647 h 326"/>
                <a:gd name="T22" fmla="*/ 2147483647 w 190"/>
                <a:gd name="T23" fmla="*/ 2147483647 h 326"/>
                <a:gd name="T24" fmla="*/ 0 w 190"/>
                <a:gd name="T25" fmla="*/ 2147483647 h 326"/>
                <a:gd name="T26" fmla="*/ 2147483647 w 190"/>
                <a:gd name="T27" fmla="*/ 2147483647 h 326"/>
                <a:gd name="T28" fmla="*/ 2147483647 w 190"/>
                <a:gd name="T29" fmla="*/ 2147483647 h 326"/>
                <a:gd name="T30" fmla="*/ 2147483647 w 190"/>
                <a:gd name="T31" fmla="*/ 2147483647 h 326"/>
                <a:gd name="T32" fmla="*/ 2147483647 w 190"/>
                <a:gd name="T33" fmla="*/ 2147483647 h 326"/>
                <a:gd name="T34" fmla="*/ 2147483647 w 190"/>
                <a:gd name="T35" fmla="*/ 2147483647 h 3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0"/>
                <a:gd name="T55" fmla="*/ 0 h 326"/>
                <a:gd name="T56" fmla="*/ 190 w 190"/>
                <a:gd name="T57" fmla="*/ 326 h 3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0" h="326">
                  <a:moveTo>
                    <a:pt x="146" y="282"/>
                  </a:moveTo>
                  <a:lnTo>
                    <a:pt x="146" y="282"/>
                  </a:lnTo>
                  <a:cubicBezTo>
                    <a:pt x="155" y="248"/>
                    <a:pt x="172" y="256"/>
                    <a:pt x="180" y="248"/>
                  </a:cubicBezTo>
                  <a:cubicBezTo>
                    <a:pt x="180" y="248"/>
                    <a:pt x="180" y="231"/>
                    <a:pt x="180" y="215"/>
                  </a:cubicBezTo>
                  <a:cubicBezTo>
                    <a:pt x="189" y="197"/>
                    <a:pt x="180" y="180"/>
                    <a:pt x="180" y="163"/>
                  </a:cubicBezTo>
                  <a:cubicBezTo>
                    <a:pt x="172" y="146"/>
                    <a:pt x="155" y="146"/>
                    <a:pt x="137" y="137"/>
                  </a:cubicBezTo>
                  <a:cubicBezTo>
                    <a:pt x="120" y="129"/>
                    <a:pt x="95" y="77"/>
                    <a:pt x="86" y="60"/>
                  </a:cubicBezTo>
                  <a:cubicBezTo>
                    <a:pt x="77" y="43"/>
                    <a:pt x="77" y="17"/>
                    <a:pt x="77" y="0"/>
                  </a:cubicBezTo>
                  <a:cubicBezTo>
                    <a:pt x="69" y="17"/>
                    <a:pt x="35" y="26"/>
                    <a:pt x="26" y="43"/>
                  </a:cubicBezTo>
                  <a:cubicBezTo>
                    <a:pt x="18" y="60"/>
                    <a:pt x="9" y="112"/>
                    <a:pt x="26" y="137"/>
                  </a:cubicBezTo>
                  <a:cubicBezTo>
                    <a:pt x="35" y="155"/>
                    <a:pt x="26" y="163"/>
                    <a:pt x="26" y="172"/>
                  </a:cubicBezTo>
                  <a:cubicBezTo>
                    <a:pt x="26" y="189"/>
                    <a:pt x="35" y="189"/>
                    <a:pt x="26" y="206"/>
                  </a:cubicBezTo>
                  <a:cubicBezTo>
                    <a:pt x="18" y="206"/>
                    <a:pt x="9" y="231"/>
                    <a:pt x="0" y="239"/>
                  </a:cubicBezTo>
                  <a:cubicBezTo>
                    <a:pt x="9" y="239"/>
                    <a:pt x="26" y="231"/>
                    <a:pt x="35" y="231"/>
                  </a:cubicBezTo>
                  <a:cubicBezTo>
                    <a:pt x="60" y="231"/>
                    <a:pt x="60" y="231"/>
                    <a:pt x="77" y="248"/>
                  </a:cubicBezTo>
                  <a:cubicBezTo>
                    <a:pt x="103" y="265"/>
                    <a:pt x="112" y="299"/>
                    <a:pt x="120" y="308"/>
                  </a:cubicBezTo>
                  <a:cubicBezTo>
                    <a:pt x="129" y="308"/>
                    <a:pt x="137" y="325"/>
                    <a:pt x="146" y="316"/>
                  </a:cubicBezTo>
                  <a:cubicBezTo>
                    <a:pt x="146" y="308"/>
                    <a:pt x="146" y="299"/>
                    <a:pt x="146" y="282"/>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8" name="Freeform 89"/>
            <p:cNvSpPr>
              <a:spLocks noChangeArrowheads="1"/>
            </p:cNvSpPr>
            <p:nvPr/>
          </p:nvSpPr>
          <p:spPr bwMode="auto">
            <a:xfrm>
              <a:off x="2293938" y="2936875"/>
              <a:ext cx="263525" cy="290513"/>
            </a:xfrm>
            <a:custGeom>
              <a:avLst/>
              <a:gdLst>
                <a:gd name="T0" fmla="*/ 2147483647 w 730"/>
                <a:gd name="T1" fmla="*/ 2147483647 h 807"/>
                <a:gd name="T2" fmla="*/ 2147483647 w 730"/>
                <a:gd name="T3" fmla="*/ 2147483647 h 807"/>
                <a:gd name="T4" fmla="*/ 2147483647 w 730"/>
                <a:gd name="T5" fmla="*/ 2147483647 h 807"/>
                <a:gd name="T6" fmla="*/ 2147483647 w 730"/>
                <a:gd name="T7" fmla="*/ 2147483647 h 807"/>
                <a:gd name="T8" fmla="*/ 2147483647 w 730"/>
                <a:gd name="T9" fmla="*/ 2147483647 h 807"/>
                <a:gd name="T10" fmla="*/ 2147483647 w 730"/>
                <a:gd name="T11" fmla="*/ 2147483647 h 807"/>
                <a:gd name="T12" fmla="*/ 2147483647 w 730"/>
                <a:gd name="T13" fmla="*/ 2147483647 h 807"/>
                <a:gd name="T14" fmla="*/ 2147483647 w 730"/>
                <a:gd name="T15" fmla="*/ 2147483647 h 807"/>
                <a:gd name="T16" fmla="*/ 2147483647 w 730"/>
                <a:gd name="T17" fmla="*/ 2147483647 h 807"/>
                <a:gd name="T18" fmla="*/ 2147483647 w 730"/>
                <a:gd name="T19" fmla="*/ 2147483647 h 807"/>
                <a:gd name="T20" fmla="*/ 2147483647 w 730"/>
                <a:gd name="T21" fmla="*/ 2147483647 h 807"/>
                <a:gd name="T22" fmla="*/ 2147483647 w 730"/>
                <a:gd name="T23" fmla="*/ 2147483647 h 807"/>
                <a:gd name="T24" fmla="*/ 2147483647 w 730"/>
                <a:gd name="T25" fmla="*/ 2147483647 h 807"/>
                <a:gd name="T26" fmla="*/ 2147483647 w 730"/>
                <a:gd name="T27" fmla="*/ 2147483647 h 807"/>
                <a:gd name="T28" fmla="*/ 2147483647 w 730"/>
                <a:gd name="T29" fmla="*/ 2147483647 h 807"/>
                <a:gd name="T30" fmla="*/ 2147483647 w 730"/>
                <a:gd name="T31" fmla="*/ 2147483647 h 807"/>
                <a:gd name="T32" fmla="*/ 2147483647 w 730"/>
                <a:gd name="T33" fmla="*/ 2147483647 h 807"/>
                <a:gd name="T34" fmla="*/ 2147483647 w 730"/>
                <a:gd name="T35" fmla="*/ 2147483647 h 807"/>
                <a:gd name="T36" fmla="*/ 2147483647 w 730"/>
                <a:gd name="T37" fmla="*/ 2147483647 h 807"/>
                <a:gd name="T38" fmla="*/ 2147483647 w 730"/>
                <a:gd name="T39" fmla="*/ 2147483647 h 807"/>
                <a:gd name="T40" fmla="*/ 2147483647 w 730"/>
                <a:gd name="T41" fmla="*/ 2147483647 h 807"/>
                <a:gd name="T42" fmla="*/ 2147483647 w 730"/>
                <a:gd name="T43" fmla="*/ 2147483647 h 807"/>
                <a:gd name="T44" fmla="*/ 2147483647 w 730"/>
                <a:gd name="T45" fmla="*/ 2147483647 h 807"/>
                <a:gd name="T46" fmla="*/ 2147483647 w 730"/>
                <a:gd name="T47" fmla="*/ 2147483647 h 807"/>
                <a:gd name="T48" fmla="*/ 2147483647 w 730"/>
                <a:gd name="T49" fmla="*/ 2147483647 h 807"/>
                <a:gd name="T50" fmla="*/ 2147483647 w 730"/>
                <a:gd name="T51" fmla="*/ 2147483647 h 807"/>
                <a:gd name="T52" fmla="*/ 2147483647 w 730"/>
                <a:gd name="T53" fmla="*/ 2147483647 h 807"/>
                <a:gd name="T54" fmla="*/ 2147483647 w 730"/>
                <a:gd name="T55" fmla="*/ 2147483647 h 807"/>
                <a:gd name="T56" fmla="*/ 2147483647 w 730"/>
                <a:gd name="T57" fmla="*/ 2147483647 h 807"/>
                <a:gd name="T58" fmla="*/ 2147483647 w 730"/>
                <a:gd name="T59" fmla="*/ 2147483647 h 807"/>
                <a:gd name="T60" fmla="*/ 2147483647 w 730"/>
                <a:gd name="T61" fmla="*/ 2147483647 h 807"/>
                <a:gd name="T62" fmla="*/ 2147483647 w 730"/>
                <a:gd name="T63" fmla="*/ 2147483647 h 807"/>
                <a:gd name="T64" fmla="*/ 2147483647 w 730"/>
                <a:gd name="T65" fmla="*/ 2147483647 h 807"/>
                <a:gd name="T66" fmla="*/ 2147483647 w 730"/>
                <a:gd name="T67" fmla="*/ 2147483647 h 807"/>
                <a:gd name="T68" fmla="*/ 2147483647 w 730"/>
                <a:gd name="T69" fmla="*/ 2147483647 h 807"/>
                <a:gd name="T70" fmla="*/ 2147483647 w 730"/>
                <a:gd name="T71" fmla="*/ 2147483647 h 807"/>
                <a:gd name="T72" fmla="*/ 2147483647 w 730"/>
                <a:gd name="T73" fmla="*/ 2147483647 h 807"/>
                <a:gd name="T74" fmla="*/ 2147483647 w 730"/>
                <a:gd name="T75" fmla="*/ 2147483647 h 807"/>
                <a:gd name="T76" fmla="*/ 2147483647 w 730"/>
                <a:gd name="T77" fmla="*/ 0 h 807"/>
                <a:gd name="T78" fmla="*/ 2147483647 w 730"/>
                <a:gd name="T79" fmla="*/ 2147483647 h 807"/>
                <a:gd name="T80" fmla="*/ 2147483647 w 730"/>
                <a:gd name="T81" fmla="*/ 2147483647 h 807"/>
                <a:gd name="T82" fmla="*/ 2147483647 w 730"/>
                <a:gd name="T83" fmla="*/ 2147483647 h 807"/>
                <a:gd name="T84" fmla="*/ 2147483647 w 730"/>
                <a:gd name="T85" fmla="*/ 2147483647 h 807"/>
                <a:gd name="T86" fmla="*/ 2147483647 w 730"/>
                <a:gd name="T87" fmla="*/ 2147483647 h 807"/>
                <a:gd name="T88" fmla="*/ 2147483647 w 730"/>
                <a:gd name="T89" fmla="*/ 2147483647 h 807"/>
                <a:gd name="T90" fmla="*/ 2147483647 w 730"/>
                <a:gd name="T91" fmla="*/ 2147483647 h 807"/>
                <a:gd name="T92" fmla="*/ 2147483647 w 730"/>
                <a:gd name="T93" fmla="*/ 2147483647 h 807"/>
                <a:gd name="T94" fmla="*/ 2147483647 w 730"/>
                <a:gd name="T95" fmla="*/ 2147483647 h 807"/>
                <a:gd name="T96" fmla="*/ 2147483647 w 730"/>
                <a:gd name="T97" fmla="*/ 2147483647 h 807"/>
                <a:gd name="T98" fmla="*/ 2147483647 w 730"/>
                <a:gd name="T99" fmla="*/ 2147483647 h 807"/>
                <a:gd name="T100" fmla="*/ 2147483647 w 730"/>
                <a:gd name="T101" fmla="*/ 2147483647 h 807"/>
                <a:gd name="T102" fmla="*/ 2147483647 w 730"/>
                <a:gd name="T103" fmla="*/ 2147483647 h 807"/>
                <a:gd name="T104" fmla="*/ 2147483647 w 730"/>
                <a:gd name="T105" fmla="*/ 2147483647 h 807"/>
                <a:gd name="T106" fmla="*/ 0 w 730"/>
                <a:gd name="T107" fmla="*/ 2147483647 h 807"/>
                <a:gd name="T108" fmla="*/ 2147483647 w 730"/>
                <a:gd name="T109" fmla="*/ 2147483647 h 807"/>
                <a:gd name="T110" fmla="*/ 2147483647 w 730"/>
                <a:gd name="T111" fmla="*/ 2147483647 h 8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0"/>
                <a:gd name="T169" fmla="*/ 0 h 807"/>
                <a:gd name="T170" fmla="*/ 730 w 730"/>
                <a:gd name="T171" fmla="*/ 807 h 8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0" h="807">
                  <a:moveTo>
                    <a:pt x="52" y="617"/>
                  </a:moveTo>
                  <a:lnTo>
                    <a:pt x="52" y="617"/>
                  </a:lnTo>
                  <a:cubicBezTo>
                    <a:pt x="69" y="617"/>
                    <a:pt x="77" y="634"/>
                    <a:pt x="103" y="634"/>
                  </a:cubicBezTo>
                  <a:cubicBezTo>
                    <a:pt x="129" y="643"/>
                    <a:pt x="137" y="626"/>
                    <a:pt x="155" y="608"/>
                  </a:cubicBezTo>
                  <a:cubicBezTo>
                    <a:pt x="163" y="600"/>
                    <a:pt x="180" y="591"/>
                    <a:pt x="189" y="591"/>
                  </a:cubicBezTo>
                  <a:cubicBezTo>
                    <a:pt x="197" y="591"/>
                    <a:pt x="189" y="574"/>
                    <a:pt x="197" y="566"/>
                  </a:cubicBezTo>
                  <a:cubicBezTo>
                    <a:pt x="214" y="557"/>
                    <a:pt x="223" y="557"/>
                    <a:pt x="240" y="574"/>
                  </a:cubicBezTo>
                  <a:cubicBezTo>
                    <a:pt x="258" y="591"/>
                    <a:pt x="249" y="566"/>
                    <a:pt x="266" y="557"/>
                  </a:cubicBezTo>
                  <a:cubicBezTo>
                    <a:pt x="283" y="557"/>
                    <a:pt x="275" y="574"/>
                    <a:pt x="283" y="591"/>
                  </a:cubicBezTo>
                  <a:cubicBezTo>
                    <a:pt x="292" y="608"/>
                    <a:pt x="300" y="583"/>
                    <a:pt x="317" y="574"/>
                  </a:cubicBezTo>
                  <a:cubicBezTo>
                    <a:pt x="335" y="566"/>
                    <a:pt x="326" y="583"/>
                    <a:pt x="326" y="600"/>
                  </a:cubicBezTo>
                  <a:cubicBezTo>
                    <a:pt x="326" y="617"/>
                    <a:pt x="335" y="617"/>
                    <a:pt x="343" y="634"/>
                  </a:cubicBezTo>
                  <a:cubicBezTo>
                    <a:pt x="352" y="660"/>
                    <a:pt x="360" y="643"/>
                    <a:pt x="395" y="643"/>
                  </a:cubicBezTo>
                  <a:cubicBezTo>
                    <a:pt x="420" y="643"/>
                    <a:pt x="403" y="643"/>
                    <a:pt x="420" y="660"/>
                  </a:cubicBezTo>
                  <a:cubicBezTo>
                    <a:pt x="446" y="677"/>
                    <a:pt x="446" y="669"/>
                    <a:pt x="454" y="686"/>
                  </a:cubicBezTo>
                  <a:cubicBezTo>
                    <a:pt x="463" y="694"/>
                    <a:pt x="446" y="694"/>
                    <a:pt x="437" y="711"/>
                  </a:cubicBezTo>
                  <a:cubicBezTo>
                    <a:pt x="437" y="728"/>
                    <a:pt x="420" y="746"/>
                    <a:pt x="412" y="763"/>
                  </a:cubicBezTo>
                  <a:cubicBezTo>
                    <a:pt x="403" y="771"/>
                    <a:pt x="437" y="771"/>
                    <a:pt x="454" y="797"/>
                  </a:cubicBezTo>
                  <a:cubicBezTo>
                    <a:pt x="472" y="806"/>
                    <a:pt x="480" y="806"/>
                    <a:pt x="489" y="797"/>
                  </a:cubicBezTo>
                  <a:cubicBezTo>
                    <a:pt x="480" y="797"/>
                    <a:pt x="480" y="788"/>
                    <a:pt x="480" y="788"/>
                  </a:cubicBezTo>
                  <a:cubicBezTo>
                    <a:pt x="489" y="771"/>
                    <a:pt x="498" y="763"/>
                    <a:pt x="498" y="754"/>
                  </a:cubicBezTo>
                  <a:cubicBezTo>
                    <a:pt x="489" y="746"/>
                    <a:pt x="463" y="720"/>
                    <a:pt x="472" y="711"/>
                  </a:cubicBezTo>
                  <a:cubicBezTo>
                    <a:pt x="480" y="703"/>
                    <a:pt x="515" y="686"/>
                    <a:pt x="515" y="677"/>
                  </a:cubicBezTo>
                  <a:cubicBezTo>
                    <a:pt x="515" y="660"/>
                    <a:pt x="489" y="660"/>
                    <a:pt x="498" y="651"/>
                  </a:cubicBezTo>
                  <a:cubicBezTo>
                    <a:pt x="515" y="634"/>
                    <a:pt x="523" y="634"/>
                    <a:pt x="532" y="600"/>
                  </a:cubicBezTo>
                  <a:cubicBezTo>
                    <a:pt x="540" y="574"/>
                    <a:pt x="498" y="514"/>
                    <a:pt x="498" y="497"/>
                  </a:cubicBezTo>
                  <a:cubicBezTo>
                    <a:pt x="498" y="480"/>
                    <a:pt x="515" y="471"/>
                    <a:pt x="532" y="463"/>
                  </a:cubicBezTo>
                  <a:cubicBezTo>
                    <a:pt x="549" y="463"/>
                    <a:pt x="583" y="471"/>
                    <a:pt x="609" y="463"/>
                  </a:cubicBezTo>
                  <a:cubicBezTo>
                    <a:pt x="643" y="454"/>
                    <a:pt x="643" y="454"/>
                    <a:pt x="643" y="437"/>
                  </a:cubicBezTo>
                  <a:cubicBezTo>
                    <a:pt x="643" y="429"/>
                    <a:pt x="617" y="420"/>
                    <a:pt x="643" y="403"/>
                  </a:cubicBezTo>
                  <a:cubicBezTo>
                    <a:pt x="669" y="385"/>
                    <a:pt x="686" y="377"/>
                    <a:pt x="694" y="351"/>
                  </a:cubicBezTo>
                  <a:cubicBezTo>
                    <a:pt x="703" y="334"/>
                    <a:pt x="712" y="317"/>
                    <a:pt x="686" y="308"/>
                  </a:cubicBezTo>
                  <a:cubicBezTo>
                    <a:pt x="660" y="300"/>
                    <a:pt x="643" y="308"/>
                    <a:pt x="643" y="283"/>
                  </a:cubicBezTo>
                  <a:cubicBezTo>
                    <a:pt x="643" y="257"/>
                    <a:pt x="617" y="248"/>
                    <a:pt x="643" y="248"/>
                  </a:cubicBezTo>
                  <a:cubicBezTo>
                    <a:pt x="669" y="248"/>
                    <a:pt x="694" y="257"/>
                    <a:pt x="703" y="248"/>
                  </a:cubicBezTo>
                  <a:cubicBezTo>
                    <a:pt x="703" y="240"/>
                    <a:pt x="703" y="189"/>
                    <a:pt x="720" y="171"/>
                  </a:cubicBezTo>
                  <a:cubicBezTo>
                    <a:pt x="729" y="163"/>
                    <a:pt x="720" y="120"/>
                    <a:pt x="703" y="60"/>
                  </a:cubicBezTo>
                  <a:cubicBezTo>
                    <a:pt x="694" y="51"/>
                    <a:pt x="694" y="51"/>
                    <a:pt x="686" y="43"/>
                  </a:cubicBezTo>
                  <a:cubicBezTo>
                    <a:pt x="669" y="34"/>
                    <a:pt x="660" y="0"/>
                    <a:pt x="635" y="0"/>
                  </a:cubicBezTo>
                  <a:cubicBezTo>
                    <a:pt x="600" y="0"/>
                    <a:pt x="549" y="17"/>
                    <a:pt x="523" y="26"/>
                  </a:cubicBezTo>
                  <a:cubicBezTo>
                    <a:pt x="489" y="26"/>
                    <a:pt x="437" y="43"/>
                    <a:pt x="429" y="60"/>
                  </a:cubicBezTo>
                  <a:cubicBezTo>
                    <a:pt x="412" y="77"/>
                    <a:pt x="412" y="94"/>
                    <a:pt x="395" y="111"/>
                  </a:cubicBezTo>
                  <a:cubicBezTo>
                    <a:pt x="386" y="120"/>
                    <a:pt x="335" y="145"/>
                    <a:pt x="317" y="145"/>
                  </a:cubicBezTo>
                  <a:cubicBezTo>
                    <a:pt x="300" y="145"/>
                    <a:pt x="300" y="120"/>
                    <a:pt x="283" y="137"/>
                  </a:cubicBezTo>
                  <a:cubicBezTo>
                    <a:pt x="266" y="163"/>
                    <a:pt x="266" y="206"/>
                    <a:pt x="258" y="231"/>
                  </a:cubicBezTo>
                  <a:cubicBezTo>
                    <a:pt x="249" y="248"/>
                    <a:pt x="223" y="334"/>
                    <a:pt x="206" y="360"/>
                  </a:cubicBezTo>
                  <a:cubicBezTo>
                    <a:pt x="180" y="377"/>
                    <a:pt x="180" y="411"/>
                    <a:pt x="163" y="411"/>
                  </a:cubicBezTo>
                  <a:cubicBezTo>
                    <a:pt x="146" y="411"/>
                    <a:pt x="146" y="437"/>
                    <a:pt x="146" y="446"/>
                  </a:cubicBezTo>
                  <a:cubicBezTo>
                    <a:pt x="137" y="454"/>
                    <a:pt x="120" y="463"/>
                    <a:pt x="112" y="471"/>
                  </a:cubicBezTo>
                  <a:cubicBezTo>
                    <a:pt x="95" y="480"/>
                    <a:pt x="77" y="471"/>
                    <a:pt x="69" y="488"/>
                  </a:cubicBezTo>
                  <a:cubicBezTo>
                    <a:pt x="60" y="514"/>
                    <a:pt x="103" y="497"/>
                    <a:pt x="95" y="506"/>
                  </a:cubicBezTo>
                  <a:cubicBezTo>
                    <a:pt x="77" y="514"/>
                    <a:pt x="52" y="497"/>
                    <a:pt x="35" y="523"/>
                  </a:cubicBezTo>
                  <a:cubicBezTo>
                    <a:pt x="26" y="540"/>
                    <a:pt x="52" y="540"/>
                    <a:pt x="35" y="557"/>
                  </a:cubicBezTo>
                  <a:cubicBezTo>
                    <a:pt x="26" y="566"/>
                    <a:pt x="18" y="566"/>
                    <a:pt x="0" y="574"/>
                  </a:cubicBezTo>
                  <a:cubicBezTo>
                    <a:pt x="0" y="608"/>
                    <a:pt x="9" y="600"/>
                    <a:pt x="18" y="617"/>
                  </a:cubicBezTo>
                  <a:cubicBezTo>
                    <a:pt x="26" y="634"/>
                    <a:pt x="43" y="608"/>
                    <a:pt x="52" y="61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89" name="Freeform 90"/>
            <p:cNvSpPr>
              <a:spLocks noChangeArrowheads="1"/>
            </p:cNvSpPr>
            <p:nvPr/>
          </p:nvSpPr>
          <p:spPr bwMode="auto">
            <a:xfrm>
              <a:off x="2239963" y="3136900"/>
              <a:ext cx="260350" cy="225425"/>
            </a:xfrm>
            <a:custGeom>
              <a:avLst/>
              <a:gdLst>
                <a:gd name="T0" fmla="*/ 2147483647 w 721"/>
                <a:gd name="T1" fmla="*/ 2147483647 h 626"/>
                <a:gd name="T2" fmla="*/ 2147483647 w 721"/>
                <a:gd name="T3" fmla="*/ 2147483647 h 626"/>
                <a:gd name="T4" fmla="*/ 2147483647 w 721"/>
                <a:gd name="T5" fmla="*/ 2147483647 h 626"/>
                <a:gd name="T6" fmla="*/ 2147483647 w 721"/>
                <a:gd name="T7" fmla="*/ 2147483647 h 626"/>
                <a:gd name="T8" fmla="*/ 2147483647 w 721"/>
                <a:gd name="T9" fmla="*/ 2147483647 h 626"/>
                <a:gd name="T10" fmla="*/ 2147483647 w 721"/>
                <a:gd name="T11" fmla="*/ 2147483647 h 626"/>
                <a:gd name="T12" fmla="*/ 2147483647 w 721"/>
                <a:gd name="T13" fmla="*/ 2147483647 h 626"/>
                <a:gd name="T14" fmla="*/ 2147483647 w 721"/>
                <a:gd name="T15" fmla="*/ 2147483647 h 626"/>
                <a:gd name="T16" fmla="*/ 2147483647 w 721"/>
                <a:gd name="T17" fmla="*/ 2147483647 h 626"/>
                <a:gd name="T18" fmla="*/ 2147483647 w 721"/>
                <a:gd name="T19" fmla="*/ 2147483647 h 626"/>
                <a:gd name="T20" fmla="*/ 2147483647 w 721"/>
                <a:gd name="T21" fmla="*/ 2147483647 h 626"/>
                <a:gd name="T22" fmla="*/ 2147483647 w 721"/>
                <a:gd name="T23" fmla="*/ 2147483647 h 626"/>
                <a:gd name="T24" fmla="*/ 2147483647 w 721"/>
                <a:gd name="T25" fmla="*/ 2147483647 h 626"/>
                <a:gd name="T26" fmla="*/ 2147483647 w 721"/>
                <a:gd name="T27" fmla="*/ 2147483647 h 626"/>
                <a:gd name="T28" fmla="*/ 2147483647 w 721"/>
                <a:gd name="T29" fmla="*/ 0 h 626"/>
                <a:gd name="T30" fmla="*/ 2147483647 w 721"/>
                <a:gd name="T31" fmla="*/ 2147483647 h 626"/>
                <a:gd name="T32" fmla="*/ 2147483647 w 721"/>
                <a:gd name="T33" fmla="*/ 2147483647 h 626"/>
                <a:gd name="T34" fmla="*/ 2147483647 w 721"/>
                <a:gd name="T35" fmla="*/ 2147483647 h 626"/>
                <a:gd name="T36" fmla="*/ 2147483647 w 721"/>
                <a:gd name="T37" fmla="*/ 2147483647 h 626"/>
                <a:gd name="T38" fmla="*/ 2147483647 w 721"/>
                <a:gd name="T39" fmla="*/ 2147483647 h 626"/>
                <a:gd name="T40" fmla="*/ 2147483647 w 721"/>
                <a:gd name="T41" fmla="*/ 2147483647 h 626"/>
                <a:gd name="T42" fmla="*/ 2147483647 w 721"/>
                <a:gd name="T43" fmla="*/ 2147483647 h 626"/>
                <a:gd name="T44" fmla="*/ 2147483647 w 721"/>
                <a:gd name="T45" fmla="*/ 2147483647 h 626"/>
                <a:gd name="T46" fmla="*/ 2147483647 w 721"/>
                <a:gd name="T47" fmla="*/ 2147483647 h 626"/>
                <a:gd name="T48" fmla="*/ 0 w 721"/>
                <a:gd name="T49" fmla="*/ 2147483647 h 626"/>
                <a:gd name="T50" fmla="*/ 2147483647 w 721"/>
                <a:gd name="T51" fmla="*/ 2147483647 h 626"/>
                <a:gd name="T52" fmla="*/ 2147483647 w 721"/>
                <a:gd name="T53" fmla="*/ 2147483647 h 626"/>
                <a:gd name="T54" fmla="*/ 2147483647 w 721"/>
                <a:gd name="T55" fmla="*/ 2147483647 h 626"/>
                <a:gd name="T56" fmla="*/ 2147483647 w 721"/>
                <a:gd name="T57" fmla="*/ 2147483647 h 626"/>
                <a:gd name="T58" fmla="*/ 2147483647 w 721"/>
                <a:gd name="T59" fmla="*/ 2147483647 h 626"/>
                <a:gd name="T60" fmla="*/ 2147483647 w 721"/>
                <a:gd name="T61" fmla="*/ 2147483647 h 626"/>
                <a:gd name="T62" fmla="*/ 2147483647 w 721"/>
                <a:gd name="T63" fmla="*/ 2147483647 h 626"/>
                <a:gd name="T64" fmla="*/ 2147483647 w 721"/>
                <a:gd name="T65" fmla="*/ 2147483647 h 626"/>
                <a:gd name="T66" fmla="*/ 2147483647 w 721"/>
                <a:gd name="T67" fmla="*/ 2147483647 h 626"/>
                <a:gd name="T68" fmla="*/ 2147483647 w 721"/>
                <a:gd name="T69" fmla="*/ 2147483647 h 626"/>
                <a:gd name="T70" fmla="*/ 2147483647 w 721"/>
                <a:gd name="T71" fmla="*/ 2147483647 h 626"/>
                <a:gd name="T72" fmla="*/ 2147483647 w 721"/>
                <a:gd name="T73" fmla="*/ 2147483647 h 626"/>
                <a:gd name="T74" fmla="*/ 2147483647 w 721"/>
                <a:gd name="T75" fmla="*/ 2147483647 h 626"/>
                <a:gd name="T76" fmla="*/ 2147483647 w 721"/>
                <a:gd name="T77" fmla="*/ 2147483647 h 626"/>
                <a:gd name="T78" fmla="*/ 2147483647 w 721"/>
                <a:gd name="T79" fmla="*/ 2147483647 h 626"/>
                <a:gd name="T80" fmla="*/ 2147483647 w 721"/>
                <a:gd name="T81" fmla="*/ 2147483647 h 626"/>
                <a:gd name="T82" fmla="*/ 2147483647 w 721"/>
                <a:gd name="T83" fmla="*/ 2147483647 h 626"/>
                <a:gd name="T84" fmla="*/ 2147483647 w 721"/>
                <a:gd name="T85" fmla="*/ 2147483647 h 626"/>
                <a:gd name="T86" fmla="*/ 2147483647 w 721"/>
                <a:gd name="T87" fmla="*/ 2147483647 h 626"/>
                <a:gd name="T88" fmla="*/ 2147483647 w 721"/>
                <a:gd name="T89" fmla="*/ 2147483647 h 626"/>
                <a:gd name="T90" fmla="*/ 2147483647 w 721"/>
                <a:gd name="T91" fmla="*/ 2147483647 h 626"/>
                <a:gd name="T92" fmla="*/ 2147483647 w 721"/>
                <a:gd name="T93" fmla="*/ 2147483647 h 626"/>
                <a:gd name="T94" fmla="*/ 2147483647 w 721"/>
                <a:gd name="T95" fmla="*/ 2147483647 h 626"/>
                <a:gd name="T96" fmla="*/ 2147483647 w 721"/>
                <a:gd name="T97" fmla="*/ 2147483647 h 6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21"/>
                <a:gd name="T148" fmla="*/ 0 h 626"/>
                <a:gd name="T149" fmla="*/ 721 w 721"/>
                <a:gd name="T150" fmla="*/ 626 h 62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21" h="626">
                  <a:moveTo>
                    <a:pt x="669" y="300"/>
                  </a:moveTo>
                  <a:lnTo>
                    <a:pt x="669" y="300"/>
                  </a:lnTo>
                  <a:cubicBezTo>
                    <a:pt x="669" y="283"/>
                    <a:pt x="686" y="283"/>
                    <a:pt x="677" y="274"/>
                  </a:cubicBezTo>
                  <a:cubicBezTo>
                    <a:pt x="669" y="266"/>
                    <a:pt x="652" y="257"/>
                    <a:pt x="643" y="240"/>
                  </a:cubicBezTo>
                  <a:cubicBezTo>
                    <a:pt x="634" y="249"/>
                    <a:pt x="626" y="249"/>
                    <a:pt x="608" y="240"/>
                  </a:cubicBezTo>
                  <a:cubicBezTo>
                    <a:pt x="591" y="214"/>
                    <a:pt x="557" y="214"/>
                    <a:pt x="566" y="206"/>
                  </a:cubicBezTo>
                  <a:cubicBezTo>
                    <a:pt x="574" y="189"/>
                    <a:pt x="591" y="171"/>
                    <a:pt x="591" y="154"/>
                  </a:cubicBezTo>
                  <a:cubicBezTo>
                    <a:pt x="600" y="137"/>
                    <a:pt x="617" y="137"/>
                    <a:pt x="608" y="129"/>
                  </a:cubicBezTo>
                  <a:cubicBezTo>
                    <a:pt x="600" y="112"/>
                    <a:pt x="600" y="120"/>
                    <a:pt x="574" y="103"/>
                  </a:cubicBezTo>
                  <a:cubicBezTo>
                    <a:pt x="557" y="86"/>
                    <a:pt x="574" y="86"/>
                    <a:pt x="549" y="86"/>
                  </a:cubicBezTo>
                  <a:cubicBezTo>
                    <a:pt x="514" y="86"/>
                    <a:pt x="506" y="103"/>
                    <a:pt x="497" y="77"/>
                  </a:cubicBezTo>
                  <a:cubicBezTo>
                    <a:pt x="489" y="60"/>
                    <a:pt x="480" y="60"/>
                    <a:pt x="480" y="43"/>
                  </a:cubicBezTo>
                  <a:cubicBezTo>
                    <a:pt x="480" y="26"/>
                    <a:pt x="489" y="9"/>
                    <a:pt x="471" y="17"/>
                  </a:cubicBezTo>
                  <a:cubicBezTo>
                    <a:pt x="454" y="26"/>
                    <a:pt x="446" y="51"/>
                    <a:pt x="437" y="34"/>
                  </a:cubicBezTo>
                  <a:cubicBezTo>
                    <a:pt x="429" y="17"/>
                    <a:pt x="437" y="0"/>
                    <a:pt x="420" y="0"/>
                  </a:cubicBezTo>
                  <a:cubicBezTo>
                    <a:pt x="403" y="9"/>
                    <a:pt x="412" y="34"/>
                    <a:pt x="394" y="17"/>
                  </a:cubicBezTo>
                  <a:cubicBezTo>
                    <a:pt x="377" y="0"/>
                    <a:pt x="368" y="0"/>
                    <a:pt x="351" y="9"/>
                  </a:cubicBezTo>
                  <a:cubicBezTo>
                    <a:pt x="343" y="17"/>
                    <a:pt x="351" y="34"/>
                    <a:pt x="343" y="34"/>
                  </a:cubicBezTo>
                  <a:cubicBezTo>
                    <a:pt x="334" y="34"/>
                    <a:pt x="317" y="43"/>
                    <a:pt x="309" y="51"/>
                  </a:cubicBezTo>
                  <a:cubicBezTo>
                    <a:pt x="291" y="69"/>
                    <a:pt x="283" y="86"/>
                    <a:pt x="257" y="77"/>
                  </a:cubicBezTo>
                  <a:cubicBezTo>
                    <a:pt x="231" y="77"/>
                    <a:pt x="223" y="60"/>
                    <a:pt x="206" y="60"/>
                  </a:cubicBezTo>
                  <a:cubicBezTo>
                    <a:pt x="197" y="51"/>
                    <a:pt x="180" y="77"/>
                    <a:pt x="172" y="60"/>
                  </a:cubicBezTo>
                  <a:cubicBezTo>
                    <a:pt x="163" y="43"/>
                    <a:pt x="154" y="51"/>
                    <a:pt x="154" y="17"/>
                  </a:cubicBezTo>
                  <a:cubicBezTo>
                    <a:pt x="120" y="34"/>
                    <a:pt x="77" y="51"/>
                    <a:pt x="51" y="69"/>
                  </a:cubicBezTo>
                  <a:cubicBezTo>
                    <a:pt x="34" y="86"/>
                    <a:pt x="17" y="94"/>
                    <a:pt x="0" y="103"/>
                  </a:cubicBezTo>
                  <a:cubicBezTo>
                    <a:pt x="9" y="129"/>
                    <a:pt x="17" y="146"/>
                    <a:pt x="43" y="163"/>
                  </a:cubicBezTo>
                  <a:cubicBezTo>
                    <a:pt x="60" y="189"/>
                    <a:pt x="69" y="189"/>
                    <a:pt x="94" y="214"/>
                  </a:cubicBezTo>
                  <a:cubicBezTo>
                    <a:pt x="120" y="231"/>
                    <a:pt x="111" y="214"/>
                    <a:pt x="120" y="240"/>
                  </a:cubicBezTo>
                  <a:cubicBezTo>
                    <a:pt x="128" y="266"/>
                    <a:pt x="137" y="274"/>
                    <a:pt x="172" y="283"/>
                  </a:cubicBezTo>
                  <a:cubicBezTo>
                    <a:pt x="206" y="300"/>
                    <a:pt x="189" y="292"/>
                    <a:pt x="189" y="317"/>
                  </a:cubicBezTo>
                  <a:cubicBezTo>
                    <a:pt x="189" y="343"/>
                    <a:pt x="240" y="309"/>
                    <a:pt x="266" y="326"/>
                  </a:cubicBezTo>
                  <a:cubicBezTo>
                    <a:pt x="283" y="343"/>
                    <a:pt x="274" y="352"/>
                    <a:pt x="274" y="369"/>
                  </a:cubicBezTo>
                  <a:cubicBezTo>
                    <a:pt x="274" y="394"/>
                    <a:pt x="274" y="386"/>
                    <a:pt x="283" y="403"/>
                  </a:cubicBezTo>
                  <a:cubicBezTo>
                    <a:pt x="291" y="420"/>
                    <a:pt x="283" y="420"/>
                    <a:pt x="274" y="429"/>
                  </a:cubicBezTo>
                  <a:cubicBezTo>
                    <a:pt x="266" y="446"/>
                    <a:pt x="274" y="446"/>
                    <a:pt x="309" y="454"/>
                  </a:cubicBezTo>
                  <a:cubicBezTo>
                    <a:pt x="334" y="454"/>
                    <a:pt x="343" y="463"/>
                    <a:pt x="360" y="437"/>
                  </a:cubicBezTo>
                  <a:cubicBezTo>
                    <a:pt x="386" y="411"/>
                    <a:pt x="386" y="411"/>
                    <a:pt x="412" y="411"/>
                  </a:cubicBezTo>
                  <a:cubicBezTo>
                    <a:pt x="429" y="403"/>
                    <a:pt x="394" y="454"/>
                    <a:pt x="394" y="480"/>
                  </a:cubicBezTo>
                  <a:cubicBezTo>
                    <a:pt x="394" y="506"/>
                    <a:pt x="403" y="489"/>
                    <a:pt x="429" y="506"/>
                  </a:cubicBezTo>
                  <a:cubicBezTo>
                    <a:pt x="454" y="532"/>
                    <a:pt x="506" y="583"/>
                    <a:pt x="523" y="592"/>
                  </a:cubicBezTo>
                  <a:cubicBezTo>
                    <a:pt x="540" y="608"/>
                    <a:pt x="549" y="600"/>
                    <a:pt x="574" y="600"/>
                  </a:cubicBezTo>
                  <a:cubicBezTo>
                    <a:pt x="608" y="600"/>
                    <a:pt x="600" y="608"/>
                    <a:pt x="608" y="616"/>
                  </a:cubicBezTo>
                  <a:cubicBezTo>
                    <a:pt x="617" y="625"/>
                    <a:pt x="626" y="616"/>
                    <a:pt x="634" y="616"/>
                  </a:cubicBezTo>
                  <a:cubicBezTo>
                    <a:pt x="643" y="608"/>
                    <a:pt x="652" y="583"/>
                    <a:pt x="660" y="583"/>
                  </a:cubicBezTo>
                  <a:cubicBezTo>
                    <a:pt x="669" y="566"/>
                    <a:pt x="660" y="566"/>
                    <a:pt x="660" y="549"/>
                  </a:cubicBezTo>
                  <a:cubicBezTo>
                    <a:pt x="660" y="540"/>
                    <a:pt x="669" y="532"/>
                    <a:pt x="660" y="514"/>
                  </a:cubicBezTo>
                  <a:cubicBezTo>
                    <a:pt x="643" y="489"/>
                    <a:pt x="652" y="437"/>
                    <a:pt x="660" y="420"/>
                  </a:cubicBezTo>
                  <a:cubicBezTo>
                    <a:pt x="669" y="403"/>
                    <a:pt x="720" y="394"/>
                    <a:pt x="711" y="369"/>
                  </a:cubicBezTo>
                  <a:cubicBezTo>
                    <a:pt x="694" y="343"/>
                    <a:pt x="669" y="309"/>
                    <a:pt x="669" y="300"/>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0" name="Freeform 91"/>
            <p:cNvSpPr>
              <a:spLocks noChangeArrowheads="1"/>
            </p:cNvSpPr>
            <p:nvPr/>
          </p:nvSpPr>
          <p:spPr bwMode="auto">
            <a:xfrm>
              <a:off x="2525713" y="3970338"/>
              <a:ext cx="15875" cy="9525"/>
            </a:xfrm>
            <a:custGeom>
              <a:avLst/>
              <a:gdLst>
                <a:gd name="T0" fmla="*/ 2147483647 w 44"/>
                <a:gd name="T1" fmla="*/ 0 h 26"/>
                <a:gd name="T2" fmla="*/ 2147483647 w 44"/>
                <a:gd name="T3" fmla="*/ 0 h 26"/>
                <a:gd name="T4" fmla="*/ 2147483647 w 44"/>
                <a:gd name="T5" fmla="*/ 2147483647 h 26"/>
                <a:gd name="T6" fmla="*/ 0 w 44"/>
                <a:gd name="T7" fmla="*/ 2147483647 h 26"/>
                <a:gd name="T8" fmla="*/ 2147483647 w 44"/>
                <a:gd name="T9" fmla="*/ 2147483647 h 26"/>
                <a:gd name="T10" fmla="*/ 2147483647 w 44"/>
                <a:gd name="T11" fmla="*/ 0 h 26"/>
                <a:gd name="T12" fmla="*/ 0 60000 65536"/>
                <a:gd name="T13" fmla="*/ 0 60000 65536"/>
                <a:gd name="T14" fmla="*/ 0 60000 65536"/>
                <a:gd name="T15" fmla="*/ 0 60000 65536"/>
                <a:gd name="T16" fmla="*/ 0 60000 65536"/>
                <a:gd name="T17" fmla="*/ 0 60000 65536"/>
                <a:gd name="T18" fmla="*/ 0 w 44"/>
                <a:gd name="T19" fmla="*/ 0 h 26"/>
                <a:gd name="T20" fmla="*/ 44 w 44"/>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44" h="26">
                  <a:moveTo>
                    <a:pt x="34" y="0"/>
                  </a:moveTo>
                  <a:lnTo>
                    <a:pt x="34" y="0"/>
                  </a:lnTo>
                  <a:cubicBezTo>
                    <a:pt x="26" y="0"/>
                    <a:pt x="9" y="0"/>
                    <a:pt x="9" y="8"/>
                  </a:cubicBezTo>
                  <a:cubicBezTo>
                    <a:pt x="9" y="8"/>
                    <a:pt x="9" y="17"/>
                    <a:pt x="0" y="25"/>
                  </a:cubicBezTo>
                  <a:cubicBezTo>
                    <a:pt x="17" y="17"/>
                    <a:pt x="26" y="17"/>
                    <a:pt x="43" y="8"/>
                  </a:cubicBezTo>
                  <a:cubicBezTo>
                    <a:pt x="43" y="0"/>
                    <a:pt x="43" y="0"/>
                    <a:pt x="34" y="0"/>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1" name="Freeform 92"/>
            <p:cNvSpPr>
              <a:spLocks noChangeArrowheads="1"/>
            </p:cNvSpPr>
            <p:nvPr/>
          </p:nvSpPr>
          <p:spPr bwMode="auto">
            <a:xfrm>
              <a:off x="1689100" y="3173413"/>
              <a:ext cx="922338" cy="922337"/>
            </a:xfrm>
            <a:custGeom>
              <a:avLst/>
              <a:gdLst>
                <a:gd name="T0" fmla="*/ 2147483647 w 2564"/>
                <a:gd name="T1" fmla="*/ 2147483647 h 2563"/>
                <a:gd name="T2" fmla="*/ 2147483647 w 2564"/>
                <a:gd name="T3" fmla="*/ 2147483647 h 2563"/>
                <a:gd name="T4" fmla="*/ 2147483647 w 2564"/>
                <a:gd name="T5" fmla="*/ 2147483647 h 2563"/>
                <a:gd name="T6" fmla="*/ 2147483647 w 2564"/>
                <a:gd name="T7" fmla="*/ 2147483647 h 2563"/>
                <a:gd name="T8" fmla="*/ 2147483647 w 2564"/>
                <a:gd name="T9" fmla="*/ 2147483647 h 2563"/>
                <a:gd name="T10" fmla="*/ 2147483647 w 2564"/>
                <a:gd name="T11" fmla="*/ 2147483647 h 2563"/>
                <a:gd name="T12" fmla="*/ 2147483647 w 2564"/>
                <a:gd name="T13" fmla="*/ 2147483647 h 2563"/>
                <a:gd name="T14" fmla="*/ 2147483647 w 2564"/>
                <a:gd name="T15" fmla="*/ 2147483647 h 2563"/>
                <a:gd name="T16" fmla="*/ 2147483647 w 2564"/>
                <a:gd name="T17" fmla="*/ 2147483647 h 2563"/>
                <a:gd name="T18" fmla="*/ 2147483647 w 2564"/>
                <a:gd name="T19" fmla="*/ 2147483647 h 2563"/>
                <a:gd name="T20" fmla="*/ 2147483647 w 2564"/>
                <a:gd name="T21" fmla="*/ 2147483647 h 2563"/>
                <a:gd name="T22" fmla="*/ 2147483647 w 2564"/>
                <a:gd name="T23" fmla="*/ 2147483647 h 2563"/>
                <a:gd name="T24" fmla="*/ 2147483647 w 2564"/>
                <a:gd name="T25" fmla="*/ 2147483647 h 2563"/>
                <a:gd name="T26" fmla="*/ 2147483647 w 2564"/>
                <a:gd name="T27" fmla="*/ 2147483647 h 2563"/>
                <a:gd name="T28" fmla="*/ 2147483647 w 2564"/>
                <a:gd name="T29" fmla="*/ 2147483647 h 2563"/>
                <a:gd name="T30" fmla="*/ 2147483647 w 2564"/>
                <a:gd name="T31" fmla="*/ 2147483647 h 2563"/>
                <a:gd name="T32" fmla="*/ 2147483647 w 2564"/>
                <a:gd name="T33" fmla="*/ 2147483647 h 2563"/>
                <a:gd name="T34" fmla="*/ 2147483647 w 2564"/>
                <a:gd name="T35" fmla="*/ 2147483647 h 2563"/>
                <a:gd name="T36" fmla="*/ 2147483647 w 2564"/>
                <a:gd name="T37" fmla="*/ 2147483647 h 2563"/>
                <a:gd name="T38" fmla="*/ 2147483647 w 2564"/>
                <a:gd name="T39" fmla="*/ 2147483647 h 2563"/>
                <a:gd name="T40" fmla="*/ 2147483647 w 2564"/>
                <a:gd name="T41" fmla="*/ 2147483647 h 2563"/>
                <a:gd name="T42" fmla="*/ 2147483647 w 2564"/>
                <a:gd name="T43" fmla="*/ 2147483647 h 2563"/>
                <a:gd name="T44" fmla="*/ 2147483647 w 2564"/>
                <a:gd name="T45" fmla="*/ 2147483647 h 2563"/>
                <a:gd name="T46" fmla="*/ 2147483647 w 2564"/>
                <a:gd name="T47" fmla="*/ 2147483647 h 2563"/>
                <a:gd name="T48" fmla="*/ 2147483647 w 2564"/>
                <a:gd name="T49" fmla="*/ 2147483647 h 2563"/>
                <a:gd name="T50" fmla="*/ 2147483647 w 2564"/>
                <a:gd name="T51" fmla="*/ 2147483647 h 2563"/>
                <a:gd name="T52" fmla="*/ 2147483647 w 2564"/>
                <a:gd name="T53" fmla="*/ 2147483647 h 2563"/>
                <a:gd name="T54" fmla="*/ 2147483647 w 2564"/>
                <a:gd name="T55" fmla="*/ 2147483647 h 2563"/>
                <a:gd name="T56" fmla="*/ 2147483647 w 2564"/>
                <a:gd name="T57" fmla="*/ 2147483647 h 2563"/>
                <a:gd name="T58" fmla="*/ 2147483647 w 2564"/>
                <a:gd name="T59" fmla="*/ 2147483647 h 2563"/>
                <a:gd name="T60" fmla="*/ 2147483647 w 2564"/>
                <a:gd name="T61" fmla="*/ 2147483647 h 2563"/>
                <a:gd name="T62" fmla="*/ 2147483647 w 2564"/>
                <a:gd name="T63" fmla="*/ 2147483647 h 2563"/>
                <a:gd name="T64" fmla="*/ 2147483647 w 2564"/>
                <a:gd name="T65" fmla="*/ 2147483647 h 2563"/>
                <a:gd name="T66" fmla="*/ 2147483647 w 2564"/>
                <a:gd name="T67" fmla="*/ 2147483647 h 2563"/>
                <a:gd name="T68" fmla="*/ 2147483647 w 2564"/>
                <a:gd name="T69" fmla="*/ 2147483647 h 2563"/>
                <a:gd name="T70" fmla="*/ 2147483647 w 2564"/>
                <a:gd name="T71" fmla="*/ 2147483647 h 2563"/>
                <a:gd name="T72" fmla="*/ 2147483647 w 2564"/>
                <a:gd name="T73" fmla="*/ 2147483647 h 2563"/>
                <a:gd name="T74" fmla="*/ 2147483647 w 2564"/>
                <a:gd name="T75" fmla="*/ 2147483647 h 2563"/>
                <a:gd name="T76" fmla="*/ 2147483647 w 2564"/>
                <a:gd name="T77" fmla="*/ 2147483647 h 2563"/>
                <a:gd name="T78" fmla="*/ 2147483647 w 2564"/>
                <a:gd name="T79" fmla="*/ 2147483647 h 2563"/>
                <a:gd name="T80" fmla="*/ 2147483647 w 2564"/>
                <a:gd name="T81" fmla="*/ 2147483647 h 2563"/>
                <a:gd name="T82" fmla="*/ 2147483647 w 2564"/>
                <a:gd name="T83" fmla="*/ 2147483647 h 2563"/>
                <a:gd name="T84" fmla="*/ 2147483647 w 2564"/>
                <a:gd name="T85" fmla="*/ 2147483647 h 2563"/>
                <a:gd name="T86" fmla="*/ 2147483647 w 2564"/>
                <a:gd name="T87" fmla="*/ 2147483647 h 2563"/>
                <a:gd name="T88" fmla="*/ 2147483647 w 2564"/>
                <a:gd name="T89" fmla="*/ 2147483647 h 2563"/>
                <a:gd name="T90" fmla="*/ 2147483647 w 2564"/>
                <a:gd name="T91" fmla="*/ 2147483647 h 2563"/>
                <a:gd name="T92" fmla="*/ 2147483647 w 2564"/>
                <a:gd name="T93" fmla="*/ 2147483647 h 2563"/>
                <a:gd name="T94" fmla="*/ 2147483647 w 2564"/>
                <a:gd name="T95" fmla="*/ 2147483647 h 2563"/>
                <a:gd name="T96" fmla="*/ 2147483647 w 2564"/>
                <a:gd name="T97" fmla="*/ 2147483647 h 25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564"/>
                <a:gd name="T148" fmla="*/ 0 h 2563"/>
                <a:gd name="T149" fmla="*/ 2564 w 2564"/>
                <a:gd name="T150" fmla="*/ 2563 h 25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564" h="2563">
                  <a:moveTo>
                    <a:pt x="2374" y="2176"/>
                  </a:moveTo>
                  <a:lnTo>
                    <a:pt x="2374" y="2176"/>
                  </a:lnTo>
                  <a:cubicBezTo>
                    <a:pt x="2400" y="2159"/>
                    <a:pt x="2426" y="2125"/>
                    <a:pt x="2418" y="2108"/>
                  </a:cubicBezTo>
                  <a:cubicBezTo>
                    <a:pt x="2409" y="2099"/>
                    <a:pt x="2366" y="2099"/>
                    <a:pt x="2340" y="2082"/>
                  </a:cubicBezTo>
                  <a:cubicBezTo>
                    <a:pt x="2315" y="2073"/>
                    <a:pt x="2255" y="2039"/>
                    <a:pt x="2246" y="2013"/>
                  </a:cubicBezTo>
                  <a:cubicBezTo>
                    <a:pt x="2237" y="1979"/>
                    <a:pt x="2246" y="1971"/>
                    <a:pt x="2255" y="1962"/>
                  </a:cubicBezTo>
                  <a:cubicBezTo>
                    <a:pt x="2272" y="1953"/>
                    <a:pt x="2306" y="1936"/>
                    <a:pt x="2297" y="1919"/>
                  </a:cubicBezTo>
                  <a:cubicBezTo>
                    <a:pt x="2280" y="1893"/>
                    <a:pt x="2280" y="1876"/>
                    <a:pt x="2263" y="1876"/>
                  </a:cubicBezTo>
                  <a:cubicBezTo>
                    <a:pt x="2255" y="1868"/>
                    <a:pt x="2237" y="1876"/>
                    <a:pt x="2229" y="1859"/>
                  </a:cubicBezTo>
                  <a:cubicBezTo>
                    <a:pt x="2220" y="1833"/>
                    <a:pt x="2195" y="1816"/>
                    <a:pt x="2212" y="1808"/>
                  </a:cubicBezTo>
                  <a:cubicBezTo>
                    <a:pt x="2220" y="1799"/>
                    <a:pt x="2237" y="1791"/>
                    <a:pt x="2255" y="1791"/>
                  </a:cubicBezTo>
                  <a:cubicBezTo>
                    <a:pt x="2263" y="1791"/>
                    <a:pt x="2297" y="1773"/>
                    <a:pt x="2306" y="1765"/>
                  </a:cubicBezTo>
                  <a:cubicBezTo>
                    <a:pt x="2306" y="1747"/>
                    <a:pt x="2349" y="1730"/>
                    <a:pt x="2323" y="1705"/>
                  </a:cubicBezTo>
                  <a:cubicBezTo>
                    <a:pt x="2297" y="1679"/>
                    <a:pt x="2297" y="1696"/>
                    <a:pt x="2289" y="1670"/>
                  </a:cubicBezTo>
                  <a:cubicBezTo>
                    <a:pt x="2280" y="1636"/>
                    <a:pt x="2272" y="1636"/>
                    <a:pt x="2263" y="1628"/>
                  </a:cubicBezTo>
                  <a:cubicBezTo>
                    <a:pt x="2255" y="1610"/>
                    <a:pt x="2229" y="1619"/>
                    <a:pt x="2255" y="1602"/>
                  </a:cubicBezTo>
                  <a:cubicBezTo>
                    <a:pt x="2280" y="1585"/>
                    <a:pt x="2289" y="1593"/>
                    <a:pt x="2289" y="1568"/>
                  </a:cubicBezTo>
                  <a:cubicBezTo>
                    <a:pt x="2297" y="1551"/>
                    <a:pt x="2255" y="1499"/>
                    <a:pt x="2255" y="1482"/>
                  </a:cubicBezTo>
                  <a:cubicBezTo>
                    <a:pt x="2255" y="1456"/>
                    <a:pt x="2272" y="1456"/>
                    <a:pt x="2255" y="1448"/>
                  </a:cubicBezTo>
                  <a:cubicBezTo>
                    <a:pt x="2246" y="1430"/>
                    <a:pt x="2237" y="1422"/>
                    <a:pt x="2229" y="1422"/>
                  </a:cubicBezTo>
                  <a:cubicBezTo>
                    <a:pt x="2220" y="1422"/>
                    <a:pt x="2178" y="1422"/>
                    <a:pt x="2169" y="1430"/>
                  </a:cubicBezTo>
                  <a:cubicBezTo>
                    <a:pt x="2160" y="1439"/>
                    <a:pt x="2143" y="1473"/>
                    <a:pt x="2117" y="1482"/>
                  </a:cubicBezTo>
                  <a:cubicBezTo>
                    <a:pt x="2100" y="1490"/>
                    <a:pt x="2075" y="1490"/>
                    <a:pt x="2092" y="1473"/>
                  </a:cubicBezTo>
                  <a:cubicBezTo>
                    <a:pt x="2100" y="1456"/>
                    <a:pt x="2126" y="1456"/>
                    <a:pt x="2126" y="1439"/>
                  </a:cubicBezTo>
                  <a:cubicBezTo>
                    <a:pt x="2126" y="1413"/>
                    <a:pt x="2083" y="1405"/>
                    <a:pt x="2109" y="1379"/>
                  </a:cubicBezTo>
                  <a:cubicBezTo>
                    <a:pt x="2134" y="1353"/>
                    <a:pt x="2117" y="1353"/>
                    <a:pt x="2143" y="1336"/>
                  </a:cubicBezTo>
                  <a:cubicBezTo>
                    <a:pt x="2178" y="1328"/>
                    <a:pt x="2169" y="1336"/>
                    <a:pt x="2178" y="1311"/>
                  </a:cubicBezTo>
                  <a:cubicBezTo>
                    <a:pt x="2186" y="1285"/>
                    <a:pt x="2178" y="1267"/>
                    <a:pt x="2195" y="1259"/>
                  </a:cubicBezTo>
                  <a:cubicBezTo>
                    <a:pt x="2220" y="1250"/>
                    <a:pt x="2237" y="1208"/>
                    <a:pt x="2263" y="1190"/>
                  </a:cubicBezTo>
                  <a:cubicBezTo>
                    <a:pt x="2280" y="1165"/>
                    <a:pt x="2315" y="1148"/>
                    <a:pt x="2315" y="1130"/>
                  </a:cubicBezTo>
                  <a:cubicBezTo>
                    <a:pt x="2315" y="1122"/>
                    <a:pt x="2315" y="1105"/>
                    <a:pt x="2323" y="1105"/>
                  </a:cubicBezTo>
                  <a:cubicBezTo>
                    <a:pt x="2340" y="1105"/>
                    <a:pt x="2332" y="1122"/>
                    <a:pt x="2374" y="1113"/>
                  </a:cubicBezTo>
                  <a:cubicBezTo>
                    <a:pt x="2418" y="1105"/>
                    <a:pt x="2443" y="1105"/>
                    <a:pt x="2435" y="1088"/>
                  </a:cubicBezTo>
                  <a:cubicBezTo>
                    <a:pt x="2435" y="1062"/>
                    <a:pt x="2400" y="1053"/>
                    <a:pt x="2426" y="1019"/>
                  </a:cubicBezTo>
                  <a:cubicBezTo>
                    <a:pt x="2443" y="985"/>
                    <a:pt x="2435" y="950"/>
                    <a:pt x="2443" y="916"/>
                  </a:cubicBezTo>
                  <a:cubicBezTo>
                    <a:pt x="2443" y="890"/>
                    <a:pt x="2477" y="839"/>
                    <a:pt x="2486" y="830"/>
                  </a:cubicBezTo>
                  <a:cubicBezTo>
                    <a:pt x="2486" y="822"/>
                    <a:pt x="2477" y="770"/>
                    <a:pt x="2495" y="753"/>
                  </a:cubicBezTo>
                  <a:cubicBezTo>
                    <a:pt x="2520" y="736"/>
                    <a:pt x="2537" y="719"/>
                    <a:pt x="2546" y="702"/>
                  </a:cubicBezTo>
                  <a:cubicBezTo>
                    <a:pt x="2563" y="693"/>
                    <a:pt x="2563" y="676"/>
                    <a:pt x="2563" y="676"/>
                  </a:cubicBezTo>
                  <a:cubicBezTo>
                    <a:pt x="2563" y="676"/>
                    <a:pt x="2520" y="668"/>
                    <a:pt x="2486" y="650"/>
                  </a:cubicBezTo>
                  <a:cubicBezTo>
                    <a:pt x="2452" y="642"/>
                    <a:pt x="2435" y="599"/>
                    <a:pt x="2426" y="607"/>
                  </a:cubicBezTo>
                  <a:cubicBezTo>
                    <a:pt x="2409" y="616"/>
                    <a:pt x="2409" y="642"/>
                    <a:pt x="2392" y="633"/>
                  </a:cubicBezTo>
                  <a:cubicBezTo>
                    <a:pt x="2366" y="633"/>
                    <a:pt x="2357" y="642"/>
                    <a:pt x="2340" y="625"/>
                  </a:cubicBezTo>
                  <a:cubicBezTo>
                    <a:pt x="2332" y="599"/>
                    <a:pt x="2323" y="582"/>
                    <a:pt x="2315" y="590"/>
                  </a:cubicBezTo>
                  <a:cubicBezTo>
                    <a:pt x="2297" y="599"/>
                    <a:pt x="2289" y="582"/>
                    <a:pt x="2280" y="582"/>
                  </a:cubicBezTo>
                  <a:cubicBezTo>
                    <a:pt x="2272" y="573"/>
                    <a:pt x="2263" y="539"/>
                    <a:pt x="2237" y="522"/>
                  </a:cubicBezTo>
                  <a:cubicBezTo>
                    <a:pt x="2220" y="505"/>
                    <a:pt x="2220" y="505"/>
                    <a:pt x="2195" y="505"/>
                  </a:cubicBezTo>
                  <a:cubicBezTo>
                    <a:pt x="2169" y="505"/>
                    <a:pt x="2152" y="522"/>
                    <a:pt x="2134" y="513"/>
                  </a:cubicBezTo>
                  <a:cubicBezTo>
                    <a:pt x="2126" y="505"/>
                    <a:pt x="2134" y="497"/>
                    <a:pt x="2100" y="497"/>
                  </a:cubicBezTo>
                  <a:cubicBezTo>
                    <a:pt x="2075" y="497"/>
                    <a:pt x="2066" y="505"/>
                    <a:pt x="2049" y="489"/>
                  </a:cubicBezTo>
                  <a:cubicBezTo>
                    <a:pt x="2032" y="480"/>
                    <a:pt x="1980" y="429"/>
                    <a:pt x="1955" y="403"/>
                  </a:cubicBezTo>
                  <a:cubicBezTo>
                    <a:pt x="1929" y="386"/>
                    <a:pt x="1920" y="403"/>
                    <a:pt x="1920" y="377"/>
                  </a:cubicBezTo>
                  <a:cubicBezTo>
                    <a:pt x="1920" y="351"/>
                    <a:pt x="1955" y="300"/>
                    <a:pt x="1938" y="308"/>
                  </a:cubicBezTo>
                  <a:cubicBezTo>
                    <a:pt x="1912" y="308"/>
                    <a:pt x="1912" y="308"/>
                    <a:pt x="1886" y="334"/>
                  </a:cubicBezTo>
                  <a:cubicBezTo>
                    <a:pt x="1869" y="360"/>
                    <a:pt x="1860" y="351"/>
                    <a:pt x="1835" y="351"/>
                  </a:cubicBezTo>
                  <a:cubicBezTo>
                    <a:pt x="1800" y="343"/>
                    <a:pt x="1792" y="343"/>
                    <a:pt x="1800" y="326"/>
                  </a:cubicBezTo>
                  <a:cubicBezTo>
                    <a:pt x="1809" y="317"/>
                    <a:pt x="1817" y="317"/>
                    <a:pt x="1809" y="300"/>
                  </a:cubicBezTo>
                  <a:cubicBezTo>
                    <a:pt x="1800" y="283"/>
                    <a:pt x="1800" y="291"/>
                    <a:pt x="1800" y="266"/>
                  </a:cubicBezTo>
                  <a:cubicBezTo>
                    <a:pt x="1800" y="249"/>
                    <a:pt x="1809" y="240"/>
                    <a:pt x="1792" y="223"/>
                  </a:cubicBezTo>
                  <a:cubicBezTo>
                    <a:pt x="1766" y="206"/>
                    <a:pt x="1715" y="240"/>
                    <a:pt x="1715" y="214"/>
                  </a:cubicBezTo>
                  <a:cubicBezTo>
                    <a:pt x="1715" y="189"/>
                    <a:pt x="1732" y="197"/>
                    <a:pt x="1698" y="180"/>
                  </a:cubicBezTo>
                  <a:cubicBezTo>
                    <a:pt x="1663" y="171"/>
                    <a:pt x="1654" y="163"/>
                    <a:pt x="1646" y="137"/>
                  </a:cubicBezTo>
                  <a:cubicBezTo>
                    <a:pt x="1637" y="111"/>
                    <a:pt x="1646" y="128"/>
                    <a:pt x="1620" y="111"/>
                  </a:cubicBezTo>
                  <a:cubicBezTo>
                    <a:pt x="1595" y="86"/>
                    <a:pt x="1586" y="86"/>
                    <a:pt x="1569" y="60"/>
                  </a:cubicBezTo>
                  <a:cubicBezTo>
                    <a:pt x="1543" y="43"/>
                    <a:pt x="1535" y="26"/>
                    <a:pt x="1526" y="0"/>
                  </a:cubicBezTo>
                  <a:cubicBezTo>
                    <a:pt x="1509" y="0"/>
                    <a:pt x="1492" y="0"/>
                    <a:pt x="1475" y="0"/>
                  </a:cubicBezTo>
                  <a:cubicBezTo>
                    <a:pt x="1423" y="9"/>
                    <a:pt x="1363" y="17"/>
                    <a:pt x="1355" y="51"/>
                  </a:cubicBezTo>
                  <a:cubicBezTo>
                    <a:pt x="1337" y="86"/>
                    <a:pt x="1329" y="189"/>
                    <a:pt x="1303" y="231"/>
                  </a:cubicBezTo>
                  <a:cubicBezTo>
                    <a:pt x="1277" y="266"/>
                    <a:pt x="1252" y="300"/>
                    <a:pt x="1183" y="300"/>
                  </a:cubicBezTo>
                  <a:cubicBezTo>
                    <a:pt x="1123" y="308"/>
                    <a:pt x="1089" y="317"/>
                    <a:pt x="1063" y="334"/>
                  </a:cubicBezTo>
                  <a:cubicBezTo>
                    <a:pt x="1037" y="360"/>
                    <a:pt x="995" y="368"/>
                    <a:pt x="1003" y="386"/>
                  </a:cubicBezTo>
                  <a:cubicBezTo>
                    <a:pt x="1003" y="403"/>
                    <a:pt x="1029" y="411"/>
                    <a:pt x="1029" y="411"/>
                  </a:cubicBezTo>
                  <a:cubicBezTo>
                    <a:pt x="1037" y="411"/>
                    <a:pt x="1037" y="420"/>
                    <a:pt x="1037" y="420"/>
                  </a:cubicBezTo>
                  <a:cubicBezTo>
                    <a:pt x="1029" y="420"/>
                    <a:pt x="1012" y="437"/>
                    <a:pt x="978" y="446"/>
                  </a:cubicBezTo>
                  <a:cubicBezTo>
                    <a:pt x="943" y="446"/>
                    <a:pt x="917" y="437"/>
                    <a:pt x="883" y="429"/>
                  </a:cubicBezTo>
                  <a:cubicBezTo>
                    <a:pt x="840" y="411"/>
                    <a:pt x="797" y="394"/>
                    <a:pt x="780" y="394"/>
                  </a:cubicBezTo>
                  <a:cubicBezTo>
                    <a:pt x="755" y="394"/>
                    <a:pt x="738" y="360"/>
                    <a:pt x="746" y="351"/>
                  </a:cubicBezTo>
                  <a:cubicBezTo>
                    <a:pt x="746" y="343"/>
                    <a:pt x="763" y="317"/>
                    <a:pt x="746" y="308"/>
                  </a:cubicBezTo>
                  <a:cubicBezTo>
                    <a:pt x="738" y="300"/>
                    <a:pt x="677" y="300"/>
                    <a:pt x="652" y="291"/>
                  </a:cubicBezTo>
                  <a:cubicBezTo>
                    <a:pt x="635" y="283"/>
                    <a:pt x="635" y="291"/>
                    <a:pt x="635" y="326"/>
                  </a:cubicBezTo>
                  <a:cubicBezTo>
                    <a:pt x="626" y="351"/>
                    <a:pt x="652" y="377"/>
                    <a:pt x="652" y="403"/>
                  </a:cubicBezTo>
                  <a:cubicBezTo>
                    <a:pt x="652" y="420"/>
                    <a:pt x="677" y="471"/>
                    <a:pt x="669" y="505"/>
                  </a:cubicBezTo>
                  <a:cubicBezTo>
                    <a:pt x="652" y="530"/>
                    <a:pt x="652" y="565"/>
                    <a:pt x="669" y="582"/>
                  </a:cubicBezTo>
                  <a:cubicBezTo>
                    <a:pt x="669" y="599"/>
                    <a:pt x="677" y="607"/>
                    <a:pt x="677" y="607"/>
                  </a:cubicBezTo>
                  <a:cubicBezTo>
                    <a:pt x="677" y="616"/>
                    <a:pt x="677" y="616"/>
                    <a:pt x="677" y="616"/>
                  </a:cubicBezTo>
                  <a:cubicBezTo>
                    <a:pt x="660" y="616"/>
                    <a:pt x="626" y="616"/>
                    <a:pt x="609" y="607"/>
                  </a:cubicBezTo>
                  <a:cubicBezTo>
                    <a:pt x="600" y="590"/>
                    <a:pt x="583" y="573"/>
                    <a:pt x="575" y="573"/>
                  </a:cubicBezTo>
                  <a:cubicBezTo>
                    <a:pt x="566" y="582"/>
                    <a:pt x="523" y="590"/>
                    <a:pt x="515" y="590"/>
                  </a:cubicBezTo>
                  <a:cubicBezTo>
                    <a:pt x="506" y="582"/>
                    <a:pt x="515" y="565"/>
                    <a:pt x="489" y="573"/>
                  </a:cubicBezTo>
                  <a:cubicBezTo>
                    <a:pt x="472" y="582"/>
                    <a:pt x="446" y="633"/>
                    <a:pt x="412" y="565"/>
                  </a:cubicBezTo>
                  <a:cubicBezTo>
                    <a:pt x="377" y="505"/>
                    <a:pt x="369" y="497"/>
                    <a:pt x="343" y="497"/>
                  </a:cubicBezTo>
                  <a:cubicBezTo>
                    <a:pt x="317" y="489"/>
                    <a:pt x="266" y="497"/>
                    <a:pt x="266" y="505"/>
                  </a:cubicBezTo>
                  <a:cubicBezTo>
                    <a:pt x="266" y="513"/>
                    <a:pt x="257" y="513"/>
                    <a:pt x="240" y="513"/>
                  </a:cubicBezTo>
                  <a:cubicBezTo>
                    <a:pt x="232" y="513"/>
                    <a:pt x="197" y="539"/>
                    <a:pt x="197" y="522"/>
                  </a:cubicBezTo>
                  <a:cubicBezTo>
                    <a:pt x="197" y="513"/>
                    <a:pt x="180" y="489"/>
                    <a:pt x="163" y="489"/>
                  </a:cubicBezTo>
                  <a:cubicBezTo>
                    <a:pt x="146" y="489"/>
                    <a:pt x="77" y="505"/>
                    <a:pt x="52" y="513"/>
                  </a:cubicBezTo>
                  <a:cubicBezTo>
                    <a:pt x="26" y="522"/>
                    <a:pt x="9" y="539"/>
                    <a:pt x="9" y="556"/>
                  </a:cubicBezTo>
                  <a:cubicBezTo>
                    <a:pt x="17" y="565"/>
                    <a:pt x="9" y="582"/>
                    <a:pt x="35" y="582"/>
                  </a:cubicBezTo>
                  <a:cubicBezTo>
                    <a:pt x="52" y="582"/>
                    <a:pt x="103" y="573"/>
                    <a:pt x="103" y="582"/>
                  </a:cubicBezTo>
                  <a:cubicBezTo>
                    <a:pt x="95" y="582"/>
                    <a:pt x="95" y="582"/>
                    <a:pt x="86" y="582"/>
                  </a:cubicBezTo>
                  <a:cubicBezTo>
                    <a:pt x="86" y="582"/>
                    <a:pt x="86" y="590"/>
                    <a:pt x="95" y="599"/>
                  </a:cubicBezTo>
                  <a:cubicBezTo>
                    <a:pt x="112" y="607"/>
                    <a:pt x="112" y="616"/>
                    <a:pt x="103" y="616"/>
                  </a:cubicBezTo>
                  <a:cubicBezTo>
                    <a:pt x="86" y="616"/>
                    <a:pt x="60" y="607"/>
                    <a:pt x="77" y="633"/>
                  </a:cubicBezTo>
                  <a:cubicBezTo>
                    <a:pt x="95" y="650"/>
                    <a:pt x="112" y="668"/>
                    <a:pt x="86" y="668"/>
                  </a:cubicBezTo>
                  <a:cubicBezTo>
                    <a:pt x="60" y="659"/>
                    <a:pt x="0" y="659"/>
                    <a:pt x="17" y="668"/>
                  </a:cubicBezTo>
                  <a:cubicBezTo>
                    <a:pt x="35" y="676"/>
                    <a:pt x="60" y="693"/>
                    <a:pt x="60" y="710"/>
                  </a:cubicBezTo>
                  <a:cubicBezTo>
                    <a:pt x="69" y="736"/>
                    <a:pt x="43" y="762"/>
                    <a:pt x="77" y="753"/>
                  </a:cubicBezTo>
                  <a:cubicBezTo>
                    <a:pt x="103" y="745"/>
                    <a:pt x="112" y="728"/>
                    <a:pt x="137" y="745"/>
                  </a:cubicBezTo>
                  <a:cubicBezTo>
                    <a:pt x="155" y="762"/>
                    <a:pt x="189" y="770"/>
                    <a:pt x="223" y="796"/>
                  </a:cubicBezTo>
                  <a:cubicBezTo>
                    <a:pt x="257" y="813"/>
                    <a:pt x="275" y="839"/>
                    <a:pt x="283" y="830"/>
                  </a:cubicBezTo>
                  <a:cubicBezTo>
                    <a:pt x="283" y="822"/>
                    <a:pt x="300" y="822"/>
                    <a:pt x="300" y="839"/>
                  </a:cubicBezTo>
                  <a:cubicBezTo>
                    <a:pt x="300" y="856"/>
                    <a:pt x="292" y="873"/>
                    <a:pt x="317" y="865"/>
                  </a:cubicBezTo>
                  <a:cubicBezTo>
                    <a:pt x="343" y="856"/>
                    <a:pt x="395" y="847"/>
                    <a:pt x="377" y="856"/>
                  </a:cubicBezTo>
                  <a:cubicBezTo>
                    <a:pt x="360" y="873"/>
                    <a:pt x="343" y="882"/>
                    <a:pt x="369" y="890"/>
                  </a:cubicBezTo>
                  <a:cubicBezTo>
                    <a:pt x="403" y="899"/>
                    <a:pt x="420" y="908"/>
                    <a:pt x="412" y="925"/>
                  </a:cubicBezTo>
                  <a:cubicBezTo>
                    <a:pt x="403" y="942"/>
                    <a:pt x="395" y="968"/>
                    <a:pt x="412" y="976"/>
                  </a:cubicBezTo>
                  <a:cubicBezTo>
                    <a:pt x="437" y="985"/>
                    <a:pt x="472" y="968"/>
                    <a:pt x="472" y="985"/>
                  </a:cubicBezTo>
                  <a:cubicBezTo>
                    <a:pt x="472" y="1010"/>
                    <a:pt x="420" y="985"/>
                    <a:pt x="454" y="1019"/>
                  </a:cubicBezTo>
                  <a:cubicBezTo>
                    <a:pt x="489" y="1053"/>
                    <a:pt x="489" y="1036"/>
                    <a:pt x="480" y="1045"/>
                  </a:cubicBezTo>
                  <a:cubicBezTo>
                    <a:pt x="480" y="1062"/>
                    <a:pt x="480" y="1088"/>
                    <a:pt x="463" y="1071"/>
                  </a:cubicBezTo>
                  <a:cubicBezTo>
                    <a:pt x="446" y="1062"/>
                    <a:pt x="420" y="1027"/>
                    <a:pt x="437" y="1062"/>
                  </a:cubicBezTo>
                  <a:cubicBezTo>
                    <a:pt x="446" y="1088"/>
                    <a:pt x="454" y="1096"/>
                    <a:pt x="454" y="1122"/>
                  </a:cubicBezTo>
                  <a:cubicBezTo>
                    <a:pt x="463" y="1139"/>
                    <a:pt x="489" y="1182"/>
                    <a:pt x="506" y="1208"/>
                  </a:cubicBezTo>
                  <a:cubicBezTo>
                    <a:pt x="523" y="1242"/>
                    <a:pt x="566" y="1267"/>
                    <a:pt x="583" y="1285"/>
                  </a:cubicBezTo>
                  <a:cubicBezTo>
                    <a:pt x="609" y="1293"/>
                    <a:pt x="635" y="1293"/>
                    <a:pt x="626" y="1311"/>
                  </a:cubicBezTo>
                  <a:cubicBezTo>
                    <a:pt x="617" y="1328"/>
                    <a:pt x="617" y="1345"/>
                    <a:pt x="626" y="1362"/>
                  </a:cubicBezTo>
                  <a:cubicBezTo>
                    <a:pt x="626" y="1388"/>
                    <a:pt x="617" y="1413"/>
                    <a:pt x="617" y="1430"/>
                  </a:cubicBezTo>
                  <a:cubicBezTo>
                    <a:pt x="609" y="1448"/>
                    <a:pt x="617" y="1456"/>
                    <a:pt x="600" y="1456"/>
                  </a:cubicBezTo>
                  <a:cubicBezTo>
                    <a:pt x="583" y="1456"/>
                    <a:pt x="575" y="1465"/>
                    <a:pt x="600" y="1482"/>
                  </a:cubicBezTo>
                  <a:cubicBezTo>
                    <a:pt x="626" y="1499"/>
                    <a:pt x="669" y="1542"/>
                    <a:pt x="669" y="1559"/>
                  </a:cubicBezTo>
                  <a:cubicBezTo>
                    <a:pt x="669" y="1585"/>
                    <a:pt x="669" y="1645"/>
                    <a:pt x="669" y="1653"/>
                  </a:cubicBezTo>
                  <a:cubicBezTo>
                    <a:pt x="669" y="1670"/>
                    <a:pt x="677" y="1688"/>
                    <a:pt x="686" y="1696"/>
                  </a:cubicBezTo>
                  <a:cubicBezTo>
                    <a:pt x="686" y="1696"/>
                    <a:pt x="694" y="1705"/>
                    <a:pt x="686" y="1705"/>
                  </a:cubicBezTo>
                  <a:cubicBezTo>
                    <a:pt x="686" y="1705"/>
                    <a:pt x="686" y="1705"/>
                    <a:pt x="686" y="1696"/>
                  </a:cubicBezTo>
                  <a:cubicBezTo>
                    <a:pt x="677" y="1688"/>
                    <a:pt x="660" y="1679"/>
                    <a:pt x="660" y="1653"/>
                  </a:cubicBezTo>
                  <a:cubicBezTo>
                    <a:pt x="660" y="1610"/>
                    <a:pt x="669" y="1585"/>
                    <a:pt x="660" y="1576"/>
                  </a:cubicBezTo>
                  <a:cubicBezTo>
                    <a:pt x="652" y="1568"/>
                    <a:pt x="617" y="1499"/>
                    <a:pt x="600" y="1516"/>
                  </a:cubicBezTo>
                  <a:cubicBezTo>
                    <a:pt x="583" y="1533"/>
                    <a:pt x="592" y="1542"/>
                    <a:pt x="583" y="1585"/>
                  </a:cubicBezTo>
                  <a:cubicBezTo>
                    <a:pt x="566" y="1628"/>
                    <a:pt x="549" y="1730"/>
                    <a:pt x="549" y="1747"/>
                  </a:cubicBezTo>
                  <a:cubicBezTo>
                    <a:pt x="549" y="1765"/>
                    <a:pt x="583" y="1756"/>
                    <a:pt x="575" y="1765"/>
                  </a:cubicBezTo>
                  <a:cubicBezTo>
                    <a:pt x="566" y="1773"/>
                    <a:pt x="540" y="1782"/>
                    <a:pt x="532" y="1791"/>
                  </a:cubicBezTo>
                  <a:cubicBezTo>
                    <a:pt x="523" y="1799"/>
                    <a:pt x="454" y="2056"/>
                    <a:pt x="437" y="2073"/>
                  </a:cubicBezTo>
                  <a:cubicBezTo>
                    <a:pt x="412" y="2099"/>
                    <a:pt x="412" y="2133"/>
                    <a:pt x="386" y="2133"/>
                  </a:cubicBezTo>
                  <a:cubicBezTo>
                    <a:pt x="377" y="2133"/>
                    <a:pt x="369" y="2133"/>
                    <a:pt x="352" y="2133"/>
                  </a:cubicBezTo>
                  <a:cubicBezTo>
                    <a:pt x="360" y="2150"/>
                    <a:pt x="369" y="2159"/>
                    <a:pt x="377" y="2168"/>
                  </a:cubicBezTo>
                  <a:cubicBezTo>
                    <a:pt x="395" y="2176"/>
                    <a:pt x="395" y="2176"/>
                    <a:pt x="412" y="2176"/>
                  </a:cubicBezTo>
                  <a:cubicBezTo>
                    <a:pt x="437" y="2185"/>
                    <a:pt x="446" y="2193"/>
                    <a:pt x="437" y="2211"/>
                  </a:cubicBezTo>
                  <a:cubicBezTo>
                    <a:pt x="429" y="2219"/>
                    <a:pt x="403" y="2236"/>
                    <a:pt x="420" y="2245"/>
                  </a:cubicBezTo>
                  <a:cubicBezTo>
                    <a:pt x="429" y="2245"/>
                    <a:pt x="429" y="2211"/>
                    <a:pt x="446" y="2228"/>
                  </a:cubicBezTo>
                  <a:cubicBezTo>
                    <a:pt x="463" y="2245"/>
                    <a:pt x="454" y="2253"/>
                    <a:pt x="489" y="2262"/>
                  </a:cubicBezTo>
                  <a:cubicBezTo>
                    <a:pt x="515" y="2279"/>
                    <a:pt x="523" y="2288"/>
                    <a:pt x="549" y="2296"/>
                  </a:cubicBezTo>
                  <a:cubicBezTo>
                    <a:pt x="566" y="2305"/>
                    <a:pt x="575" y="2322"/>
                    <a:pt x="583" y="2339"/>
                  </a:cubicBezTo>
                  <a:cubicBezTo>
                    <a:pt x="600" y="2356"/>
                    <a:pt x="609" y="2356"/>
                    <a:pt x="626" y="2348"/>
                  </a:cubicBezTo>
                  <a:cubicBezTo>
                    <a:pt x="643" y="2348"/>
                    <a:pt x="643" y="2330"/>
                    <a:pt x="669" y="2356"/>
                  </a:cubicBezTo>
                  <a:cubicBezTo>
                    <a:pt x="686" y="2373"/>
                    <a:pt x="720" y="2399"/>
                    <a:pt x="738" y="2399"/>
                  </a:cubicBezTo>
                  <a:cubicBezTo>
                    <a:pt x="755" y="2390"/>
                    <a:pt x="763" y="2399"/>
                    <a:pt x="780" y="2399"/>
                  </a:cubicBezTo>
                  <a:cubicBezTo>
                    <a:pt x="797" y="2408"/>
                    <a:pt x="832" y="2416"/>
                    <a:pt x="840" y="2416"/>
                  </a:cubicBezTo>
                  <a:cubicBezTo>
                    <a:pt x="849" y="2408"/>
                    <a:pt x="866" y="2416"/>
                    <a:pt x="866" y="2408"/>
                  </a:cubicBezTo>
                  <a:cubicBezTo>
                    <a:pt x="866" y="2390"/>
                    <a:pt x="857" y="2373"/>
                    <a:pt x="883" y="2373"/>
                  </a:cubicBezTo>
                  <a:cubicBezTo>
                    <a:pt x="909" y="2382"/>
                    <a:pt x="943" y="2399"/>
                    <a:pt x="969" y="2416"/>
                  </a:cubicBezTo>
                  <a:cubicBezTo>
                    <a:pt x="995" y="2425"/>
                    <a:pt x="1003" y="2416"/>
                    <a:pt x="1012" y="2425"/>
                  </a:cubicBezTo>
                  <a:cubicBezTo>
                    <a:pt x="1029" y="2425"/>
                    <a:pt x="1037" y="2433"/>
                    <a:pt x="1046" y="2433"/>
                  </a:cubicBezTo>
                  <a:cubicBezTo>
                    <a:pt x="1063" y="2451"/>
                    <a:pt x="1097" y="2451"/>
                    <a:pt x="1097" y="2468"/>
                  </a:cubicBezTo>
                  <a:cubicBezTo>
                    <a:pt x="1097" y="2476"/>
                    <a:pt x="1089" y="2493"/>
                    <a:pt x="1089" y="2511"/>
                  </a:cubicBezTo>
                  <a:cubicBezTo>
                    <a:pt x="1106" y="2511"/>
                    <a:pt x="1140" y="2519"/>
                    <a:pt x="1140" y="2519"/>
                  </a:cubicBezTo>
                  <a:cubicBezTo>
                    <a:pt x="1149" y="2528"/>
                    <a:pt x="1174" y="2519"/>
                    <a:pt x="1209" y="2536"/>
                  </a:cubicBezTo>
                  <a:cubicBezTo>
                    <a:pt x="1235" y="2545"/>
                    <a:pt x="1252" y="2562"/>
                    <a:pt x="1286" y="2562"/>
                  </a:cubicBezTo>
                  <a:cubicBezTo>
                    <a:pt x="1312" y="2553"/>
                    <a:pt x="1312" y="2528"/>
                    <a:pt x="1355" y="2528"/>
                  </a:cubicBezTo>
                  <a:cubicBezTo>
                    <a:pt x="1380" y="2536"/>
                    <a:pt x="1397" y="2545"/>
                    <a:pt x="1406" y="2553"/>
                  </a:cubicBezTo>
                  <a:cubicBezTo>
                    <a:pt x="1406" y="2545"/>
                    <a:pt x="1406" y="2545"/>
                    <a:pt x="1406" y="2536"/>
                  </a:cubicBezTo>
                  <a:cubicBezTo>
                    <a:pt x="1406" y="2519"/>
                    <a:pt x="1372" y="2528"/>
                    <a:pt x="1389" y="2493"/>
                  </a:cubicBezTo>
                  <a:cubicBezTo>
                    <a:pt x="1397" y="2459"/>
                    <a:pt x="1363" y="2416"/>
                    <a:pt x="1406" y="2373"/>
                  </a:cubicBezTo>
                  <a:cubicBezTo>
                    <a:pt x="1440" y="2330"/>
                    <a:pt x="1458" y="2305"/>
                    <a:pt x="1483" y="2296"/>
                  </a:cubicBezTo>
                  <a:cubicBezTo>
                    <a:pt x="1509" y="2288"/>
                    <a:pt x="1526" y="2305"/>
                    <a:pt x="1569" y="2271"/>
                  </a:cubicBezTo>
                  <a:cubicBezTo>
                    <a:pt x="1603" y="2236"/>
                    <a:pt x="1637" y="2228"/>
                    <a:pt x="1646" y="2245"/>
                  </a:cubicBezTo>
                  <a:cubicBezTo>
                    <a:pt x="1646" y="2253"/>
                    <a:pt x="1663" y="2253"/>
                    <a:pt x="1689" y="2262"/>
                  </a:cubicBezTo>
                  <a:cubicBezTo>
                    <a:pt x="1706" y="2262"/>
                    <a:pt x="1740" y="2253"/>
                    <a:pt x="1740" y="2271"/>
                  </a:cubicBezTo>
                  <a:cubicBezTo>
                    <a:pt x="1740" y="2296"/>
                    <a:pt x="1766" y="2305"/>
                    <a:pt x="1775" y="2305"/>
                  </a:cubicBezTo>
                  <a:cubicBezTo>
                    <a:pt x="1783" y="2296"/>
                    <a:pt x="1775" y="2253"/>
                    <a:pt x="1775" y="2253"/>
                  </a:cubicBezTo>
                  <a:cubicBezTo>
                    <a:pt x="1783" y="2253"/>
                    <a:pt x="1783" y="2288"/>
                    <a:pt x="1800" y="2288"/>
                  </a:cubicBezTo>
                  <a:cubicBezTo>
                    <a:pt x="1826" y="2288"/>
                    <a:pt x="1843" y="2313"/>
                    <a:pt x="1843" y="2288"/>
                  </a:cubicBezTo>
                  <a:cubicBezTo>
                    <a:pt x="1843" y="2262"/>
                    <a:pt x="1852" y="2253"/>
                    <a:pt x="1860" y="2262"/>
                  </a:cubicBezTo>
                  <a:cubicBezTo>
                    <a:pt x="1869" y="2271"/>
                    <a:pt x="1886" y="2279"/>
                    <a:pt x="1869" y="2288"/>
                  </a:cubicBezTo>
                  <a:cubicBezTo>
                    <a:pt x="1852" y="2296"/>
                    <a:pt x="1835" y="2305"/>
                    <a:pt x="1860" y="2305"/>
                  </a:cubicBezTo>
                  <a:cubicBezTo>
                    <a:pt x="1877" y="2305"/>
                    <a:pt x="1903" y="2305"/>
                    <a:pt x="1903" y="2313"/>
                  </a:cubicBezTo>
                  <a:cubicBezTo>
                    <a:pt x="1903" y="2330"/>
                    <a:pt x="1894" y="2348"/>
                    <a:pt x="1920" y="2348"/>
                  </a:cubicBezTo>
                  <a:cubicBezTo>
                    <a:pt x="1938" y="2348"/>
                    <a:pt x="1972" y="2390"/>
                    <a:pt x="1997" y="2399"/>
                  </a:cubicBezTo>
                  <a:cubicBezTo>
                    <a:pt x="2015" y="2399"/>
                    <a:pt x="2023" y="2399"/>
                    <a:pt x="2057" y="2399"/>
                  </a:cubicBezTo>
                  <a:cubicBezTo>
                    <a:pt x="2092" y="2390"/>
                    <a:pt x="2152" y="2390"/>
                    <a:pt x="2169" y="2373"/>
                  </a:cubicBezTo>
                  <a:cubicBezTo>
                    <a:pt x="2178" y="2365"/>
                    <a:pt x="2178" y="2348"/>
                    <a:pt x="2195" y="2330"/>
                  </a:cubicBezTo>
                  <a:cubicBezTo>
                    <a:pt x="2220" y="2313"/>
                    <a:pt x="2246" y="2288"/>
                    <a:pt x="2263" y="2271"/>
                  </a:cubicBezTo>
                  <a:cubicBezTo>
                    <a:pt x="2280" y="2253"/>
                    <a:pt x="2297" y="2245"/>
                    <a:pt x="2323" y="2236"/>
                  </a:cubicBezTo>
                  <a:cubicBezTo>
                    <a:pt x="2332" y="2228"/>
                    <a:pt x="2332" y="2219"/>
                    <a:pt x="2332" y="2219"/>
                  </a:cubicBezTo>
                  <a:cubicBezTo>
                    <a:pt x="2332" y="2211"/>
                    <a:pt x="2349" y="2211"/>
                    <a:pt x="2357" y="2211"/>
                  </a:cubicBezTo>
                  <a:cubicBezTo>
                    <a:pt x="2366" y="2211"/>
                    <a:pt x="2366" y="2211"/>
                    <a:pt x="2366" y="2219"/>
                  </a:cubicBezTo>
                  <a:cubicBezTo>
                    <a:pt x="2374" y="2219"/>
                    <a:pt x="2374" y="2219"/>
                    <a:pt x="2374" y="2219"/>
                  </a:cubicBezTo>
                  <a:cubicBezTo>
                    <a:pt x="2366" y="2202"/>
                    <a:pt x="2366" y="2185"/>
                    <a:pt x="2374" y="217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2" name="Freeform 93"/>
            <p:cNvSpPr>
              <a:spLocks noChangeArrowheads="1"/>
            </p:cNvSpPr>
            <p:nvPr/>
          </p:nvSpPr>
          <p:spPr bwMode="auto">
            <a:xfrm>
              <a:off x="2054225" y="4046538"/>
              <a:ext cx="31750" cy="31750"/>
            </a:xfrm>
            <a:custGeom>
              <a:avLst/>
              <a:gdLst>
                <a:gd name="T0" fmla="*/ 2147483647 w 86"/>
                <a:gd name="T1" fmla="*/ 2147483647 h 87"/>
                <a:gd name="T2" fmla="*/ 2147483647 w 86"/>
                <a:gd name="T3" fmla="*/ 2147483647 h 87"/>
                <a:gd name="T4" fmla="*/ 0 w 86"/>
                <a:gd name="T5" fmla="*/ 0 h 87"/>
                <a:gd name="T6" fmla="*/ 2147483647 w 86"/>
                <a:gd name="T7" fmla="*/ 2147483647 h 87"/>
                <a:gd name="T8" fmla="*/ 2147483647 w 86"/>
                <a:gd name="T9" fmla="*/ 2147483647 h 87"/>
                <a:gd name="T10" fmla="*/ 2147483647 w 86"/>
                <a:gd name="T11" fmla="*/ 2147483647 h 87"/>
                <a:gd name="T12" fmla="*/ 2147483647 w 86"/>
                <a:gd name="T13" fmla="*/ 2147483647 h 87"/>
                <a:gd name="T14" fmla="*/ 2147483647 w 86"/>
                <a:gd name="T15" fmla="*/ 2147483647 h 87"/>
                <a:gd name="T16" fmla="*/ 2147483647 w 86"/>
                <a:gd name="T17" fmla="*/ 2147483647 h 8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87"/>
                <a:gd name="T29" fmla="*/ 86 w 86"/>
                <a:gd name="T30" fmla="*/ 87 h 8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87">
                  <a:moveTo>
                    <a:pt x="34" y="8"/>
                  </a:moveTo>
                  <a:lnTo>
                    <a:pt x="34" y="8"/>
                  </a:lnTo>
                  <a:cubicBezTo>
                    <a:pt x="25" y="8"/>
                    <a:pt x="17" y="0"/>
                    <a:pt x="0" y="0"/>
                  </a:cubicBezTo>
                  <a:cubicBezTo>
                    <a:pt x="8" y="0"/>
                    <a:pt x="8" y="8"/>
                    <a:pt x="8" y="8"/>
                  </a:cubicBezTo>
                  <a:cubicBezTo>
                    <a:pt x="17" y="26"/>
                    <a:pt x="17" y="43"/>
                    <a:pt x="34" y="51"/>
                  </a:cubicBezTo>
                  <a:cubicBezTo>
                    <a:pt x="43" y="60"/>
                    <a:pt x="51" y="86"/>
                    <a:pt x="77" y="86"/>
                  </a:cubicBezTo>
                  <a:cubicBezTo>
                    <a:pt x="77" y="68"/>
                    <a:pt x="85" y="51"/>
                    <a:pt x="85" y="43"/>
                  </a:cubicBezTo>
                  <a:cubicBezTo>
                    <a:pt x="85" y="26"/>
                    <a:pt x="51" y="26"/>
                    <a:pt x="34" y="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3" name="Freeform 94"/>
            <p:cNvSpPr>
              <a:spLocks noChangeArrowheads="1"/>
            </p:cNvSpPr>
            <p:nvPr/>
          </p:nvSpPr>
          <p:spPr bwMode="auto">
            <a:xfrm>
              <a:off x="1223963" y="3810000"/>
              <a:ext cx="977900" cy="858838"/>
            </a:xfrm>
            <a:custGeom>
              <a:avLst/>
              <a:gdLst>
                <a:gd name="T0" fmla="*/ 2147483647 w 2718"/>
                <a:gd name="T1" fmla="*/ 2147483647 h 2384"/>
                <a:gd name="T2" fmla="*/ 2147483647 w 2718"/>
                <a:gd name="T3" fmla="*/ 2147483647 h 2384"/>
                <a:gd name="T4" fmla="*/ 2147483647 w 2718"/>
                <a:gd name="T5" fmla="*/ 2147483647 h 2384"/>
                <a:gd name="T6" fmla="*/ 2147483647 w 2718"/>
                <a:gd name="T7" fmla="*/ 2147483647 h 2384"/>
                <a:gd name="T8" fmla="*/ 2147483647 w 2718"/>
                <a:gd name="T9" fmla="*/ 2147483647 h 2384"/>
                <a:gd name="T10" fmla="*/ 2147483647 w 2718"/>
                <a:gd name="T11" fmla="*/ 2147483647 h 2384"/>
                <a:gd name="T12" fmla="*/ 2147483647 w 2718"/>
                <a:gd name="T13" fmla="*/ 2147483647 h 2384"/>
                <a:gd name="T14" fmla="*/ 2147483647 w 2718"/>
                <a:gd name="T15" fmla="*/ 2147483647 h 2384"/>
                <a:gd name="T16" fmla="*/ 2147483647 w 2718"/>
                <a:gd name="T17" fmla="*/ 2147483647 h 2384"/>
                <a:gd name="T18" fmla="*/ 2147483647 w 2718"/>
                <a:gd name="T19" fmla="*/ 2147483647 h 2384"/>
                <a:gd name="T20" fmla="*/ 2147483647 w 2718"/>
                <a:gd name="T21" fmla="*/ 2147483647 h 2384"/>
                <a:gd name="T22" fmla="*/ 2147483647 w 2718"/>
                <a:gd name="T23" fmla="*/ 2147483647 h 2384"/>
                <a:gd name="T24" fmla="*/ 2147483647 w 2718"/>
                <a:gd name="T25" fmla="*/ 2147483647 h 2384"/>
                <a:gd name="T26" fmla="*/ 2147483647 w 2718"/>
                <a:gd name="T27" fmla="*/ 2147483647 h 2384"/>
                <a:gd name="T28" fmla="*/ 2147483647 w 2718"/>
                <a:gd name="T29" fmla="*/ 2147483647 h 2384"/>
                <a:gd name="T30" fmla="*/ 2147483647 w 2718"/>
                <a:gd name="T31" fmla="*/ 2147483647 h 2384"/>
                <a:gd name="T32" fmla="*/ 2147483647 w 2718"/>
                <a:gd name="T33" fmla="*/ 2147483647 h 2384"/>
                <a:gd name="T34" fmla="*/ 2147483647 w 2718"/>
                <a:gd name="T35" fmla="*/ 2147483647 h 2384"/>
                <a:gd name="T36" fmla="*/ 2147483647 w 2718"/>
                <a:gd name="T37" fmla="*/ 2147483647 h 2384"/>
                <a:gd name="T38" fmla="*/ 2147483647 w 2718"/>
                <a:gd name="T39" fmla="*/ 2147483647 h 2384"/>
                <a:gd name="T40" fmla="*/ 2147483647 w 2718"/>
                <a:gd name="T41" fmla="*/ 2147483647 h 2384"/>
                <a:gd name="T42" fmla="*/ 2147483647 w 2718"/>
                <a:gd name="T43" fmla="*/ 2147483647 h 2384"/>
                <a:gd name="T44" fmla="*/ 2147483647 w 2718"/>
                <a:gd name="T45" fmla="*/ 2147483647 h 2384"/>
                <a:gd name="T46" fmla="*/ 2147483647 w 2718"/>
                <a:gd name="T47" fmla="*/ 2147483647 h 2384"/>
                <a:gd name="T48" fmla="*/ 2147483647 w 2718"/>
                <a:gd name="T49" fmla="*/ 2147483647 h 2384"/>
                <a:gd name="T50" fmla="*/ 2147483647 w 2718"/>
                <a:gd name="T51" fmla="*/ 2147483647 h 2384"/>
                <a:gd name="T52" fmla="*/ 2147483647 w 2718"/>
                <a:gd name="T53" fmla="*/ 2147483647 h 2384"/>
                <a:gd name="T54" fmla="*/ 2147483647 w 2718"/>
                <a:gd name="T55" fmla="*/ 2147483647 h 2384"/>
                <a:gd name="T56" fmla="*/ 2147483647 w 2718"/>
                <a:gd name="T57" fmla="*/ 2147483647 h 2384"/>
                <a:gd name="T58" fmla="*/ 2147483647 w 2718"/>
                <a:gd name="T59" fmla="*/ 2147483647 h 2384"/>
                <a:gd name="T60" fmla="*/ 2147483647 w 2718"/>
                <a:gd name="T61" fmla="*/ 2147483647 h 2384"/>
                <a:gd name="T62" fmla="*/ 2147483647 w 2718"/>
                <a:gd name="T63" fmla="*/ 2147483647 h 2384"/>
                <a:gd name="T64" fmla="*/ 2147483647 w 2718"/>
                <a:gd name="T65" fmla="*/ 2147483647 h 2384"/>
                <a:gd name="T66" fmla="*/ 2147483647 w 2718"/>
                <a:gd name="T67" fmla="*/ 2147483647 h 2384"/>
                <a:gd name="T68" fmla="*/ 0 w 2718"/>
                <a:gd name="T69" fmla="*/ 2147483647 h 2384"/>
                <a:gd name="T70" fmla="*/ 2147483647 w 2718"/>
                <a:gd name="T71" fmla="*/ 2147483647 h 2384"/>
                <a:gd name="T72" fmla="*/ 2147483647 w 2718"/>
                <a:gd name="T73" fmla="*/ 2147483647 h 2384"/>
                <a:gd name="T74" fmla="*/ 2147483647 w 2718"/>
                <a:gd name="T75" fmla="*/ 2147483647 h 2384"/>
                <a:gd name="T76" fmla="*/ 2147483647 w 2718"/>
                <a:gd name="T77" fmla="*/ 2147483647 h 2384"/>
                <a:gd name="T78" fmla="*/ 2147483647 w 2718"/>
                <a:gd name="T79" fmla="*/ 2147483647 h 2384"/>
                <a:gd name="T80" fmla="*/ 2147483647 w 2718"/>
                <a:gd name="T81" fmla="*/ 2147483647 h 2384"/>
                <a:gd name="T82" fmla="*/ 2147483647 w 2718"/>
                <a:gd name="T83" fmla="*/ 2147483647 h 2384"/>
                <a:gd name="T84" fmla="*/ 2147483647 w 2718"/>
                <a:gd name="T85" fmla="*/ 2147483647 h 2384"/>
                <a:gd name="T86" fmla="*/ 2147483647 w 2718"/>
                <a:gd name="T87" fmla="*/ 2147483647 h 2384"/>
                <a:gd name="T88" fmla="*/ 2147483647 w 2718"/>
                <a:gd name="T89" fmla="*/ 2147483647 h 2384"/>
                <a:gd name="T90" fmla="*/ 2147483647 w 2718"/>
                <a:gd name="T91" fmla="*/ 2147483647 h 2384"/>
                <a:gd name="T92" fmla="*/ 2147483647 w 2718"/>
                <a:gd name="T93" fmla="*/ 2147483647 h 2384"/>
                <a:gd name="T94" fmla="*/ 2147483647 w 2718"/>
                <a:gd name="T95" fmla="*/ 2147483647 h 2384"/>
                <a:gd name="T96" fmla="*/ 2147483647 w 2718"/>
                <a:gd name="T97" fmla="*/ 2147483647 h 2384"/>
                <a:gd name="T98" fmla="*/ 2147483647 w 2718"/>
                <a:gd name="T99" fmla="*/ 2147483647 h 2384"/>
                <a:gd name="T100" fmla="*/ 2147483647 w 2718"/>
                <a:gd name="T101" fmla="*/ 2147483647 h 238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18"/>
                <a:gd name="T154" fmla="*/ 0 h 2384"/>
                <a:gd name="T155" fmla="*/ 2718 w 2718"/>
                <a:gd name="T156" fmla="*/ 2384 h 238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18" h="2384">
                  <a:moveTo>
                    <a:pt x="2580" y="797"/>
                  </a:moveTo>
                  <a:lnTo>
                    <a:pt x="2580" y="797"/>
                  </a:lnTo>
                  <a:cubicBezTo>
                    <a:pt x="2546" y="797"/>
                    <a:pt x="2529" y="780"/>
                    <a:pt x="2503" y="771"/>
                  </a:cubicBezTo>
                  <a:cubicBezTo>
                    <a:pt x="2468" y="754"/>
                    <a:pt x="2443" y="763"/>
                    <a:pt x="2434" y="754"/>
                  </a:cubicBezTo>
                  <a:cubicBezTo>
                    <a:pt x="2434" y="754"/>
                    <a:pt x="2400" y="746"/>
                    <a:pt x="2383" y="746"/>
                  </a:cubicBezTo>
                  <a:cubicBezTo>
                    <a:pt x="2357" y="746"/>
                    <a:pt x="2349" y="720"/>
                    <a:pt x="2340" y="711"/>
                  </a:cubicBezTo>
                  <a:cubicBezTo>
                    <a:pt x="2323" y="703"/>
                    <a:pt x="2323" y="686"/>
                    <a:pt x="2314" y="668"/>
                  </a:cubicBezTo>
                  <a:cubicBezTo>
                    <a:pt x="2306" y="651"/>
                    <a:pt x="2289" y="660"/>
                    <a:pt x="2263" y="651"/>
                  </a:cubicBezTo>
                  <a:cubicBezTo>
                    <a:pt x="2237" y="634"/>
                    <a:pt x="2203" y="617"/>
                    <a:pt x="2177" y="608"/>
                  </a:cubicBezTo>
                  <a:cubicBezTo>
                    <a:pt x="2151" y="608"/>
                    <a:pt x="2160" y="625"/>
                    <a:pt x="2160" y="643"/>
                  </a:cubicBezTo>
                  <a:cubicBezTo>
                    <a:pt x="2160" y="651"/>
                    <a:pt x="2143" y="643"/>
                    <a:pt x="2134" y="651"/>
                  </a:cubicBezTo>
                  <a:cubicBezTo>
                    <a:pt x="2126" y="651"/>
                    <a:pt x="2091" y="643"/>
                    <a:pt x="2074" y="634"/>
                  </a:cubicBezTo>
                  <a:cubicBezTo>
                    <a:pt x="2057" y="634"/>
                    <a:pt x="2049" y="625"/>
                    <a:pt x="2032" y="634"/>
                  </a:cubicBezTo>
                  <a:cubicBezTo>
                    <a:pt x="2014" y="634"/>
                    <a:pt x="1980" y="608"/>
                    <a:pt x="1963" y="591"/>
                  </a:cubicBezTo>
                  <a:cubicBezTo>
                    <a:pt x="1937" y="565"/>
                    <a:pt x="1937" y="583"/>
                    <a:pt x="1920" y="583"/>
                  </a:cubicBezTo>
                  <a:cubicBezTo>
                    <a:pt x="1903" y="591"/>
                    <a:pt x="1894" y="591"/>
                    <a:pt x="1877" y="574"/>
                  </a:cubicBezTo>
                  <a:cubicBezTo>
                    <a:pt x="1869" y="557"/>
                    <a:pt x="1860" y="540"/>
                    <a:pt x="1843" y="531"/>
                  </a:cubicBezTo>
                  <a:cubicBezTo>
                    <a:pt x="1817" y="523"/>
                    <a:pt x="1809" y="514"/>
                    <a:pt x="1783" y="497"/>
                  </a:cubicBezTo>
                  <a:cubicBezTo>
                    <a:pt x="1748" y="488"/>
                    <a:pt x="1757" y="480"/>
                    <a:pt x="1740" y="463"/>
                  </a:cubicBezTo>
                  <a:cubicBezTo>
                    <a:pt x="1723" y="446"/>
                    <a:pt x="1723" y="480"/>
                    <a:pt x="1714" y="480"/>
                  </a:cubicBezTo>
                  <a:cubicBezTo>
                    <a:pt x="1697" y="471"/>
                    <a:pt x="1723" y="454"/>
                    <a:pt x="1731" y="446"/>
                  </a:cubicBezTo>
                  <a:cubicBezTo>
                    <a:pt x="1740" y="428"/>
                    <a:pt x="1731" y="420"/>
                    <a:pt x="1706" y="411"/>
                  </a:cubicBezTo>
                  <a:cubicBezTo>
                    <a:pt x="1689" y="411"/>
                    <a:pt x="1689" y="411"/>
                    <a:pt x="1671" y="403"/>
                  </a:cubicBezTo>
                  <a:cubicBezTo>
                    <a:pt x="1663" y="394"/>
                    <a:pt x="1654" y="385"/>
                    <a:pt x="1646" y="368"/>
                  </a:cubicBezTo>
                  <a:cubicBezTo>
                    <a:pt x="1637" y="368"/>
                    <a:pt x="1629" y="368"/>
                    <a:pt x="1629" y="368"/>
                  </a:cubicBezTo>
                  <a:cubicBezTo>
                    <a:pt x="1620" y="368"/>
                    <a:pt x="1594" y="394"/>
                    <a:pt x="1560" y="377"/>
                  </a:cubicBezTo>
                  <a:cubicBezTo>
                    <a:pt x="1526" y="368"/>
                    <a:pt x="1500" y="351"/>
                    <a:pt x="1483" y="334"/>
                  </a:cubicBezTo>
                  <a:cubicBezTo>
                    <a:pt x="1457" y="325"/>
                    <a:pt x="1423" y="308"/>
                    <a:pt x="1406" y="308"/>
                  </a:cubicBezTo>
                  <a:cubicBezTo>
                    <a:pt x="1397" y="317"/>
                    <a:pt x="1380" y="334"/>
                    <a:pt x="1354" y="325"/>
                  </a:cubicBezTo>
                  <a:cubicBezTo>
                    <a:pt x="1329" y="308"/>
                    <a:pt x="1320" y="308"/>
                    <a:pt x="1303" y="300"/>
                  </a:cubicBezTo>
                  <a:cubicBezTo>
                    <a:pt x="1286" y="291"/>
                    <a:pt x="1277" y="274"/>
                    <a:pt x="1260" y="274"/>
                  </a:cubicBezTo>
                  <a:cubicBezTo>
                    <a:pt x="1243" y="274"/>
                    <a:pt x="1183" y="274"/>
                    <a:pt x="1157" y="274"/>
                  </a:cubicBezTo>
                  <a:cubicBezTo>
                    <a:pt x="1131" y="274"/>
                    <a:pt x="1080" y="266"/>
                    <a:pt x="1037" y="240"/>
                  </a:cubicBezTo>
                  <a:cubicBezTo>
                    <a:pt x="994" y="223"/>
                    <a:pt x="917" y="188"/>
                    <a:pt x="883" y="180"/>
                  </a:cubicBezTo>
                  <a:cubicBezTo>
                    <a:pt x="857" y="171"/>
                    <a:pt x="840" y="171"/>
                    <a:pt x="823" y="154"/>
                  </a:cubicBezTo>
                  <a:cubicBezTo>
                    <a:pt x="806" y="137"/>
                    <a:pt x="814" y="111"/>
                    <a:pt x="788" y="120"/>
                  </a:cubicBezTo>
                  <a:cubicBezTo>
                    <a:pt x="771" y="128"/>
                    <a:pt x="771" y="145"/>
                    <a:pt x="729" y="137"/>
                  </a:cubicBezTo>
                  <a:cubicBezTo>
                    <a:pt x="686" y="128"/>
                    <a:pt x="497" y="103"/>
                    <a:pt x="489" y="85"/>
                  </a:cubicBezTo>
                  <a:cubicBezTo>
                    <a:pt x="471" y="68"/>
                    <a:pt x="471" y="34"/>
                    <a:pt x="446" y="26"/>
                  </a:cubicBezTo>
                  <a:cubicBezTo>
                    <a:pt x="411" y="8"/>
                    <a:pt x="403" y="26"/>
                    <a:pt x="386" y="26"/>
                  </a:cubicBezTo>
                  <a:cubicBezTo>
                    <a:pt x="360" y="17"/>
                    <a:pt x="377" y="0"/>
                    <a:pt x="351" y="8"/>
                  </a:cubicBezTo>
                  <a:cubicBezTo>
                    <a:pt x="334" y="17"/>
                    <a:pt x="300" y="34"/>
                    <a:pt x="283" y="34"/>
                  </a:cubicBezTo>
                  <a:cubicBezTo>
                    <a:pt x="274" y="34"/>
                    <a:pt x="249" y="51"/>
                    <a:pt x="257" y="51"/>
                  </a:cubicBezTo>
                  <a:cubicBezTo>
                    <a:pt x="266" y="51"/>
                    <a:pt x="291" y="51"/>
                    <a:pt x="283" y="68"/>
                  </a:cubicBezTo>
                  <a:cubicBezTo>
                    <a:pt x="266" y="77"/>
                    <a:pt x="274" y="111"/>
                    <a:pt x="249" y="94"/>
                  </a:cubicBezTo>
                  <a:cubicBezTo>
                    <a:pt x="223" y="85"/>
                    <a:pt x="197" y="85"/>
                    <a:pt x="180" y="94"/>
                  </a:cubicBezTo>
                  <a:cubicBezTo>
                    <a:pt x="171" y="94"/>
                    <a:pt x="146" y="77"/>
                    <a:pt x="129" y="77"/>
                  </a:cubicBezTo>
                  <a:cubicBezTo>
                    <a:pt x="103" y="77"/>
                    <a:pt x="94" y="94"/>
                    <a:pt x="77" y="94"/>
                  </a:cubicBezTo>
                  <a:cubicBezTo>
                    <a:pt x="60" y="94"/>
                    <a:pt x="26" y="103"/>
                    <a:pt x="26" y="120"/>
                  </a:cubicBezTo>
                  <a:cubicBezTo>
                    <a:pt x="26" y="137"/>
                    <a:pt x="34" y="145"/>
                    <a:pt x="34" y="171"/>
                  </a:cubicBezTo>
                  <a:cubicBezTo>
                    <a:pt x="34" y="197"/>
                    <a:pt x="51" y="231"/>
                    <a:pt x="60" y="231"/>
                  </a:cubicBezTo>
                  <a:cubicBezTo>
                    <a:pt x="68" y="223"/>
                    <a:pt x="34" y="257"/>
                    <a:pt x="34" y="274"/>
                  </a:cubicBezTo>
                  <a:cubicBezTo>
                    <a:pt x="34" y="283"/>
                    <a:pt x="34" y="283"/>
                    <a:pt x="51" y="274"/>
                  </a:cubicBezTo>
                  <a:cubicBezTo>
                    <a:pt x="77" y="266"/>
                    <a:pt x="103" y="240"/>
                    <a:pt x="94" y="266"/>
                  </a:cubicBezTo>
                  <a:cubicBezTo>
                    <a:pt x="77" y="291"/>
                    <a:pt x="60" y="300"/>
                    <a:pt x="60" y="317"/>
                  </a:cubicBezTo>
                  <a:cubicBezTo>
                    <a:pt x="60" y="334"/>
                    <a:pt x="77" y="343"/>
                    <a:pt x="77" y="343"/>
                  </a:cubicBezTo>
                  <a:cubicBezTo>
                    <a:pt x="86" y="351"/>
                    <a:pt x="60" y="360"/>
                    <a:pt x="68" y="368"/>
                  </a:cubicBezTo>
                  <a:cubicBezTo>
                    <a:pt x="68" y="385"/>
                    <a:pt x="103" y="377"/>
                    <a:pt x="103" y="377"/>
                  </a:cubicBezTo>
                  <a:cubicBezTo>
                    <a:pt x="103" y="377"/>
                    <a:pt x="103" y="377"/>
                    <a:pt x="94" y="385"/>
                  </a:cubicBezTo>
                  <a:cubicBezTo>
                    <a:pt x="86" y="394"/>
                    <a:pt x="77" y="403"/>
                    <a:pt x="60" y="420"/>
                  </a:cubicBezTo>
                  <a:cubicBezTo>
                    <a:pt x="34" y="437"/>
                    <a:pt x="26" y="463"/>
                    <a:pt x="17" y="488"/>
                  </a:cubicBezTo>
                  <a:cubicBezTo>
                    <a:pt x="43" y="471"/>
                    <a:pt x="77" y="446"/>
                    <a:pt x="86" y="446"/>
                  </a:cubicBezTo>
                  <a:cubicBezTo>
                    <a:pt x="111" y="446"/>
                    <a:pt x="120" y="446"/>
                    <a:pt x="129" y="446"/>
                  </a:cubicBezTo>
                  <a:cubicBezTo>
                    <a:pt x="146" y="446"/>
                    <a:pt x="163" y="437"/>
                    <a:pt x="180" y="446"/>
                  </a:cubicBezTo>
                  <a:cubicBezTo>
                    <a:pt x="189" y="454"/>
                    <a:pt x="197" y="471"/>
                    <a:pt x="197" y="480"/>
                  </a:cubicBezTo>
                  <a:cubicBezTo>
                    <a:pt x="197" y="497"/>
                    <a:pt x="171" y="506"/>
                    <a:pt x="171" y="514"/>
                  </a:cubicBezTo>
                  <a:cubicBezTo>
                    <a:pt x="171" y="531"/>
                    <a:pt x="163" y="540"/>
                    <a:pt x="180" y="540"/>
                  </a:cubicBezTo>
                  <a:cubicBezTo>
                    <a:pt x="206" y="548"/>
                    <a:pt x="206" y="514"/>
                    <a:pt x="231" y="531"/>
                  </a:cubicBezTo>
                  <a:cubicBezTo>
                    <a:pt x="266" y="548"/>
                    <a:pt x="266" y="557"/>
                    <a:pt x="291" y="557"/>
                  </a:cubicBezTo>
                  <a:cubicBezTo>
                    <a:pt x="308" y="565"/>
                    <a:pt x="308" y="565"/>
                    <a:pt x="334" y="574"/>
                  </a:cubicBezTo>
                  <a:cubicBezTo>
                    <a:pt x="351" y="583"/>
                    <a:pt x="369" y="583"/>
                    <a:pt x="386" y="565"/>
                  </a:cubicBezTo>
                  <a:cubicBezTo>
                    <a:pt x="394" y="557"/>
                    <a:pt x="386" y="531"/>
                    <a:pt x="411" y="548"/>
                  </a:cubicBezTo>
                  <a:cubicBezTo>
                    <a:pt x="429" y="565"/>
                    <a:pt x="454" y="574"/>
                    <a:pt x="480" y="583"/>
                  </a:cubicBezTo>
                  <a:cubicBezTo>
                    <a:pt x="506" y="583"/>
                    <a:pt x="523" y="591"/>
                    <a:pt x="523" y="608"/>
                  </a:cubicBezTo>
                  <a:cubicBezTo>
                    <a:pt x="523" y="617"/>
                    <a:pt x="506" y="634"/>
                    <a:pt x="506" y="651"/>
                  </a:cubicBezTo>
                  <a:cubicBezTo>
                    <a:pt x="514" y="668"/>
                    <a:pt x="540" y="677"/>
                    <a:pt x="548" y="677"/>
                  </a:cubicBezTo>
                  <a:cubicBezTo>
                    <a:pt x="566" y="677"/>
                    <a:pt x="574" y="703"/>
                    <a:pt x="574" y="711"/>
                  </a:cubicBezTo>
                  <a:cubicBezTo>
                    <a:pt x="574" y="720"/>
                    <a:pt x="557" y="728"/>
                    <a:pt x="548" y="746"/>
                  </a:cubicBezTo>
                  <a:cubicBezTo>
                    <a:pt x="540" y="763"/>
                    <a:pt x="531" y="763"/>
                    <a:pt x="514" y="771"/>
                  </a:cubicBezTo>
                  <a:cubicBezTo>
                    <a:pt x="506" y="780"/>
                    <a:pt x="480" y="788"/>
                    <a:pt x="463" y="805"/>
                  </a:cubicBezTo>
                  <a:cubicBezTo>
                    <a:pt x="446" y="814"/>
                    <a:pt x="420" y="831"/>
                    <a:pt x="411" y="840"/>
                  </a:cubicBezTo>
                  <a:cubicBezTo>
                    <a:pt x="403" y="840"/>
                    <a:pt x="386" y="831"/>
                    <a:pt x="386" y="840"/>
                  </a:cubicBezTo>
                  <a:cubicBezTo>
                    <a:pt x="386" y="857"/>
                    <a:pt x="394" y="874"/>
                    <a:pt x="394" y="900"/>
                  </a:cubicBezTo>
                  <a:cubicBezTo>
                    <a:pt x="386" y="926"/>
                    <a:pt x="386" y="960"/>
                    <a:pt x="377" y="977"/>
                  </a:cubicBezTo>
                  <a:cubicBezTo>
                    <a:pt x="369" y="986"/>
                    <a:pt x="360" y="994"/>
                    <a:pt x="360" y="1020"/>
                  </a:cubicBezTo>
                  <a:cubicBezTo>
                    <a:pt x="360" y="1037"/>
                    <a:pt x="377" y="1045"/>
                    <a:pt x="360" y="1054"/>
                  </a:cubicBezTo>
                  <a:cubicBezTo>
                    <a:pt x="351" y="1054"/>
                    <a:pt x="317" y="1045"/>
                    <a:pt x="317" y="1063"/>
                  </a:cubicBezTo>
                  <a:cubicBezTo>
                    <a:pt x="308" y="1080"/>
                    <a:pt x="308" y="1097"/>
                    <a:pt x="308" y="1106"/>
                  </a:cubicBezTo>
                  <a:cubicBezTo>
                    <a:pt x="317" y="1114"/>
                    <a:pt x="334" y="1140"/>
                    <a:pt x="308" y="1157"/>
                  </a:cubicBezTo>
                  <a:cubicBezTo>
                    <a:pt x="291" y="1174"/>
                    <a:pt x="274" y="1226"/>
                    <a:pt x="257" y="1226"/>
                  </a:cubicBezTo>
                  <a:cubicBezTo>
                    <a:pt x="240" y="1234"/>
                    <a:pt x="223" y="1226"/>
                    <a:pt x="206" y="1226"/>
                  </a:cubicBezTo>
                  <a:cubicBezTo>
                    <a:pt x="180" y="1226"/>
                    <a:pt x="154" y="1191"/>
                    <a:pt x="154" y="1208"/>
                  </a:cubicBezTo>
                  <a:cubicBezTo>
                    <a:pt x="154" y="1234"/>
                    <a:pt x="180" y="1251"/>
                    <a:pt x="180" y="1268"/>
                  </a:cubicBezTo>
                  <a:cubicBezTo>
                    <a:pt x="189" y="1285"/>
                    <a:pt x="171" y="1311"/>
                    <a:pt x="189" y="1346"/>
                  </a:cubicBezTo>
                  <a:cubicBezTo>
                    <a:pt x="206" y="1380"/>
                    <a:pt x="214" y="1380"/>
                    <a:pt x="223" y="1397"/>
                  </a:cubicBezTo>
                  <a:cubicBezTo>
                    <a:pt x="231" y="1414"/>
                    <a:pt x="240" y="1406"/>
                    <a:pt x="231" y="1431"/>
                  </a:cubicBezTo>
                  <a:cubicBezTo>
                    <a:pt x="214" y="1457"/>
                    <a:pt x="206" y="1474"/>
                    <a:pt x="180" y="1474"/>
                  </a:cubicBezTo>
                  <a:cubicBezTo>
                    <a:pt x="163" y="1474"/>
                    <a:pt x="146" y="1491"/>
                    <a:pt x="146" y="1508"/>
                  </a:cubicBezTo>
                  <a:cubicBezTo>
                    <a:pt x="146" y="1525"/>
                    <a:pt x="129" y="1534"/>
                    <a:pt x="120" y="1551"/>
                  </a:cubicBezTo>
                  <a:cubicBezTo>
                    <a:pt x="111" y="1560"/>
                    <a:pt x="129" y="1603"/>
                    <a:pt x="137" y="1628"/>
                  </a:cubicBezTo>
                  <a:cubicBezTo>
                    <a:pt x="146" y="1646"/>
                    <a:pt x="146" y="1663"/>
                    <a:pt x="163" y="1663"/>
                  </a:cubicBezTo>
                  <a:cubicBezTo>
                    <a:pt x="180" y="1663"/>
                    <a:pt x="180" y="1680"/>
                    <a:pt x="163" y="1688"/>
                  </a:cubicBezTo>
                  <a:cubicBezTo>
                    <a:pt x="146" y="1697"/>
                    <a:pt x="120" y="1697"/>
                    <a:pt x="103" y="1714"/>
                  </a:cubicBezTo>
                  <a:cubicBezTo>
                    <a:pt x="86" y="1723"/>
                    <a:pt x="77" y="1748"/>
                    <a:pt x="51" y="1765"/>
                  </a:cubicBezTo>
                  <a:cubicBezTo>
                    <a:pt x="34" y="1783"/>
                    <a:pt x="0" y="1809"/>
                    <a:pt x="0" y="1817"/>
                  </a:cubicBezTo>
                  <a:cubicBezTo>
                    <a:pt x="0" y="1834"/>
                    <a:pt x="9" y="1903"/>
                    <a:pt x="0" y="1946"/>
                  </a:cubicBezTo>
                  <a:cubicBezTo>
                    <a:pt x="26" y="1946"/>
                    <a:pt x="60" y="1954"/>
                    <a:pt x="68" y="1963"/>
                  </a:cubicBezTo>
                  <a:cubicBezTo>
                    <a:pt x="94" y="1963"/>
                    <a:pt x="129" y="1954"/>
                    <a:pt x="146" y="1989"/>
                  </a:cubicBezTo>
                  <a:cubicBezTo>
                    <a:pt x="171" y="2023"/>
                    <a:pt x="214" y="2074"/>
                    <a:pt x="214" y="2091"/>
                  </a:cubicBezTo>
                  <a:cubicBezTo>
                    <a:pt x="214" y="2108"/>
                    <a:pt x="206" y="2143"/>
                    <a:pt x="206" y="2151"/>
                  </a:cubicBezTo>
                  <a:cubicBezTo>
                    <a:pt x="214" y="2168"/>
                    <a:pt x="249" y="2177"/>
                    <a:pt x="240" y="2194"/>
                  </a:cubicBezTo>
                  <a:cubicBezTo>
                    <a:pt x="231" y="2211"/>
                    <a:pt x="240" y="2229"/>
                    <a:pt x="240" y="2246"/>
                  </a:cubicBezTo>
                  <a:cubicBezTo>
                    <a:pt x="249" y="2263"/>
                    <a:pt x="266" y="2306"/>
                    <a:pt x="283" y="2323"/>
                  </a:cubicBezTo>
                  <a:cubicBezTo>
                    <a:pt x="300" y="2331"/>
                    <a:pt x="317" y="2348"/>
                    <a:pt x="334" y="2366"/>
                  </a:cubicBezTo>
                  <a:cubicBezTo>
                    <a:pt x="351" y="2374"/>
                    <a:pt x="369" y="2383"/>
                    <a:pt x="386" y="2383"/>
                  </a:cubicBezTo>
                  <a:cubicBezTo>
                    <a:pt x="377" y="2348"/>
                    <a:pt x="377" y="2289"/>
                    <a:pt x="454" y="2331"/>
                  </a:cubicBezTo>
                  <a:cubicBezTo>
                    <a:pt x="463" y="2314"/>
                    <a:pt x="497" y="2289"/>
                    <a:pt x="523" y="2280"/>
                  </a:cubicBezTo>
                  <a:cubicBezTo>
                    <a:pt x="557" y="2271"/>
                    <a:pt x="583" y="2306"/>
                    <a:pt x="626" y="2280"/>
                  </a:cubicBezTo>
                  <a:cubicBezTo>
                    <a:pt x="677" y="2254"/>
                    <a:pt x="703" y="2246"/>
                    <a:pt x="746" y="2246"/>
                  </a:cubicBezTo>
                  <a:cubicBezTo>
                    <a:pt x="788" y="2246"/>
                    <a:pt x="849" y="2254"/>
                    <a:pt x="883" y="2263"/>
                  </a:cubicBezTo>
                  <a:cubicBezTo>
                    <a:pt x="917" y="2280"/>
                    <a:pt x="926" y="2289"/>
                    <a:pt x="951" y="2280"/>
                  </a:cubicBezTo>
                  <a:cubicBezTo>
                    <a:pt x="969" y="2271"/>
                    <a:pt x="1054" y="2289"/>
                    <a:pt x="1080" y="2306"/>
                  </a:cubicBezTo>
                  <a:cubicBezTo>
                    <a:pt x="1106" y="2323"/>
                    <a:pt x="1106" y="2323"/>
                    <a:pt x="1131" y="2306"/>
                  </a:cubicBezTo>
                  <a:cubicBezTo>
                    <a:pt x="1157" y="2289"/>
                    <a:pt x="1157" y="2289"/>
                    <a:pt x="1183" y="2289"/>
                  </a:cubicBezTo>
                  <a:cubicBezTo>
                    <a:pt x="1217" y="2289"/>
                    <a:pt x="1209" y="2306"/>
                    <a:pt x="1226" y="2323"/>
                  </a:cubicBezTo>
                  <a:cubicBezTo>
                    <a:pt x="1243" y="2340"/>
                    <a:pt x="1277" y="2314"/>
                    <a:pt x="1294" y="2297"/>
                  </a:cubicBezTo>
                  <a:cubicBezTo>
                    <a:pt x="1303" y="2280"/>
                    <a:pt x="1320" y="2263"/>
                    <a:pt x="1346" y="2229"/>
                  </a:cubicBezTo>
                  <a:cubicBezTo>
                    <a:pt x="1363" y="2194"/>
                    <a:pt x="1363" y="2160"/>
                    <a:pt x="1397" y="2151"/>
                  </a:cubicBezTo>
                  <a:cubicBezTo>
                    <a:pt x="1440" y="2143"/>
                    <a:pt x="1440" y="2126"/>
                    <a:pt x="1474" y="2117"/>
                  </a:cubicBezTo>
                  <a:cubicBezTo>
                    <a:pt x="1500" y="2117"/>
                    <a:pt x="1560" y="2126"/>
                    <a:pt x="1586" y="2126"/>
                  </a:cubicBezTo>
                  <a:cubicBezTo>
                    <a:pt x="1611" y="2126"/>
                    <a:pt x="1646" y="2126"/>
                    <a:pt x="1637" y="2108"/>
                  </a:cubicBezTo>
                  <a:cubicBezTo>
                    <a:pt x="1629" y="2091"/>
                    <a:pt x="1577" y="2108"/>
                    <a:pt x="1603" y="2083"/>
                  </a:cubicBezTo>
                  <a:cubicBezTo>
                    <a:pt x="1629" y="2057"/>
                    <a:pt x="1654" y="1997"/>
                    <a:pt x="1663" y="1980"/>
                  </a:cubicBezTo>
                  <a:cubicBezTo>
                    <a:pt x="1680" y="1963"/>
                    <a:pt x="1680" y="1954"/>
                    <a:pt x="1697" y="1946"/>
                  </a:cubicBezTo>
                  <a:cubicBezTo>
                    <a:pt x="1714" y="1937"/>
                    <a:pt x="1706" y="1911"/>
                    <a:pt x="1731" y="1894"/>
                  </a:cubicBezTo>
                  <a:cubicBezTo>
                    <a:pt x="1757" y="1877"/>
                    <a:pt x="1800" y="1868"/>
                    <a:pt x="1817" y="1851"/>
                  </a:cubicBezTo>
                  <a:cubicBezTo>
                    <a:pt x="1843" y="1834"/>
                    <a:pt x="1911" y="1817"/>
                    <a:pt x="1903" y="1800"/>
                  </a:cubicBezTo>
                  <a:cubicBezTo>
                    <a:pt x="1903" y="1791"/>
                    <a:pt x="1886" y="1783"/>
                    <a:pt x="1869" y="1765"/>
                  </a:cubicBezTo>
                  <a:cubicBezTo>
                    <a:pt x="1843" y="1748"/>
                    <a:pt x="1817" y="1680"/>
                    <a:pt x="1809" y="1654"/>
                  </a:cubicBezTo>
                  <a:cubicBezTo>
                    <a:pt x="1809" y="1620"/>
                    <a:pt x="1792" y="1594"/>
                    <a:pt x="1809" y="1569"/>
                  </a:cubicBezTo>
                  <a:cubicBezTo>
                    <a:pt x="1817" y="1551"/>
                    <a:pt x="1894" y="1431"/>
                    <a:pt x="1937" y="1397"/>
                  </a:cubicBezTo>
                  <a:cubicBezTo>
                    <a:pt x="1971" y="1363"/>
                    <a:pt x="2066" y="1251"/>
                    <a:pt x="2074" y="1260"/>
                  </a:cubicBezTo>
                  <a:cubicBezTo>
                    <a:pt x="2074" y="1268"/>
                    <a:pt x="2074" y="1285"/>
                    <a:pt x="2083" y="1277"/>
                  </a:cubicBezTo>
                  <a:cubicBezTo>
                    <a:pt x="2091" y="1268"/>
                    <a:pt x="2134" y="1251"/>
                    <a:pt x="2117" y="1234"/>
                  </a:cubicBezTo>
                  <a:cubicBezTo>
                    <a:pt x="2109" y="1217"/>
                    <a:pt x="2091" y="1217"/>
                    <a:pt x="2100" y="1200"/>
                  </a:cubicBezTo>
                  <a:cubicBezTo>
                    <a:pt x="2109" y="1191"/>
                    <a:pt x="2143" y="1157"/>
                    <a:pt x="2186" y="1140"/>
                  </a:cubicBezTo>
                  <a:cubicBezTo>
                    <a:pt x="2220" y="1123"/>
                    <a:pt x="2409" y="1123"/>
                    <a:pt x="2443" y="1097"/>
                  </a:cubicBezTo>
                  <a:cubicBezTo>
                    <a:pt x="2468" y="1071"/>
                    <a:pt x="2451" y="1063"/>
                    <a:pt x="2477" y="1045"/>
                  </a:cubicBezTo>
                  <a:cubicBezTo>
                    <a:pt x="2503" y="1037"/>
                    <a:pt x="2623" y="1003"/>
                    <a:pt x="2657" y="960"/>
                  </a:cubicBezTo>
                  <a:cubicBezTo>
                    <a:pt x="2700" y="926"/>
                    <a:pt x="2717" y="917"/>
                    <a:pt x="2708" y="900"/>
                  </a:cubicBezTo>
                  <a:cubicBezTo>
                    <a:pt x="2691" y="883"/>
                    <a:pt x="2666" y="857"/>
                    <a:pt x="2691" y="848"/>
                  </a:cubicBezTo>
                  <a:cubicBezTo>
                    <a:pt x="2708" y="840"/>
                    <a:pt x="2717" y="840"/>
                    <a:pt x="2717" y="823"/>
                  </a:cubicBezTo>
                  <a:cubicBezTo>
                    <a:pt x="2717" y="814"/>
                    <a:pt x="2708" y="797"/>
                    <a:pt x="2700" y="788"/>
                  </a:cubicBezTo>
                  <a:cubicBezTo>
                    <a:pt x="2691" y="780"/>
                    <a:pt x="2674" y="771"/>
                    <a:pt x="2649" y="763"/>
                  </a:cubicBezTo>
                  <a:cubicBezTo>
                    <a:pt x="2606" y="763"/>
                    <a:pt x="2606" y="788"/>
                    <a:pt x="2580" y="79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4" name="Freeform 95"/>
            <p:cNvSpPr>
              <a:spLocks noChangeArrowheads="1"/>
            </p:cNvSpPr>
            <p:nvPr/>
          </p:nvSpPr>
          <p:spPr bwMode="auto">
            <a:xfrm>
              <a:off x="1079500" y="3967163"/>
              <a:ext cx="352425" cy="552450"/>
            </a:xfrm>
            <a:custGeom>
              <a:avLst/>
              <a:gdLst>
                <a:gd name="T0" fmla="*/ 2147483647 w 978"/>
                <a:gd name="T1" fmla="*/ 2147483647 h 1535"/>
                <a:gd name="T2" fmla="*/ 2147483647 w 978"/>
                <a:gd name="T3" fmla="*/ 2147483647 h 1535"/>
                <a:gd name="T4" fmla="*/ 2147483647 w 978"/>
                <a:gd name="T5" fmla="*/ 2147483647 h 1535"/>
                <a:gd name="T6" fmla="*/ 2147483647 w 978"/>
                <a:gd name="T7" fmla="*/ 2147483647 h 1535"/>
                <a:gd name="T8" fmla="*/ 2147483647 w 978"/>
                <a:gd name="T9" fmla="*/ 2147483647 h 1535"/>
                <a:gd name="T10" fmla="*/ 2147483647 w 978"/>
                <a:gd name="T11" fmla="*/ 2147483647 h 1535"/>
                <a:gd name="T12" fmla="*/ 2147483647 w 978"/>
                <a:gd name="T13" fmla="*/ 2147483647 h 1535"/>
                <a:gd name="T14" fmla="*/ 2147483647 w 978"/>
                <a:gd name="T15" fmla="*/ 2147483647 h 1535"/>
                <a:gd name="T16" fmla="*/ 2147483647 w 978"/>
                <a:gd name="T17" fmla="*/ 2147483647 h 1535"/>
                <a:gd name="T18" fmla="*/ 2147483647 w 978"/>
                <a:gd name="T19" fmla="*/ 2147483647 h 1535"/>
                <a:gd name="T20" fmla="*/ 2147483647 w 978"/>
                <a:gd name="T21" fmla="*/ 2147483647 h 1535"/>
                <a:gd name="T22" fmla="*/ 2147483647 w 978"/>
                <a:gd name="T23" fmla="*/ 2147483647 h 1535"/>
                <a:gd name="T24" fmla="*/ 2147483647 w 978"/>
                <a:gd name="T25" fmla="*/ 2147483647 h 1535"/>
                <a:gd name="T26" fmla="*/ 2147483647 w 978"/>
                <a:gd name="T27" fmla="*/ 2147483647 h 1535"/>
                <a:gd name="T28" fmla="*/ 2147483647 w 978"/>
                <a:gd name="T29" fmla="*/ 2147483647 h 1535"/>
                <a:gd name="T30" fmla="*/ 2147483647 w 978"/>
                <a:gd name="T31" fmla="*/ 2147483647 h 1535"/>
                <a:gd name="T32" fmla="*/ 2147483647 w 978"/>
                <a:gd name="T33" fmla="*/ 2147483647 h 1535"/>
                <a:gd name="T34" fmla="*/ 2147483647 w 978"/>
                <a:gd name="T35" fmla="*/ 2147483647 h 1535"/>
                <a:gd name="T36" fmla="*/ 2147483647 w 978"/>
                <a:gd name="T37" fmla="*/ 2147483647 h 1535"/>
                <a:gd name="T38" fmla="*/ 2147483647 w 978"/>
                <a:gd name="T39" fmla="*/ 2147483647 h 1535"/>
                <a:gd name="T40" fmla="*/ 2147483647 w 978"/>
                <a:gd name="T41" fmla="*/ 2147483647 h 1535"/>
                <a:gd name="T42" fmla="*/ 2147483647 w 978"/>
                <a:gd name="T43" fmla="*/ 2147483647 h 1535"/>
                <a:gd name="T44" fmla="*/ 2147483647 w 978"/>
                <a:gd name="T45" fmla="*/ 2147483647 h 1535"/>
                <a:gd name="T46" fmla="*/ 2147483647 w 978"/>
                <a:gd name="T47" fmla="*/ 2147483647 h 1535"/>
                <a:gd name="T48" fmla="*/ 2147483647 w 978"/>
                <a:gd name="T49" fmla="*/ 2147483647 h 1535"/>
                <a:gd name="T50" fmla="*/ 2147483647 w 978"/>
                <a:gd name="T51" fmla="*/ 2147483647 h 1535"/>
                <a:gd name="T52" fmla="*/ 2147483647 w 978"/>
                <a:gd name="T53" fmla="*/ 2147483647 h 1535"/>
                <a:gd name="T54" fmla="*/ 2147483647 w 978"/>
                <a:gd name="T55" fmla="*/ 2147483647 h 1535"/>
                <a:gd name="T56" fmla="*/ 2147483647 w 978"/>
                <a:gd name="T57" fmla="*/ 2147483647 h 1535"/>
                <a:gd name="T58" fmla="*/ 2147483647 w 978"/>
                <a:gd name="T59" fmla="*/ 2147483647 h 1535"/>
                <a:gd name="T60" fmla="*/ 2147483647 w 978"/>
                <a:gd name="T61" fmla="*/ 2147483647 h 1535"/>
                <a:gd name="T62" fmla="*/ 2147483647 w 978"/>
                <a:gd name="T63" fmla="*/ 2147483647 h 1535"/>
                <a:gd name="T64" fmla="*/ 2147483647 w 978"/>
                <a:gd name="T65" fmla="*/ 2147483647 h 1535"/>
                <a:gd name="T66" fmla="*/ 2147483647 w 978"/>
                <a:gd name="T67" fmla="*/ 2147483647 h 1535"/>
                <a:gd name="T68" fmla="*/ 2147483647 w 978"/>
                <a:gd name="T69" fmla="*/ 2147483647 h 1535"/>
                <a:gd name="T70" fmla="*/ 2147483647 w 978"/>
                <a:gd name="T71" fmla="*/ 2147483647 h 1535"/>
                <a:gd name="T72" fmla="*/ 2147483647 w 978"/>
                <a:gd name="T73" fmla="*/ 2147483647 h 1535"/>
                <a:gd name="T74" fmla="*/ 2147483647 w 978"/>
                <a:gd name="T75" fmla="*/ 2147483647 h 15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78"/>
                <a:gd name="T115" fmla="*/ 0 h 1535"/>
                <a:gd name="T116" fmla="*/ 978 w 978"/>
                <a:gd name="T117" fmla="*/ 1535 h 15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78" h="1535">
                  <a:moveTo>
                    <a:pt x="403" y="1380"/>
                  </a:moveTo>
                  <a:lnTo>
                    <a:pt x="403" y="1380"/>
                  </a:lnTo>
                  <a:cubicBezTo>
                    <a:pt x="403" y="1372"/>
                    <a:pt x="437" y="1346"/>
                    <a:pt x="454" y="1328"/>
                  </a:cubicBezTo>
                  <a:cubicBezTo>
                    <a:pt x="480" y="1311"/>
                    <a:pt x="489" y="1286"/>
                    <a:pt x="506" y="1277"/>
                  </a:cubicBezTo>
                  <a:cubicBezTo>
                    <a:pt x="523" y="1260"/>
                    <a:pt x="549" y="1260"/>
                    <a:pt x="566" y="1251"/>
                  </a:cubicBezTo>
                  <a:cubicBezTo>
                    <a:pt x="583" y="1243"/>
                    <a:pt x="583" y="1226"/>
                    <a:pt x="566" y="1226"/>
                  </a:cubicBezTo>
                  <a:cubicBezTo>
                    <a:pt x="549" y="1226"/>
                    <a:pt x="549" y="1209"/>
                    <a:pt x="540" y="1191"/>
                  </a:cubicBezTo>
                  <a:cubicBezTo>
                    <a:pt x="532" y="1166"/>
                    <a:pt x="514" y="1123"/>
                    <a:pt x="523" y="1114"/>
                  </a:cubicBezTo>
                  <a:cubicBezTo>
                    <a:pt x="532" y="1097"/>
                    <a:pt x="549" y="1088"/>
                    <a:pt x="549" y="1071"/>
                  </a:cubicBezTo>
                  <a:cubicBezTo>
                    <a:pt x="549" y="1054"/>
                    <a:pt x="566" y="1037"/>
                    <a:pt x="583" y="1037"/>
                  </a:cubicBezTo>
                  <a:cubicBezTo>
                    <a:pt x="609" y="1037"/>
                    <a:pt x="617" y="1020"/>
                    <a:pt x="634" y="994"/>
                  </a:cubicBezTo>
                  <a:cubicBezTo>
                    <a:pt x="643" y="969"/>
                    <a:pt x="634" y="977"/>
                    <a:pt x="626" y="960"/>
                  </a:cubicBezTo>
                  <a:cubicBezTo>
                    <a:pt x="617" y="943"/>
                    <a:pt x="609" y="943"/>
                    <a:pt x="592" y="909"/>
                  </a:cubicBezTo>
                  <a:cubicBezTo>
                    <a:pt x="574" y="874"/>
                    <a:pt x="592" y="848"/>
                    <a:pt x="583" y="831"/>
                  </a:cubicBezTo>
                  <a:cubicBezTo>
                    <a:pt x="583" y="814"/>
                    <a:pt x="557" y="797"/>
                    <a:pt x="557" y="771"/>
                  </a:cubicBezTo>
                  <a:cubicBezTo>
                    <a:pt x="557" y="754"/>
                    <a:pt x="583" y="789"/>
                    <a:pt x="609" y="789"/>
                  </a:cubicBezTo>
                  <a:cubicBezTo>
                    <a:pt x="626" y="789"/>
                    <a:pt x="643" y="797"/>
                    <a:pt x="660" y="789"/>
                  </a:cubicBezTo>
                  <a:cubicBezTo>
                    <a:pt x="677" y="789"/>
                    <a:pt x="694" y="737"/>
                    <a:pt x="711" y="720"/>
                  </a:cubicBezTo>
                  <a:cubicBezTo>
                    <a:pt x="737" y="703"/>
                    <a:pt x="720" y="677"/>
                    <a:pt x="711" y="669"/>
                  </a:cubicBezTo>
                  <a:cubicBezTo>
                    <a:pt x="711" y="660"/>
                    <a:pt x="711" y="643"/>
                    <a:pt x="720" y="626"/>
                  </a:cubicBezTo>
                  <a:cubicBezTo>
                    <a:pt x="720" y="608"/>
                    <a:pt x="754" y="617"/>
                    <a:pt x="763" y="617"/>
                  </a:cubicBezTo>
                  <a:cubicBezTo>
                    <a:pt x="780" y="608"/>
                    <a:pt x="763" y="600"/>
                    <a:pt x="763" y="583"/>
                  </a:cubicBezTo>
                  <a:cubicBezTo>
                    <a:pt x="763" y="557"/>
                    <a:pt x="772" y="549"/>
                    <a:pt x="780" y="540"/>
                  </a:cubicBezTo>
                  <a:cubicBezTo>
                    <a:pt x="789" y="523"/>
                    <a:pt x="789" y="489"/>
                    <a:pt x="797" y="463"/>
                  </a:cubicBezTo>
                  <a:cubicBezTo>
                    <a:pt x="797" y="437"/>
                    <a:pt x="789" y="420"/>
                    <a:pt x="789" y="403"/>
                  </a:cubicBezTo>
                  <a:cubicBezTo>
                    <a:pt x="789" y="394"/>
                    <a:pt x="806" y="403"/>
                    <a:pt x="814" y="403"/>
                  </a:cubicBezTo>
                  <a:cubicBezTo>
                    <a:pt x="823" y="394"/>
                    <a:pt x="849" y="377"/>
                    <a:pt x="866" y="368"/>
                  </a:cubicBezTo>
                  <a:cubicBezTo>
                    <a:pt x="883" y="351"/>
                    <a:pt x="909" y="343"/>
                    <a:pt x="917" y="334"/>
                  </a:cubicBezTo>
                  <a:cubicBezTo>
                    <a:pt x="934" y="326"/>
                    <a:pt x="943" y="326"/>
                    <a:pt x="951" y="309"/>
                  </a:cubicBezTo>
                  <a:cubicBezTo>
                    <a:pt x="960" y="291"/>
                    <a:pt x="977" y="283"/>
                    <a:pt x="977" y="274"/>
                  </a:cubicBezTo>
                  <a:cubicBezTo>
                    <a:pt x="977" y="266"/>
                    <a:pt x="969" y="240"/>
                    <a:pt x="951" y="240"/>
                  </a:cubicBezTo>
                  <a:cubicBezTo>
                    <a:pt x="943" y="240"/>
                    <a:pt x="917" y="231"/>
                    <a:pt x="909" y="214"/>
                  </a:cubicBezTo>
                  <a:cubicBezTo>
                    <a:pt x="909" y="197"/>
                    <a:pt x="926" y="180"/>
                    <a:pt x="926" y="171"/>
                  </a:cubicBezTo>
                  <a:cubicBezTo>
                    <a:pt x="926" y="154"/>
                    <a:pt x="909" y="146"/>
                    <a:pt x="883" y="146"/>
                  </a:cubicBezTo>
                  <a:cubicBezTo>
                    <a:pt x="857" y="137"/>
                    <a:pt x="832" y="128"/>
                    <a:pt x="814" y="111"/>
                  </a:cubicBezTo>
                  <a:cubicBezTo>
                    <a:pt x="789" y="94"/>
                    <a:pt x="797" y="120"/>
                    <a:pt x="789" y="128"/>
                  </a:cubicBezTo>
                  <a:cubicBezTo>
                    <a:pt x="772" y="146"/>
                    <a:pt x="754" y="146"/>
                    <a:pt x="737" y="137"/>
                  </a:cubicBezTo>
                  <a:cubicBezTo>
                    <a:pt x="711" y="128"/>
                    <a:pt x="711" y="128"/>
                    <a:pt x="694" y="120"/>
                  </a:cubicBezTo>
                  <a:cubicBezTo>
                    <a:pt x="669" y="120"/>
                    <a:pt x="669" y="111"/>
                    <a:pt x="634" y="94"/>
                  </a:cubicBezTo>
                  <a:cubicBezTo>
                    <a:pt x="609" y="77"/>
                    <a:pt x="609" y="111"/>
                    <a:pt x="583" y="103"/>
                  </a:cubicBezTo>
                  <a:cubicBezTo>
                    <a:pt x="566" y="103"/>
                    <a:pt x="574" y="94"/>
                    <a:pt x="574" y="77"/>
                  </a:cubicBezTo>
                  <a:cubicBezTo>
                    <a:pt x="574" y="69"/>
                    <a:pt x="600" y="60"/>
                    <a:pt x="600" y="43"/>
                  </a:cubicBezTo>
                  <a:cubicBezTo>
                    <a:pt x="600" y="34"/>
                    <a:pt x="592" y="17"/>
                    <a:pt x="583" y="9"/>
                  </a:cubicBezTo>
                  <a:cubicBezTo>
                    <a:pt x="566" y="0"/>
                    <a:pt x="549" y="9"/>
                    <a:pt x="532" y="9"/>
                  </a:cubicBezTo>
                  <a:cubicBezTo>
                    <a:pt x="523" y="9"/>
                    <a:pt x="514" y="9"/>
                    <a:pt x="489" y="9"/>
                  </a:cubicBezTo>
                  <a:cubicBezTo>
                    <a:pt x="480" y="9"/>
                    <a:pt x="446" y="34"/>
                    <a:pt x="420" y="51"/>
                  </a:cubicBezTo>
                  <a:cubicBezTo>
                    <a:pt x="412" y="77"/>
                    <a:pt x="412" y="137"/>
                    <a:pt x="403" y="197"/>
                  </a:cubicBezTo>
                  <a:cubicBezTo>
                    <a:pt x="403" y="249"/>
                    <a:pt x="412" y="291"/>
                    <a:pt x="403" y="317"/>
                  </a:cubicBezTo>
                  <a:cubicBezTo>
                    <a:pt x="386" y="343"/>
                    <a:pt x="326" y="489"/>
                    <a:pt x="300" y="506"/>
                  </a:cubicBezTo>
                  <a:cubicBezTo>
                    <a:pt x="283" y="523"/>
                    <a:pt x="292" y="549"/>
                    <a:pt x="283" y="566"/>
                  </a:cubicBezTo>
                  <a:cubicBezTo>
                    <a:pt x="274" y="574"/>
                    <a:pt x="189" y="720"/>
                    <a:pt x="172" y="737"/>
                  </a:cubicBezTo>
                  <a:cubicBezTo>
                    <a:pt x="146" y="746"/>
                    <a:pt x="112" y="754"/>
                    <a:pt x="112" y="771"/>
                  </a:cubicBezTo>
                  <a:cubicBezTo>
                    <a:pt x="112" y="780"/>
                    <a:pt x="94" y="806"/>
                    <a:pt x="86" y="814"/>
                  </a:cubicBezTo>
                  <a:cubicBezTo>
                    <a:pt x="86" y="823"/>
                    <a:pt x="60" y="874"/>
                    <a:pt x="52" y="883"/>
                  </a:cubicBezTo>
                  <a:cubicBezTo>
                    <a:pt x="34" y="900"/>
                    <a:pt x="17" y="934"/>
                    <a:pt x="43" y="943"/>
                  </a:cubicBezTo>
                  <a:cubicBezTo>
                    <a:pt x="69" y="943"/>
                    <a:pt x="86" y="951"/>
                    <a:pt x="129" y="934"/>
                  </a:cubicBezTo>
                  <a:cubicBezTo>
                    <a:pt x="163" y="917"/>
                    <a:pt x="172" y="892"/>
                    <a:pt x="172" y="892"/>
                  </a:cubicBezTo>
                  <a:cubicBezTo>
                    <a:pt x="180" y="892"/>
                    <a:pt x="172" y="917"/>
                    <a:pt x="172" y="926"/>
                  </a:cubicBezTo>
                  <a:cubicBezTo>
                    <a:pt x="172" y="943"/>
                    <a:pt x="154" y="960"/>
                    <a:pt x="137" y="960"/>
                  </a:cubicBezTo>
                  <a:cubicBezTo>
                    <a:pt x="120" y="960"/>
                    <a:pt x="103" y="969"/>
                    <a:pt x="94" y="986"/>
                  </a:cubicBezTo>
                  <a:cubicBezTo>
                    <a:pt x="94" y="1003"/>
                    <a:pt x="69" y="1037"/>
                    <a:pt x="94" y="1037"/>
                  </a:cubicBezTo>
                  <a:cubicBezTo>
                    <a:pt x="112" y="1037"/>
                    <a:pt x="137" y="1029"/>
                    <a:pt x="154" y="1037"/>
                  </a:cubicBezTo>
                  <a:cubicBezTo>
                    <a:pt x="172" y="1046"/>
                    <a:pt x="206" y="1020"/>
                    <a:pt x="206" y="1029"/>
                  </a:cubicBezTo>
                  <a:cubicBezTo>
                    <a:pt x="197" y="1029"/>
                    <a:pt x="197" y="1046"/>
                    <a:pt x="206" y="1054"/>
                  </a:cubicBezTo>
                  <a:cubicBezTo>
                    <a:pt x="214" y="1071"/>
                    <a:pt x="206" y="1063"/>
                    <a:pt x="189" y="1071"/>
                  </a:cubicBezTo>
                  <a:cubicBezTo>
                    <a:pt x="172" y="1071"/>
                    <a:pt x="154" y="1123"/>
                    <a:pt x="146" y="1132"/>
                  </a:cubicBezTo>
                  <a:cubicBezTo>
                    <a:pt x="137" y="1149"/>
                    <a:pt x="120" y="1191"/>
                    <a:pt x="129" y="1200"/>
                  </a:cubicBezTo>
                  <a:cubicBezTo>
                    <a:pt x="129" y="1217"/>
                    <a:pt x="137" y="1226"/>
                    <a:pt x="120" y="1251"/>
                  </a:cubicBezTo>
                  <a:cubicBezTo>
                    <a:pt x="103" y="1286"/>
                    <a:pt x="103" y="1328"/>
                    <a:pt x="86" y="1363"/>
                  </a:cubicBezTo>
                  <a:cubicBezTo>
                    <a:pt x="69" y="1389"/>
                    <a:pt x="0" y="1449"/>
                    <a:pt x="34" y="1457"/>
                  </a:cubicBezTo>
                  <a:cubicBezTo>
                    <a:pt x="69" y="1457"/>
                    <a:pt x="94" y="1431"/>
                    <a:pt x="137" y="1457"/>
                  </a:cubicBezTo>
                  <a:cubicBezTo>
                    <a:pt x="189" y="1491"/>
                    <a:pt x="240" y="1526"/>
                    <a:pt x="274" y="1526"/>
                  </a:cubicBezTo>
                  <a:cubicBezTo>
                    <a:pt x="309" y="1534"/>
                    <a:pt x="334" y="1509"/>
                    <a:pt x="360" y="1509"/>
                  </a:cubicBezTo>
                  <a:cubicBezTo>
                    <a:pt x="369" y="1509"/>
                    <a:pt x="386" y="1509"/>
                    <a:pt x="403" y="1509"/>
                  </a:cubicBezTo>
                  <a:cubicBezTo>
                    <a:pt x="412" y="1466"/>
                    <a:pt x="403" y="1397"/>
                    <a:pt x="403" y="1380"/>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5" name="Freeform 96"/>
            <p:cNvSpPr>
              <a:spLocks noChangeArrowheads="1"/>
            </p:cNvSpPr>
            <p:nvPr/>
          </p:nvSpPr>
          <p:spPr bwMode="auto">
            <a:xfrm>
              <a:off x="1360488" y="4633913"/>
              <a:ext cx="28575" cy="34925"/>
            </a:xfrm>
            <a:custGeom>
              <a:avLst/>
              <a:gdLst>
                <a:gd name="T0" fmla="*/ 2147483647 w 78"/>
                <a:gd name="T1" fmla="*/ 2147483647 h 95"/>
                <a:gd name="T2" fmla="*/ 2147483647 w 78"/>
                <a:gd name="T3" fmla="*/ 2147483647 h 95"/>
                <a:gd name="T4" fmla="*/ 2147483647 w 78"/>
                <a:gd name="T5" fmla="*/ 2147483647 h 95"/>
                <a:gd name="T6" fmla="*/ 2147483647 w 78"/>
                <a:gd name="T7" fmla="*/ 2147483647 h 95"/>
                <a:gd name="T8" fmla="*/ 2147483647 w 78"/>
                <a:gd name="T9" fmla="*/ 2147483647 h 95"/>
                <a:gd name="T10" fmla="*/ 2147483647 w 78"/>
                <a:gd name="T11" fmla="*/ 2147483647 h 95"/>
                <a:gd name="T12" fmla="*/ 0 60000 65536"/>
                <a:gd name="T13" fmla="*/ 0 60000 65536"/>
                <a:gd name="T14" fmla="*/ 0 60000 65536"/>
                <a:gd name="T15" fmla="*/ 0 60000 65536"/>
                <a:gd name="T16" fmla="*/ 0 60000 65536"/>
                <a:gd name="T17" fmla="*/ 0 60000 65536"/>
                <a:gd name="T18" fmla="*/ 0 w 78"/>
                <a:gd name="T19" fmla="*/ 0 h 95"/>
                <a:gd name="T20" fmla="*/ 78 w 78"/>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78" h="95">
                  <a:moveTo>
                    <a:pt x="9" y="94"/>
                  </a:moveTo>
                  <a:lnTo>
                    <a:pt x="9" y="94"/>
                  </a:lnTo>
                  <a:cubicBezTo>
                    <a:pt x="9" y="85"/>
                    <a:pt x="17" y="85"/>
                    <a:pt x="26" y="77"/>
                  </a:cubicBezTo>
                  <a:cubicBezTo>
                    <a:pt x="52" y="59"/>
                    <a:pt x="69" y="59"/>
                    <a:pt x="77" y="42"/>
                  </a:cubicBezTo>
                  <a:cubicBezTo>
                    <a:pt x="0" y="0"/>
                    <a:pt x="0" y="59"/>
                    <a:pt x="9" y="94"/>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6" name="Freeform 97"/>
            <p:cNvSpPr>
              <a:spLocks noChangeArrowheads="1"/>
            </p:cNvSpPr>
            <p:nvPr/>
          </p:nvSpPr>
          <p:spPr bwMode="auto">
            <a:xfrm>
              <a:off x="3408363" y="3944938"/>
              <a:ext cx="120650" cy="179387"/>
            </a:xfrm>
            <a:custGeom>
              <a:avLst/>
              <a:gdLst>
                <a:gd name="T0" fmla="*/ 2147483647 w 336"/>
                <a:gd name="T1" fmla="*/ 2147483647 h 498"/>
                <a:gd name="T2" fmla="*/ 2147483647 w 336"/>
                <a:gd name="T3" fmla="*/ 2147483647 h 498"/>
                <a:gd name="T4" fmla="*/ 2147483647 w 336"/>
                <a:gd name="T5" fmla="*/ 2147483647 h 498"/>
                <a:gd name="T6" fmla="*/ 2147483647 w 336"/>
                <a:gd name="T7" fmla="*/ 2147483647 h 498"/>
                <a:gd name="T8" fmla="*/ 2147483647 w 336"/>
                <a:gd name="T9" fmla="*/ 2147483647 h 498"/>
                <a:gd name="T10" fmla="*/ 2147483647 w 336"/>
                <a:gd name="T11" fmla="*/ 2147483647 h 498"/>
                <a:gd name="T12" fmla="*/ 2147483647 w 336"/>
                <a:gd name="T13" fmla="*/ 2147483647 h 498"/>
                <a:gd name="T14" fmla="*/ 2147483647 w 336"/>
                <a:gd name="T15" fmla="*/ 2147483647 h 498"/>
                <a:gd name="T16" fmla="*/ 2147483647 w 336"/>
                <a:gd name="T17" fmla="*/ 0 h 498"/>
                <a:gd name="T18" fmla="*/ 2147483647 w 336"/>
                <a:gd name="T19" fmla="*/ 2147483647 h 498"/>
                <a:gd name="T20" fmla="*/ 2147483647 w 336"/>
                <a:gd name="T21" fmla="*/ 2147483647 h 498"/>
                <a:gd name="T22" fmla="*/ 2147483647 w 336"/>
                <a:gd name="T23" fmla="*/ 2147483647 h 498"/>
                <a:gd name="T24" fmla="*/ 2147483647 w 336"/>
                <a:gd name="T25" fmla="*/ 2147483647 h 498"/>
                <a:gd name="T26" fmla="*/ 2147483647 w 336"/>
                <a:gd name="T27" fmla="*/ 2147483647 h 498"/>
                <a:gd name="T28" fmla="*/ 2147483647 w 336"/>
                <a:gd name="T29" fmla="*/ 2147483647 h 498"/>
                <a:gd name="T30" fmla="*/ 0 w 336"/>
                <a:gd name="T31" fmla="*/ 2147483647 h 498"/>
                <a:gd name="T32" fmla="*/ 2147483647 w 336"/>
                <a:gd name="T33" fmla="*/ 2147483647 h 498"/>
                <a:gd name="T34" fmla="*/ 2147483647 w 336"/>
                <a:gd name="T35" fmla="*/ 2147483647 h 498"/>
                <a:gd name="T36" fmla="*/ 2147483647 w 336"/>
                <a:gd name="T37" fmla="*/ 2147483647 h 498"/>
                <a:gd name="T38" fmla="*/ 2147483647 w 336"/>
                <a:gd name="T39" fmla="*/ 2147483647 h 498"/>
                <a:gd name="T40" fmla="*/ 2147483647 w 336"/>
                <a:gd name="T41" fmla="*/ 2147483647 h 498"/>
                <a:gd name="T42" fmla="*/ 2147483647 w 336"/>
                <a:gd name="T43" fmla="*/ 2147483647 h 498"/>
                <a:gd name="T44" fmla="*/ 2147483647 w 336"/>
                <a:gd name="T45" fmla="*/ 2147483647 h 498"/>
                <a:gd name="T46" fmla="*/ 2147483647 w 336"/>
                <a:gd name="T47" fmla="*/ 2147483647 h 498"/>
                <a:gd name="T48" fmla="*/ 2147483647 w 336"/>
                <a:gd name="T49" fmla="*/ 2147483647 h 498"/>
                <a:gd name="T50" fmla="*/ 2147483647 w 336"/>
                <a:gd name="T51" fmla="*/ 2147483647 h 498"/>
                <a:gd name="T52" fmla="*/ 2147483647 w 336"/>
                <a:gd name="T53" fmla="*/ 2147483647 h 498"/>
                <a:gd name="T54" fmla="*/ 2147483647 w 336"/>
                <a:gd name="T55" fmla="*/ 2147483647 h 49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36"/>
                <a:gd name="T85" fmla="*/ 0 h 498"/>
                <a:gd name="T86" fmla="*/ 336 w 336"/>
                <a:gd name="T87" fmla="*/ 498 h 49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36" h="498">
                  <a:moveTo>
                    <a:pt x="309" y="231"/>
                  </a:moveTo>
                  <a:lnTo>
                    <a:pt x="309" y="231"/>
                  </a:lnTo>
                  <a:cubicBezTo>
                    <a:pt x="318" y="223"/>
                    <a:pt x="301" y="214"/>
                    <a:pt x="309" y="206"/>
                  </a:cubicBezTo>
                  <a:cubicBezTo>
                    <a:pt x="318" y="206"/>
                    <a:pt x="335" y="188"/>
                    <a:pt x="335" y="180"/>
                  </a:cubicBezTo>
                  <a:cubicBezTo>
                    <a:pt x="335" y="180"/>
                    <a:pt x="275" y="154"/>
                    <a:pt x="266" y="137"/>
                  </a:cubicBezTo>
                  <a:cubicBezTo>
                    <a:pt x="249" y="120"/>
                    <a:pt x="232" y="129"/>
                    <a:pt x="223" y="120"/>
                  </a:cubicBezTo>
                  <a:cubicBezTo>
                    <a:pt x="215" y="111"/>
                    <a:pt x="198" y="94"/>
                    <a:pt x="189" y="86"/>
                  </a:cubicBezTo>
                  <a:cubicBezTo>
                    <a:pt x="181" y="77"/>
                    <a:pt x="189" y="69"/>
                    <a:pt x="181" y="51"/>
                  </a:cubicBezTo>
                  <a:cubicBezTo>
                    <a:pt x="181" y="43"/>
                    <a:pt x="155" y="26"/>
                    <a:pt x="138" y="0"/>
                  </a:cubicBezTo>
                  <a:cubicBezTo>
                    <a:pt x="129" y="8"/>
                    <a:pt x="129" y="8"/>
                    <a:pt x="121" y="8"/>
                  </a:cubicBezTo>
                  <a:cubicBezTo>
                    <a:pt x="95" y="26"/>
                    <a:pt x="103" y="8"/>
                    <a:pt x="86" y="26"/>
                  </a:cubicBezTo>
                  <a:cubicBezTo>
                    <a:pt x="69" y="34"/>
                    <a:pt x="112" y="69"/>
                    <a:pt x="112" y="86"/>
                  </a:cubicBezTo>
                  <a:cubicBezTo>
                    <a:pt x="112" y="111"/>
                    <a:pt x="86" y="86"/>
                    <a:pt x="78" y="77"/>
                  </a:cubicBezTo>
                  <a:cubicBezTo>
                    <a:pt x="69" y="77"/>
                    <a:pt x="44" y="103"/>
                    <a:pt x="35" y="120"/>
                  </a:cubicBezTo>
                  <a:cubicBezTo>
                    <a:pt x="26" y="129"/>
                    <a:pt x="26" y="171"/>
                    <a:pt x="9" y="180"/>
                  </a:cubicBezTo>
                  <a:cubicBezTo>
                    <a:pt x="0" y="197"/>
                    <a:pt x="0" y="206"/>
                    <a:pt x="0" y="223"/>
                  </a:cubicBezTo>
                  <a:cubicBezTo>
                    <a:pt x="0" y="240"/>
                    <a:pt x="9" y="274"/>
                    <a:pt x="18" y="291"/>
                  </a:cubicBezTo>
                  <a:cubicBezTo>
                    <a:pt x="18" y="300"/>
                    <a:pt x="9" y="326"/>
                    <a:pt x="9" y="334"/>
                  </a:cubicBezTo>
                  <a:cubicBezTo>
                    <a:pt x="9" y="343"/>
                    <a:pt x="9" y="360"/>
                    <a:pt x="18" y="369"/>
                  </a:cubicBezTo>
                  <a:cubicBezTo>
                    <a:pt x="44" y="386"/>
                    <a:pt x="78" y="394"/>
                    <a:pt x="95" y="403"/>
                  </a:cubicBezTo>
                  <a:cubicBezTo>
                    <a:pt x="129" y="428"/>
                    <a:pt x="146" y="428"/>
                    <a:pt x="172" y="454"/>
                  </a:cubicBezTo>
                  <a:cubicBezTo>
                    <a:pt x="189" y="480"/>
                    <a:pt x="181" y="480"/>
                    <a:pt x="206" y="497"/>
                  </a:cubicBezTo>
                  <a:cubicBezTo>
                    <a:pt x="215" y="497"/>
                    <a:pt x="223" y="497"/>
                    <a:pt x="223" y="497"/>
                  </a:cubicBezTo>
                  <a:cubicBezTo>
                    <a:pt x="232" y="411"/>
                    <a:pt x="206" y="428"/>
                    <a:pt x="206" y="411"/>
                  </a:cubicBezTo>
                  <a:cubicBezTo>
                    <a:pt x="206" y="394"/>
                    <a:pt x="215" y="343"/>
                    <a:pt x="240" y="317"/>
                  </a:cubicBezTo>
                  <a:cubicBezTo>
                    <a:pt x="266" y="283"/>
                    <a:pt x="266" y="274"/>
                    <a:pt x="275" y="266"/>
                  </a:cubicBezTo>
                  <a:cubicBezTo>
                    <a:pt x="275" y="266"/>
                    <a:pt x="275" y="266"/>
                    <a:pt x="284" y="266"/>
                  </a:cubicBezTo>
                  <a:cubicBezTo>
                    <a:pt x="292" y="248"/>
                    <a:pt x="301" y="231"/>
                    <a:pt x="309" y="231"/>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7" name="Freeform 98"/>
            <p:cNvSpPr>
              <a:spLocks noChangeArrowheads="1"/>
            </p:cNvSpPr>
            <p:nvPr/>
          </p:nvSpPr>
          <p:spPr bwMode="auto">
            <a:xfrm>
              <a:off x="3392488" y="3663950"/>
              <a:ext cx="363537" cy="447675"/>
            </a:xfrm>
            <a:custGeom>
              <a:avLst/>
              <a:gdLst>
                <a:gd name="T0" fmla="*/ 2147483647 w 1012"/>
                <a:gd name="T1" fmla="*/ 2147483647 h 1244"/>
                <a:gd name="T2" fmla="*/ 2147483647 w 1012"/>
                <a:gd name="T3" fmla="*/ 2147483647 h 1244"/>
                <a:gd name="T4" fmla="*/ 2147483647 w 1012"/>
                <a:gd name="T5" fmla="*/ 2147483647 h 1244"/>
                <a:gd name="T6" fmla="*/ 2147483647 w 1012"/>
                <a:gd name="T7" fmla="*/ 2147483647 h 1244"/>
                <a:gd name="T8" fmla="*/ 2147483647 w 1012"/>
                <a:gd name="T9" fmla="*/ 2147483647 h 1244"/>
                <a:gd name="T10" fmla="*/ 2147483647 w 1012"/>
                <a:gd name="T11" fmla="*/ 2147483647 h 1244"/>
                <a:gd name="T12" fmla="*/ 2147483647 w 1012"/>
                <a:gd name="T13" fmla="*/ 2147483647 h 1244"/>
                <a:gd name="T14" fmla="*/ 2147483647 w 1012"/>
                <a:gd name="T15" fmla="*/ 2147483647 h 1244"/>
                <a:gd name="T16" fmla="*/ 2147483647 w 1012"/>
                <a:gd name="T17" fmla="*/ 2147483647 h 1244"/>
                <a:gd name="T18" fmla="*/ 2147483647 w 1012"/>
                <a:gd name="T19" fmla="*/ 2147483647 h 1244"/>
                <a:gd name="T20" fmla="*/ 2147483647 w 1012"/>
                <a:gd name="T21" fmla="*/ 2147483647 h 1244"/>
                <a:gd name="T22" fmla="*/ 2147483647 w 1012"/>
                <a:gd name="T23" fmla="*/ 2147483647 h 1244"/>
                <a:gd name="T24" fmla="*/ 2147483647 w 1012"/>
                <a:gd name="T25" fmla="*/ 0 h 1244"/>
                <a:gd name="T26" fmla="*/ 2147483647 w 1012"/>
                <a:gd name="T27" fmla="*/ 2147483647 h 1244"/>
                <a:gd name="T28" fmla="*/ 2147483647 w 1012"/>
                <a:gd name="T29" fmla="*/ 2147483647 h 1244"/>
                <a:gd name="T30" fmla="*/ 2147483647 w 1012"/>
                <a:gd name="T31" fmla="*/ 2147483647 h 1244"/>
                <a:gd name="T32" fmla="*/ 2147483647 w 1012"/>
                <a:gd name="T33" fmla="*/ 2147483647 h 1244"/>
                <a:gd name="T34" fmla="*/ 2147483647 w 1012"/>
                <a:gd name="T35" fmla="*/ 2147483647 h 1244"/>
                <a:gd name="T36" fmla="*/ 2147483647 w 1012"/>
                <a:gd name="T37" fmla="*/ 2147483647 h 1244"/>
                <a:gd name="T38" fmla="*/ 2147483647 w 1012"/>
                <a:gd name="T39" fmla="*/ 2147483647 h 1244"/>
                <a:gd name="T40" fmla="*/ 2147483647 w 1012"/>
                <a:gd name="T41" fmla="*/ 2147483647 h 1244"/>
                <a:gd name="T42" fmla="*/ 2147483647 w 1012"/>
                <a:gd name="T43" fmla="*/ 2147483647 h 1244"/>
                <a:gd name="T44" fmla="*/ 2147483647 w 1012"/>
                <a:gd name="T45" fmla="*/ 2147483647 h 1244"/>
                <a:gd name="T46" fmla="*/ 2147483647 w 1012"/>
                <a:gd name="T47" fmla="*/ 2147483647 h 1244"/>
                <a:gd name="T48" fmla="*/ 2147483647 w 1012"/>
                <a:gd name="T49" fmla="*/ 2147483647 h 1244"/>
                <a:gd name="T50" fmla="*/ 2147483647 w 1012"/>
                <a:gd name="T51" fmla="*/ 2147483647 h 1244"/>
                <a:gd name="T52" fmla="*/ 2147483647 w 1012"/>
                <a:gd name="T53" fmla="*/ 2147483647 h 1244"/>
                <a:gd name="T54" fmla="*/ 2147483647 w 1012"/>
                <a:gd name="T55" fmla="*/ 2147483647 h 1244"/>
                <a:gd name="T56" fmla="*/ 2147483647 w 1012"/>
                <a:gd name="T57" fmla="*/ 2147483647 h 1244"/>
                <a:gd name="T58" fmla="*/ 2147483647 w 1012"/>
                <a:gd name="T59" fmla="*/ 2147483647 h 1244"/>
                <a:gd name="T60" fmla="*/ 2147483647 w 1012"/>
                <a:gd name="T61" fmla="*/ 2147483647 h 1244"/>
                <a:gd name="T62" fmla="*/ 2147483647 w 1012"/>
                <a:gd name="T63" fmla="*/ 2147483647 h 1244"/>
                <a:gd name="T64" fmla="*/ 2147483647 w 1012"/>
                <a:gd name="T65" fmla="*/ 2147483647 h 1244"/>
                <a:gd name="T66" fmla="*/ 2147483647 w 1012"/>
                <a:gd name="T67" fmla="*/ 2147483647 h 1244"/>
                <a:gd name="T68" fmla="*/ 2147483647 w 1012"/>
                <a:gd name="T69" fmla="*/ 2147483647 h 1244"/>
                <a:gd name="T70" fmla="*/ 2147483647 w 1012"/>
                <a:gd name="T71" fmla="*/ 2147483647 h 1244"/>
                <a:gd name="T72" fmla="*/ 2147483647 w 1012"/>
                <a:gd name="T73" fmla="*/ 2147483647 h 1244"/>
                <a:gd name="T74" fmla="*/ 2147483647 w 1012"/>
                <a:gd name="T75" fmla="*/ 2147483647 h 1244"/>
                <a:gd name="T76" fmla="*/ 2147483647 w 1012"/>
                <a:gd name="T77" fmla="*/ 2147483647 h 12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12"/>
                <a:gd name="T118" fmla="*/ 0 h 1244"/>
                <a:gd name="T119" fmla="*/ 1012 w 1012"/>
                <a:gd name="T120" fmla="*/ 1244 h 12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12" h="1244">
                  <a:moveTo>
                    <a:pt x="968" y="746"/>
                  </a:moveTo>
                  <a:lnTo>
                    <a:pt x="968" y="746"/>
                  </a:lnTo>
                  <a:cubicBezTo>
                    <a:pt x="951" y="728"/>
                    <a:pt x="908" y="711"/>
                    <a:pt x="891" y="686"/>
                  </a:cubicBezTo>
                  <a:cubicBezTo>
                    <a:pt x="865" y="669"/>
                    <a:pt x="848" y="634"/>
                    <a:pt x="848" y="591"/>
                  </a:cubicBezTo>
                  <a:cubicBezTo>
                    <a:pt x="848" y="548"/>
                    <a:pt x="857" y="548"/>
                    <a:pt x="865" y="531"/>
                  </a:cubicBezTo>
                  <a:cubicBezTo>
                    <a:pt x="874" y="523"/>
                    <a:pt x="883" y="497"/>
                    <a:pt x="883" y="480"/>
                  </a:cubicBezTo>
                  <a:cubicBezTo>
                    <a:pt x="874" y="480"/>
                    <a:pt x="865" y="471"/>
                    <a:pt x="865" y="471"/>
                  </a:cubicBezTo>
                  <a:cubicBezTo>
                    <a:pt x="857" y="454"/>
                    <a:pt x="848" y="446"/>
                    <a:pt x="831" y="429"/>
                  </a:cubicBezTo>
                  <a:cubicBezTo>
                    <a:pt x="814" y="411"/>
                    <a:pt x="840" y="394"/>
                    <a:pt x="848" y="394"/>
                  </a:cubicBezTo>
                  <a:cubicBezTo>
                    <a:pt x="857" y="385"/>
                    <a:pt x="891" y="377"/>
                    <a:pt x="874" y="377"/>
                  </a:cubicBezTo>
                  <a:cubicBezTo>
                    <a:pt x="857" y="377"/>
                    <a:pt x="823" y="351"/>
                    <a:pt x="797" y="360"/>
                  </a:cubicBezTo>
                  <a:cubicBezTo>
                    <a:pt x="780" y="368"/>
                    <a:pt x="762" y="403"/>
                    <a:pt x="754" y="420"/>
                  </a:cubicBezTo>
                  <a:cubicBezTo>
                    <a:pt x="745" y="437"/>
                    <a:pt x="737" y="403"/>
                    <a:pt x="711" y="385"/>
                  </a:cubicBezTo>
                  <a:cubicBezTo>
                    <a:pt x="694" y="377"/>
                    <a:pt x="660" y="394"/>
                    <a:pt x="634" y="377"/>
                  </a:cubicBezTo>
                  <a:cubicBezTo>
                    <a:pt x="617" y="360"/>
                    <a:pt x="600" y="360"/>
                    <a:pt x="583" y="360"/>
                  </a:cubicBezTo>
                  <a:cubicBezTo>
                    <a:pt x="557" y="360"/>
                    <a:pt x="583" y="343"/>
                    <a:pt x="600" y="326"/>
                  </a:cubicBezTo>
                  <a:cubicBezTo>
                    <a:pt x="625" y="300"/>
                    <a:pt x="566" y="300"/>
                    <a:pt x="566" y="283"/>
                  </a:cubicBezTo>
                  <a:cubicBezTo>
                    <a:pt x="557" y="266"/>
                    <a:pt x="591" y="266"/>
                    <a:pt x="600" y="248"/>
                  </a:cubicBezTo>
                  <a:cubicBezTo>
                    <a:pt x="608" y="240"/>
                    <a:pt x="566" y="231"/>
                    <a:pt x="522" y="223"/>
                  </a:cubicBezTo>
                  <a:cubicBezTo>
                    <a:pt x="480" y="214"/>
                    <a:pt x="463" y="189"/>
                    <a:pt x="445" y="180"/>
                  </a:cubicBezTo>
                  <a:cubicBezTo>
                    <a:pt x="420" y="163"/>
                    <a:pt x="411" y="137"/>
                    <a:pt x="411" y="111"/>
                  </a:cubicBezTo>
                  <a:cubicBezTo>
                    <a:pt x="411" y="86"/>
                    <a:pt x="394" y="94"/>
                    <a:pt x="377" y="77"/>
                  </a:cubicBezTo>
                  <a:cubicBezTo>
                    <a:pt x="351" y="60"/>
                    <a:pt x="343" y="60"/>
                    <a:pt x="326" y="43"/>
                  </a:cubicBezTo>
                  <a:cubicBezTo>
                    <a:pt x="317" y="43"/>
                    <a:pt x="308" y="17"/>
                    <a:pt x="300" y="0"/>
                  </a:cubicBezTo>
                  <a:cubicBezTo>
                    <a:pt x="291" y="0"/>
                    <a:pt x="291" y="0"/>
                    <a:pt x="291" y="0"/>
                  </a:cubicBezTo>
                  <a:cubicBezTo>
                    <a:pt x="248" y="8"/>
                    <a:pt x="188" y="0"/>
                    <a:pt x="163" y="8"/>
                  </a:cubicBezTo>
                  <a:cubicBezTo>
                    <a:pt x="128" y="17"/>
                    <a:pt x="111" y="51"/>
                    <a:pt x="103" y="68"/>
                  </a:cubicBezTo>
                  <a:cubicBezTo>
                    <a:pt x="94" y="86"/>
                    <a:pt x="77" y="60"/>
                    <a:pt x="51" y="77"/>
                  </a:cubicBezTo>
                  <a:cubicBezTo>
                    <a:pt x="42" y="86"/>
                    <a:pt x="25" y="94"/>
                    <a:pt x="0" y="103"/>
                  </a:cubicBezTo>
                  <a:cubicBezTo>
                    <a:pt x="17" y="137"/>
                    <a:pt x="25" y="189"/>
                    <a:pt x="34" y="206"/>
                  </a:cubicBezTo>
                  <a:cubicBezTo>
                    <a:pt x="42" y="223"/>
                    <a:pt x="51" y="206"/>
                    <a:pt x="60" y="214"/>
                  </a:cubicBezTo>
                  <a:cubicBezTo>
                    <a:pt x="77" y="214"/>
                    <a:pt x="60" y="223"/>
                    <a:pt x="60" y="248"/>
                  </a:cubicBezTo>
                  <a:cubicBezTo>
                    <a:pt x="68" y="283"/>
                    <a:pt x="145" y="274"/>
                    <a:pt x="145" y="291"/>
                  </a:cubicBezTo>
                  <a:cubicBezTo>
                    <a:pt x="154" y="308"/>
                    <a:pt x="128" y="308"/>
                    <a:pt x="94" y="334"/>
                  </a:cubicBezTo>
                  <a:cubicBezTo>
                    <a:pt x="60" y="360"/>
                    <a:pt x="94" y="343"/>
                    <a:pt x="94" y="377"/>
                  </a:cubicBezTo>
                  <a:cubicBezTo>
                    <a:pt x="103" y="420"/>
                    <a:pt x="103" y="385"/>
                    <a:pt x="137" y="385"/>
                  </a:cubicBezTo>
                  <a:cubicBezTo>
                    <a:pt x="171" y="385"/>
                    <a:pt x="163" y="394"/>
                    <a:pt x="163" y="420"/>
                  </a:cubicBezTo>
                  <a:cubicBezTo>
                    <a:pt x="163" y="454"/>
                    <a:pt x="128" y="497"/>
                    <a:pt x="120" y="523"/>
                  </a:cubicBezTo>
                  <a:cubicBezTo>
                    <a:pt x="120" y="548"/>
                    <a:pt x="128" y="548"/>
                    <a:pt x="145" y="566"/>
                  </a:cubicBezTo>
                  <a:cubicBezTo>
                    <a:pt x="171" y="583"/>
                    <a:pt x="180" y="574"/>
                    <a:pt x="197" y="600"/>
                  </a:cubicBezTo>
                  <a:cubicBezTo>
                    <a:pt x="214" y="626"/>
                    <a:pt x="240" y="634"/>
                    <a:pt x="240" y="651"/>
                  </a:cubicBezTo>
                  <a:cubicBezTo>
                    <a:pt x="240" y="669"/>
                    <a:pt x="214" y="660"/>
                    <a:pt x="180" y="660"/>
                  </a:cubicBezTo>
                  <a:cubicBezTo>
                    <a:pt x="145" y="660"/>
                    <a:pt x="197" y="686"/>
                    <a:pt x="214" y="703"/>
                  </a:cubicBezTo>
                  <a:cubicBezTo>
                    <a:pt x="231" y="720"/>
                    <a:pt x="240" y="746"/>
                    <a:pt x="231" y="763"/>
                  </a:cubicBezTo>
                  <a:cubicBezTo>
                    <a:pt x="231" y="788"/>
                    <a:pt x="214" y="780"/>
                    <a:pt x="205" y="763"/>
                  </a:cubicBezTo>
                  <a:cubicBezTo>
                    <a:pt x="205" y="746"/>
                    <a:pt x="197" y="763"/>
                    <a:pt x="180" y="780"/>
                  </a:cubicBezTo>
                  <a:cubicBezTo>
                    <a:pt x="197" y="806"/>
                    <a:pt x="223" y="823"/>
                    <a:pt x="223" y="831"/>
                  </a:cubicBezTo>
                  <a:cubicBezTo>
                    <a:pt x="231" y="849"/>
                    <a:pt x="223" y="857"/>
                    <a:pt x="231" y="866"/>
                  </a:cubicBezTo>
                  <a:cubicBezTo>
                    <a:pt x="240" y="874"/>
                    <a:pt x="257" y="891"/>
                    <a:pt x="265" y="900"/>
                  </a:cubicBezTo>
                  <a:cubicBezTo>
                    <a:pt x="274" y="909"/>
                    <a:pt x="291" y="900"/>
                    <a:pt x="308" y="917"/>
                  </a:cubicBezTo>
                  <a:cubicBezTo>
                    <a:pt x="317" y="934"/>
                    <a:pt x="377" y="960"/>
                    <a:pt x="377" y="960"/>
                  </a:cubicBezTo>
                  <a:cubicBezTo>
                    <a:pt x="377" y="968"/>
                    <a:pt x="360" y="986"/>
                    <a:pt x="351" y="986"/>
                  </a:cubicBezTo>
                  <a:cubicBezTo>
                    <a:pt x="343" y="994"/>
                    <a:pt x="360" y="1003"/>
                    <a:pt x="351" y="1011"/>
                  </a:cubicBezTo>
                  <a:cubicBezTo>
                    <a:pt x="343" y="1011"/>
                    <a:pt x="334" y="1028"/>
                    <a:pt x="326" y="1046"/>
                  </a:cubicBezTo>
                  <a:cubicBezTo>
                    <a:pt x="326" y="1046"/>
                    <a:pt x="334" y="1071"/>
                    <a:pt x="343" y="1089"/>
                  </a:cubicBezTo>
                  <a:cubicBezTo>
                    <a:pt x="360" y="1106"/>
                    <a:pt x="394" y="1071"/>
                    <a:pt x="403" y="1071"/>
                  </a:cubicBezTo>
                  <a:cubicBezTo>
                    <a:pt x="420" y="1063"/>
                    <a:pt x="428" y="1080"/>
                    <a:pt x="437" y="1097"/>
                  </a:cubicBezTo>
                  <a:cubicBezTo>
                    <a:pt x="445" y="1123"/>
                    <a:pt x="445" y="1114"/>
                    <a:pt x="471" y="1123"/>
                  </a:cubicBezTo>
                  <a:cubicBezTo>
                    <a:pt x="497" y="1131"/>
                    <a:pt x="497" y="1131"/>
                    <a:pt x="514" y="1157"/>
                  </a:cubicBezTo>
                  <a:cubicBezTo>
                    <a:pt x="540" y="1183"/>
                    <a:pt x="531" y="1183"/>
                    <a:pt x="540" y="1208"/>
                  </a:cubicBezTo>
                  <a:cubicBezTo>
                    <a:pt x="548" y="1217"/>
                    <a:pt x="548" y="1234"/>
                    <a:pt x="540" y="1243"/>
                  </a:cubicBezTo>
                  <a:cubicBezTo>
                    <a:pt x="566" y="1243"/>
                    <a:pt x="574" y="1243"/>
                    <a:pt x="583" y="1234"/>
                  </a:cubicBezTo>
                  <a:cubicBezTo>
                    <a:pt x="591" y="1217"/>
                    <a:pt x="583" y="1200"/>
                    <a:pt x="583" y="1183"/>
                  </a:cubicBezTo>
                  <a:cubicBezTo>
                    <a:pt x="591" y="1166"/>
                    <a:pt x="634" y="1123"/>
                    <a:pt x="651" y="1131"/>
                  </a:cubicBezTo>
                  <a:cubicBezTo>
                    <a:pt x="677" y="1149"/>
                    <a:pt x="694" y="1166"/>
                    <a:pt x="694" y="1149"/>
                  </a:cubicBezTo>
                  <a:cubicBezTo>
                    <a:pt x="694" y="1140"/>
                    <a:pt x="694" y="1106"/>
                    <a:pt x="720" y="1106"/>
                  </a:cubicBezTo>
                  <a:cubicBezTo>
                    <a:pt x="745" y="1097"/>
                    <a:pt x="762" y="1106"/>
                    <a:pt x="780" y="1089"/>
                  </a:cubicBezTo>
                  <a:cubicBezTo>
                    <a:pt x="797" y="1080"/>
                    <a:pt x="806" y="1071"/>
                    <a:pt x="831" y="1063"/>
                  </a:cubicBezTo>
                  <a:cubicBezTo>
                    <a:pt x="857" y="1063"/>
                    <a:pt x="857" y="1037"/>
                    <a:pt x="891" y="1046"/>
                  </a:cubicBezTo>
                  <a:cubicBezTo>
                    <a:pt x="900" y="1054"/>
                    <a:pt x="908" y="1054"/>
                    <a:pt x="908" y="1063"/>
                  </a:cubicBezTo>
                  <a:cubicBezTo>
                    <a:pt x="934" y="1037"/>
                    <a:pt x="951" y="1028"/>
                    <a:pt x="951" y="1028"/>
                  </a:cubicBezTo>
                  <a:cubicBezTo>
                    <a:pt x="951" y="1028"/>
                    <a:pt x="943" y="977"/>
                    <a:pt x="934" y="968"/>
                  </a:cubicBezTo>
                  <a:cubicBezTo>
                    <a:pt x="917" y="968"/>
                    <a:pt x="908" y="909"/>
                    <a:pt x="908" y="900"/>
                  </a:cubicBezTo>
                  <a:cubicBezTo>
                    <a:pt x="908" y="883"/>
                    <a:pt x="943" y="866"/>
                    <a:pt x="951" y="866"/>
                  </a:cubicBezTo>
                  <a:cubicBezTo>
                    <a:pt x="968" y="857"/>
                    <a:pt x="977" y="814"/>
                    <a:pt x="994" y="788"/>
                  </a:cubicBezTo>
                  <a:cubicBezTo>
                    <a:pt x="1011" y="763"/>
                    <a:pt x="977" y="754"/>
                    <a:pt x="968" y="74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8" name="Freeform 99"/>
            <p:cNvSpPr>
              <a:spLocks noChangeArrowheads="1"/>
            </p:cNvSpPr>
            <p:nvPr/>
          </p:nvSpPr>
          <p:spPr bwMode="auto">
            <a:xfrm>
              <a:off x="1011238" y="4689475"/>
              <a:ext cx="657225" cy="654050"/>
            </a:xfrm>
            <a:custGeom>
              <a:avLst/>
              <a:gdLst>
                <a:gd name="T0" fmla="*/ 2147483647 w 1826"/>
                <a:gd name="T1" fmla="*/ 2147483647 h 1818"/>
                <a:gd name="T2" fmla="*/ 2147483647 w 1826"/>
                <a:gd name="T3" fmla="*/ 2147483647 h 1818"/>
                <a:gd name="T4" fmla="*/ 2147483647 w 1826"/>
                <a:gd name="T5" fmla="*/ 2147483647 h 1818"/>
                <a:gd name="T6" fmla="*/ 2147483647 w 1826"/>
                <a:gd name="T7" fmla="*/ 2147483647 h 1818"/>
                <a:gd name="T8" fmla="*/ 2147483647 w 1826"/>
                <a:gd name="T9" fmla="*/ 2147483647 h 1818"/>
                <a:gd name="T10" fmla="*/ 2147483647 w 1826"/>
                <a:gd name="T11" fmla="*/ 2147483647 h 1818"/>
                <a:gd name="T12" fmla="*/ 2147483647 w 1826"/>
                <a:gd name="T13" fmla="*/ 2147483647 h 1818"/>
                <a:gd name="T14" fmla="*/ 2147483647 w 1826"/>
                <a:gd name="T15" fmla="*/ 2147483647 h 1818"/>
                <a:gd name="T16" fmla="*/ 2147483647 w 1826"/>
                <a:gd name="T17" fmla="*/ 2147483647 h 1818"/>
                <a:gd name="T18" fmla="*/ 2147483647 w 1826"/>
                <a:gd name="T19" fmla="*/ 2147483647 h 1818"/>
                <a:gd name="T20" fmla="*/ 2147483647 w 1826"/>
                <a:gd name="T21" fmla="*/ 2147483647 h 1818"/>
                <a:gd name="T22" fmla="*/ 2147483647 w 1826"/>
                <a:gd name="T23" fmla="*/ 2147483647 h 1818"/>
                <a:gd name="T24" fmla="*/ 2147483647 w 1826"/>
                <a:gd name="T25" fmla="*/ 2147483647 h 1818"/>
                <a:gd name="T26" fmla="*/ 2147483647 w 1826"/>
                <a:gd name="T27" fmla="*/ 2147483647 h 1818"/>
                <a:gd name="T28" fmla="*/ 2147483647 w 1826"/>
                <a:gd name="T29" fmla="*/ 2147483647 h 1818"/>
                <a:gd name="T30" fmla="*/ 2147483647 w 1826"/>
                <a:gd name="T31" fmla="*/ 2147483647 h 1818"/>
                <a:gd name="T32" fmla="*/ 2147483647 w 1826"/>
                <a:gd name="T33" fmla="*/ 2147483647 h 1818"/>
                <a:gd name="T34" fmla="*/ 2147483647 w 1826"/>
                <a:gd name="T35" fmla="*/ 2147483647 h 1818"/>
                <a:gd name="T36" fmla="*/ 2147483647 w 1826"/>
                <a:gd name="T37" fmla="*/ 2147483647 h 1818"/>
                <a:gd name="T38" fmla="*/ 2147483647 w 1826"/>
                <a:gd name="T39" fmla="*/ 2147483647 h 1818"/>
                <a:gd name="T40" fmla="*/ 2147483647 w 1826"/>
                <a:gd name="T41" fmla="*/ 2147483647 h 1818"/>
                <a:gd name="T42" fmla="*/ 2147483647 w 1826"/>
                <a:gd name="T43" fmla="*/ 2147483647 h 1818"/>
                <a:gd name="T44" fmla="*/ 2147483647 w 1826"/>
                <a:gd name="T45" fmla="*/ 2147483647 h 1818"/>
                <a:gd name="T46" fmla="*/ 2147483647 w 1826"/>
                <a:gd name="T47" fmla="*/ 0 h 1818"/>
                <a:gd name="T48" fmla="*/ 2147483647 w 1826"/>
                <a:gd name="T49" fmla="*/ 0 h 1818"/>
                <a:gd name="T50" fmla="*/ 2147483647 w 1826"/>
                <a:gd name="T51" fmla="*/ 2147483647 h 1818"/>
                <a:gd name="T52" fmla="*/ 2147483647 w 1826"/>
                <a:gd name="T53" fmla="*/ 2147483647 h 1818"/>
                <a:gd name="T54" fmla="*/ 2147483647 w 1826"/>
                <a:gd name="T55" fmla="*/ 2147483647 h 1818"/>
                <a:gd name="T56" fmla="*/ 2147483647 w 1826"/>
                <a:gd name="T57" fmla="*/ 2147483647 h 1818"/>
                <a:gd name="T58" fmla="*/ 2147483647 w 1826"/>
                <a:gd name="T59" fmla="*/ 2147483647 h 1818"/>
                <a:gd name="T60" fmla="*/ 2147483647 w 1826"/>
                <a:gd name="T61" fmla="*/ 2147483647 h 1818"/>
                <a:gd name="T62" fmla="*/ 2147483647 w 1826"/>
                <a:gd name="T63" fmla="*/ 2147483647 h 1818"/>
                <a:gd name="T64" fmla="*/ 2147483647 w 1826"/>
                <a:gd name="T65" fmla="*/ 2147483647 h 1818"/>
                <a:gd name="T66" fmla="*/ 2147483647 w 1826"/>
                <a:gd name="T67" fmla="*/ 2147483647 h 1818"/>
                <a:gd name="T68" fmla="*/ 2147483647 w 1826"/>
                <a:gd name="T69" fmla="*/ 2147483647 h 1818"/>
                <a:gd name="T70" fmla="*/ 2147483647 w 1826"/>
                <a:gd name="T71" fmla="*/ 2147483647 h 1818"/>
                <a:gd name="T72" fmla="*/ 2147483647 w 1826"/>
                <a:gd name="T73" fmla="*/ 2147483647 h 1818"/>
                <a:gd name="T74" fmla="*/ 2147483647 w 1826"/>
                <a:gd name="T75" fmla="*/ 2147483647 h 1818"/>
                <a:gd name="T76" fmla="*/ 0 w 1826"/>
                <a:gd name="T77" fmla="*/ 2147483647 h 1818"/>
                <a:gd name="T78" fmla="*/ 2147483647 w 1826"/>
                <a:gd name="T79" fmla="*/ 2147483647 h 1818"/>
                <a:gd name="T80" fmla="*/ 2147483647 w 1826"/>
                <a:gd name="T81" fmla="*/ 2147483647 h 1818"/>
                <a:gd name="T82" fmla="*/ 2147483647 w 1826"/>
                <a:gd name="T83" fmla="*/ 2147483647 h 1818"/>
                <a:gd name="T84" fmla="*/ 2147483647 w 1826"/>
                <a:gd name="T85" fmla="*/ 2147483647 h 1818"/>
                <a:gd name="T86" fmla="*/ 2147483647 w 1826"/>
                <a:gd name="T87" fmla="*/ 2147483647 h 1818"/>
                <a:gd name="T88" fmla="*/ 2147483647 w 1826"/>
                <a:gd name="T89" fmla="*/ 2147483647 h 1818"/>
                <a:gd name="T90" fmla="*/ 2147483647 w 1826"/>
                <a:gd name="T91" fmla="*/ 2147483647 h 1818"/>
                <a:gd name="T92" fmla="*/ 2147483647 w 1826"/>
                <a:gd name="T93" fmla="*/ 2147483647 h 1818"/>
                <a:gd name="T94" fmla="*/ 2147483647 w 1826"/>
                <a:gd name="T95" fmla="*/ 2147483647 h 1818"/>
                <a:gd name="T96" fmla="*/ 2147483647 w 1826"/>
                <a:gd name="T97" fmla="*/ 2147483647 h 1818"/>
                <a:gd name="T98" fmla="*/ 2147483647 w 1826"/>
                <a:gd name="T99" fmla="*/ 2147483647 h 1818"/>
                <a:gd name="T100" fmla="*/ 2147483647 w 1826"/>
                <a:gd name="T101" fmla="*/ 2147483647 h 1818"/>
                <a:gd name="T102" fmla="*/ 2147483647 w 1826"/>
                <a:gd name="T103" fmla="*/ 2147483647 h 1818"/>
                <a:gd name="T104" fmla="*/ 2147483647 w 1826"/>
                <a:gd name="T105" fmla="*/ 2147483647 h 1818"/>
                <a:gd name="T106" fmla="*/ 2147483647 w 1826"/>
                <a:gd name="T107" fmla="*/ 2147483647 h 1818"/>
                <a:gd name="T108" fmla="*/ 2147483647 w 1826"/>
                <a:gd name="T109" fmla="*/ 2147483647 h 1818"/>
                <a:gd name="T110" fmla="*/ 2147483647 w 1826"/>
                <a:gd name="T111" fmla="*/ 2147483647 h 1818"/>
                <a:gd name="T112" fmla="*/ 2147483647 w 1826"/>
                <a:gd name="T113" fmla="*/ 2147483647 h 1818"/>
                <a:gd name="T114" fmla="*/ 2147483647 w 1826"/>
                <a:gd name="T115" fmla="*/ 2147483647 h 1818"/>
                <a:gd name="T116" fmla="*/ 2147483647 w 1826"/>
                <a:gd name="T117" fmla="*/ 2147483647 h 1818"/>
                <a:gd name="T118" fmla="*/ 2147483647 w 1826"/>
                <a:gd name="T119" fmla="*/ 214748364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26"/>
                <a:gd name="T181" fmla="*/ 0 h 1818"/>
                <a:gd name="T182" fmla="*/ 1826 w 1826"/>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26" h="1818">
                  <a:moveTo>
                    <a:pt x="1774" y="703"/>
                  </a:moveTo>
                  <a:lnTo>
                    <a:pt x="1774" y="703"/>
                  </a:lnTo>
                  <a:cubicBezTo>
                    <a:pt x="1748" y="677"/>
                    <a:pt x="1765" y="686"/>
                    <a:pt x="1765" y="651"/>
                  </a:cubicBezTo>
                  <a:cubicBezTo>
                    <a:pt x="1765" y="608"/>
                    <a:pt x="1740" y="617"/>
                    <a:pt x="1722" y="591"/>
                  </a:cubicBezTo>
                  <a:cubicBezTo>
                    <a:pt x="1705" y="557"/>
                    <a:pt x="1722" y="557"/>
                    <a:pt x="1731" y="531"/>
                  </a:cubicBezTo>
                  <a:cubicBezTo>
                    <a:pt x="1740" y="506"/>
                    <a:pt x="1705" y="506"/>
                    <a:pt x="1722" y="488"/>
                  </a:cubicBezTo>
                  <a:cubicBezTo>
                    <a:pt x="1731" y="480"/>
                    <a:pt x="1705" y="454"/>
                    <a:pt x="1714" y="429"/>
                  </a:cubicBezTo>
                  <a:cubicBezTo>
                    <a:pt x="1722" y="411"/>
                    <a:pt x="1714" y="385"/>
                    <a:pt x="1714" y="360"/>
                  </a:cubicBezTo>
                  <a:cubicBezTo>
                    <a:pt x="1714" y="326"/>
                    <a:pt x="1697" y="317"/>
                    <a:pt x="1697" y="266"/>
                  </a:cubicBezTo>
                  <a:cubicBezTo>
                    <a:pt x="1688" y="223"/>
                    <a:pt x="1662" y="231"/>
                    <a:pt x="1637" y="205"/>
                  </a:cubicBezTo>
                  <a:cubicBezTo>
                    <a:pt x="1628" y="205"/>
                    <a:pt x="1619" y="188"/>
                    <a:pt x="1611" y="171"/>
                  </a:cubicBezTo>
                  <a:cubicBezTo>
                    <a:pt x="1602" y="171"/>
                    <a:pt x="1594" y="163"/>
                    <a:pt x="1585" y="163"/>
                  </a:cubicBezTo>
                  <a:cubicBezTo>
                    <a:pt x="1568" y="163"/>
                    <a:pt x="1577" y="180"/>
                    <a:pt x="1525" y="180"/>
                  </a:cubicBezTo>
                  <a:cubicBezTo>
                    <a:pt x="1500" y="180"/>
                    <a:pt x="1491" y="163"/>
                    <a:pt x="1482" y="145"/>
                  </a:cubicBezTo>
                  <a:cubicBezTo>
                    <a:pt x="1474" y="154"/>
                    <a:pt x="1465" y="154"/>
                    <a:pt x="1457" y="154"/>
                  </a:cubicBezTo>
                  <a:cubicBezTo>
                    <a:pt x="1448" y="145"/>
                    <a:pt x="1440" y="137"/>
                    <a:pt x="1440" y="120"/>
                  </a:cubicBezTo>
                  <a:cubicBezTo>
                    <a:pt x="1422" y="128"/>
                    <a:pt x="1397" y="145"/>
                    <a:pt x="1379" y="154"/>
                  </a:cubicBezTo>
                  <a:cubicBezTo>
                    <a:pt x="1354" y="163"/>
                    <a:pt x="1328" y="128"/>
                    <a:pt x="1311" y="128"/>
                  </a:cubicBezTo>
                  <a:cubicBezTo>
                    <a:pt x="1294" y="137"/>
                    <a:pt x="1294" y="145"/>
                    <a:pt x="1277" y="154"/>
                  </a:cubicBezTo>
                  <a:cubicBezTo>
                    <a:pt x="1268" y="154"/>
                    <a:pt x="1251" y="137"/>
                    <a:pt x="1242" y="137"/>
                  </a:cubicBezTo>
                  <a:cubicBezTo>
                    <a:pt x="1234" y="137"/>
                    <a:pt x="1225" y="154"/>
                    <a:pt x="1148" y="163"/>
                  </a:cubicBezTo>
                  <a:cubicBezTo>
                    <a:pt x="1080" y="171"/>
                    <a:pt x="994" y="34"/>
                    <a:pt x="985" y="17"/>
                  </a:cubicBezTo>
                  <a:cubicBezTo>
                    <a:pt x="985" y="17"/>
                    <a:pt x="985" y="17"/>
                    <a:pt x="985" y="8"/>
                  </a:cubicBezTo>
                  <a:cubicBezTo>
                    <a:pt x="968" y="8"/>
                    <a:pt x="960" y="0"/>
                    <a:pt x="951" y="0"/>
                  </a:cubicBezTo>
                  <a:cubicBezTo>
                    <a:pt x="934" y="8"/>
                    <a:pt x="908" y="8"/>
                    <a:pt x="891" y="8"/>
                  </a:cubicBezTo>
                  <a:cubicBezTo>
                    <a:pt x="882" y="8"/>
                    <a:pt x="865" y="26"/>
                    <a:pt x="857" y="68"/>
                  </a:cubicBezTo>
                  <a:cubicBezTo>
                    <a:pt x="840" y="103"/>
                    <a:pt x="720" y="368"/>
                    <a:pt x="668" y="429"/>
                  </a:cubicBezTo>
                  <a:cubicBezTo>
                    <a:pt x="608" y="488"/>
                    <a:pt x="385" y="566"/>
                    <a:pt x="377" y="574"/>
                  </a:cubicBezTo>
                  <a:cubicBezTo>
                    <a:pt x="360" y="574"/>
                    <a:pt x="317" y="617"/>
                    <a:pt x="300" y="643"/>
                  </a:cubicBezTo>
                  <a:cubicBezTo>
                    <a:pt x="291" y="660"/>
                    <a:pt x="214" y="720"/>
                    <a:pt x="197" y="737"/>
                  </a:cubicBezTo>
                  <a:cubicBezTo>
                    <a:pt x="188" y="763"/>
                    <a:pt x="188" y="814"/>
                    <a:pt x="188" y="840"/>
                  </a:cubicBezTo>
                  <a:cubicBezTo>
                    <a:pt x="179" y="865"/>
                    <a:pt x="94" y="968"/>
                    <a:pt x="85" y="986"/>
                  </a:cubicBezTo>
                  <a:cubicBezTo>
                    <a:pt x="68" y="1003"/>
                    <a:pt x="77" y="1088"/>
                    <a:pt x="77" y="1114"/>
                  </a:cubicBezTo>
                  <a:cubicBezTo>
                    <a:pt x="77" y="1131"/>
                    <a:pt x="77" y="1131"/>
                    <a:pt x="68" y="1149"/>
                  </a:cubicBezTo>
                  <a:cubicBezTo>
                    <a:pt x="60" y="1166"/>
                    <a:pt x="111" y="1208"/>
                    <a:pt x="111" y="1243"/>
                  </a:cubicBezTo>
                  <a:cubicBezTo>
                    <a:pt x="120" y="1277"/>
                    <a:pt x="85" y="1354"/>
                    <a:pt x="68" y="1363"/>
                  </a:cubicBezTo>
                  <a:cubicBezTo>
                    <a:pt x="51" y="1380"/>
                    <a:pt x="8" y="1431"/>
                    <a:pt x="8" y="1440"/>
                  </a:cubicBezTo>
                  <a:cubicBezTo>
                    <a:pt x="0" y="1817"/>
                    <a:pt x="0" y="1817"/>
                    <a:pt x="0" y="1817"/>
                  </a:cubicBezTo>
                  <a:cubicBezTo>
                    <a:pt x="300" y="1817"/>
                    <a:pt x="300" y="1817"/>
                    <a:pt x="300" y="1817"/>
                  </a:cubicBezTo>
                  <a:cubicBezTo>
                    <a:pt x="300" y="1706"/>
                    <a:pt x="300" y="1603"/>
                    <a:pt x="300" y="1603"/>
                  </a:cubicBezTo>
                  <a:cubicBezTo>
                    <a:pt x="300" y="1586"/>
                    <a:pt x="402" y="1534"/>
                    <a:pt x="411" y="1534"/>
                  </a:cubicBezTo>
                  <a:cubicBezTo>
                    <a:pt x="428" y="1526"/>
                    <a:pt x="522" y="1448"/>
                    <a:pt x="531" y="1448"/>
                  </a:cubicBezTo>
                  <a:cubicBezTo>
                    <a:pt x="548" y="1448"/>
                    <a:pt x="582" y="1397"/>
                    <a:pt x="617" y="1389"/>
                  </a:cubicBezTo>
                  <a:cubicBezTo>
                    <a:pt x="642" y="1380"/>
                    <a:pt x="685" y="1406"/>
                    <a:pt x="711" y="1406"/>
                  </a:cubicBezTo>
                  <a:cubicBezTo>
                    <a:pt x="728" y="1406"/>
                    <a:pt x="745" y="1380"/>
                    <a:pt x="754" y="1363"/>
                  </a:cubicBezTo>
                  <a:cubicBezTo>
                    <a:pt x="754" y="1346"/>
                    <a:pt x="788" y="1346"/>
                    <a:pt x="865" y="1346"/>
                  </a:cubicBezTo>
                  <a:cubicBezTo>
                    <a:pt x="934" y="1337"/>
                    <a:pt x="1020" y="1303"/>
                    <a:pt x="1028" y="1260"/>
                  </a:cubicBezTo>
                  <a:cubicBezTo>
                    <a:pt x="1037" y="1217"/>
                    <a:pt x="1114" y="1174"/>
                    <a:pt x="1139" y="1174"/>
                  </a:cubicBezTo>
                  <a:cubicBezTo>
                    <a:pt x="1174" y="1174"/>
                    <a:pt x="1251" y="1114"/>
                    <a:pt x="1294" y="1105"/>
                  </a:cubicBezTo>
                  <a:cubicBezTo>
                    <a:pt x="1328" y="1105"/>
                    <a:pt x="1302" y="1063"/>
                    <a:pt x="1302" y="1054"/>
                  </a:cubicBezTo>
                  <a:cubicBezTo>
                    <a:pt x="1294" y="1054"/>
                    <a:pt x="1285" y="1020"/>
                    <a:pt x="1294" y="1020"/>
                  </a:cubicBezTo>
                  <a:cubicBezTo>
                    <a:pt x="1302" y="1020"/>
                    <a:pt x="1320" y="1003"/>
                    <a:pt x="1294" y="986"/>
                  </a:cubicBezTo>
                  <a:cubicBezTo>
                    <a:pt x="1268" y="960"/>
                    <a:pt x="1285" y="934"/>
                    <a:pt x="1311" y="934"/>
                  </a:cubicBezTo>
                  <a:cubicBezTo>
                    <a:pt x="1337" y="934"/>
                    <a:pt x="1422" y="917"/>
                    <a:pt x="1431" y="917"/>
                  </a:cubicBezTo>
                  <a:cubicBezTo>
                    <a:pt x="1448" y="917"/>
                    <a:pt x="1457" y="891"/>
                    <a:pt x="1474" y="865"/>
                  </a:cubicBezTo>
                  <a:cubicBezTo>
                    <a:pt x="1482" y="848"/>
                    <a:pt x="1560" y="831"/>
                    <a:pt x="1594" y="831"/>
                  </a:cubicBezTo>
                  <a:cubicBezTo>
                    <a:pt x="1619" y="831"/>
                    <a:pt x="1765" y="865"/>
                    <a:pt x="1791" y="848"/>
                  </a:cubicBezTo>
                  <a:cubicBezTo>
                    <a:pt x="1808" y="840"/>
                    <a:pt x="1817" y="788"/>
                    <a:pt x="1825" y="754"/>
                  </a:cubicBezTo>
                  <a:cubicBezTo>
                    <a:pt x="1825" y="728"/>
                    <a:pt x="1808" y="728"/>
                    <a:pt x="1774" y="70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399" name="Freeform 100"/>
            <p:cNvSpPr>
              <a:spLocks noChangeArrowheads="1"/>
            </p:cNvSpPr>
            <p:nvPr/>
          </p:nvSpPr>
          <p:spPr bwMode="auto">
            <a:xfrm>
              <a:off x="3538538" y="5033963"/>
              <a:ext cx="801687" cy="784225"/>
            </a:xfrm>
            <a:custGeom>
              <a:avLst/>
              <a:gdLst>
                <a:gd name="T0" fmla="*/ 2147483647 w 2229"/>
                <a:gd name="T1" fmla="*/ 2147483647 h 2178"/>
                <a:gd name="T2" fmla="*/ 2147483647 w 2229"/>
                <a:gd name="T3" fmla="*/ 2147483647 h 2178"/>
                <a:gd name="T4" fmla="*/ 2147483647 w 2229"/>
                <a:gd name="T5" fmla="*/ 2147483647 h 2178"/>
                <a:gd name="T6" fmla="*/ 2147483647 w 2229"/>
                <a:gd name="T7" fmla="*/ 2147483647 h 2178"/>
                <a:gd name="T8" fmla="*/ 2147483647 w 2229"/>
                <a:gd name="T9" fmla="*/ 2147483647 h 2178"/>
                <a:gd name="T10" fmla="*/ 2147483647 w 2229"/>
                <a:gd name="T11" fmla="*/ 2147483647 h 2178"/>
                <a:gd name="T12" fmla="*/ 2147483647 w 2229"/>
                <a:gd name="T13" fmla="*/ 2147483647 h 2178"/>
                <a:gd name="T14" fmla="*/ 2147483647 w 2229"/>
                <a:gd name="T15" fmla="*/ 2147483647 h 2178"/>
                <a:gd name="T16" fmla="*/ 2147483647 w 2229"/>
                <a:gd name="T17" fmla="*/ 2147483647 h 2178"/>
                <a:gd name="T18" fmla="*/ 2147483647 w 2229"/>
                <a:gd name="T19" fmla="*/ 2147483647 h 2178"/>
                <a:gd name="T20" fmla="*/ 2147483647 w 2229"/>
                <a:gd name="T21" fmla="*/ 2147483647 h 2178"/>
                <a:gd name="T22" fmla="*/ 2147483647 w 2229"/>
                <a:gd name="T23" fmla="*/ 2147483647 h 2178"/>
                <a:gd name="T24" fmla="*/ 2147483647 w 2229"/>
                <a:gd name="T25" fmla="*/ 2147483647 h 2178"/>
                <a:gd name="T26" fmla="*/ 2147483647 w 2229"/>
                <a:gd name="T27" fmla="*/ 2147483647 h 2178"/>
                <a:gd name="T28" fmla="*/ 2147483647 w 2229"/>
                <a:gd name="T29" fmla="*/ 2147483647 h 2178"/>
                <a:gd name="T30" fmla="*/ 2147483647 w 2229"/>
                <a:gd name="T31" fmla="*/ 2147483647 h 2178"/>
                <a:gd name="T32" fmla="*/ 2147483647 w 2229"/>
                <a:gd name="T33" fmla="*/ 2147483647 h 2178"/>
                <a:gd name="T34" fmla="*/ 2147483647 w 2229"/>
                <a:gd name="T35" fmla="*/ 2147483647 h 2178"/>
                <a:gd name="T36" fmla="*/ 0 w 2229"/>
                <a:gd name="T37" fmla="*/ 2147483647 h 2178"/>
                <a:gd name="T38" fmla="*/ 2147483647 w 2229"/>
                <a:gd name="T39" fmla="*/ 2147483647 h 2178"/>
                <a:gd name="T40" fmla="*/ 2147483647 w 2229"/>
                <a:gd name="T41" fmla="*/ 2147483647 h 2178"/>
                <a:gd name="T42" fmla="*/ 2147483647 w 2229"/>
                <a:gd name="T43" fmla="*/ 2147483647 h 2178"/>
                <a:gd name="T44" fmla="*/ 2147483647 w 2229"/>
                <a:gd name="T45" fmla="*/ 2147483647 h 2178"/>
                <a:gd name="T46" fmla="*/ 2147483647 w 2229"/>
                <a:gd name="T47" fmla="*/ 2147483647 h 2178"/>
                <a:gd name="T48" fmla="*/ 2147483647 w 2229"/>
                <a:gd name="T49" fmla="*/ 2147483647 h 2178"/>
                <a:gd name="T50" fmla="*/ 2147483647 w 2229"/>
                <a:gd name="T51" fmla="*/ 2147483647 h 2178"/>
                <a:gd name="T52" fmla="*/ 2147483647 w 2229"/>
                <a:gd name="T53" fmla="*/ 2147483647 h 2178"/>
                <a:gd name="T54" fmla="*/ 2147483647 w 2229"/>
                <a:gd name="T55" fmla="*/ 2147483647 h 2178"/>
                <a:gd name="T56" fmla="*/ 2147483647 w 2229"/>
                <a:gd name="T57" fmla="*/ 2147483647 h 2178"/>
                <a:gd name="T58" fmla="*/ 2147483647 w 2229"/>
                <a:gd name="T59" fmla="*/ 2147483647 h 2178"/>
                <a:gd name="T60" fmla="*/ 2147483647 w 2229"/>
                <a:gd name="T61" fmla="*/ 2147483647 h 2178"/>
                <a:gd name="T62" fmla="*/ 2147483647 w 2229"/>
                <a:gd name="T63" fmla="*/ 2147483647 h 2178"/>
                <a:gd name="T64" fmla="*/ 2147483647 w 2229"/>
                <a:gd name="T65" fmla="*/ 2147483647 h 2178"/>
                <a:gd name="T66" fmla="*/ 2147483647 w 2229"/>
                <a:gd name="T67" fmla="*/ 2147483647 h 2178"/>
                <a:gd name="T68" fmla="*/ 2147483647 w 2229"/>
                <a:gd name="T69" fmla="*/ 2147483647 h 2178"/>
                <a:gd name="T70" fmla="*/ 2147483647 w 2229"/>
                <a:gd name="T71" fmla="*/ 2147483647 h 21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29"/>
                <a:gd name="T109" fmla="*/ 0 h 2178"/>
                <a:gd name="T110" fmla="*/ 2229 w 2229"/>
                <a:gd name="T111" fmla="*/ 2178 h 21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29" h="2178">
                  <a:moveTo>
                    <a:pt x="1791" y="128"/>
                  </a:moveTo>
                  <a:lnTo>
                    <a:pt x="1791" y="128"/>
                  </a:lnTo>
                  <a:cubicBezTo>
                    <a:pt x="1765" y="137"/>
                    <a:pt x="1740" y="111"/>
                    <a:pt x="1722" y="103"/>
                  </a:cubicBezTo>
                  <a:cubicBezTo>
                    <a:pt x="1714" y="103"/>
                    <a:pt x="1688" y="120"/>
                    <a:pt x="1697" y="120"/>
                  </a:cubicBezTo>
                  <a:cubicBezTo>
                    <a:pt x="1705" y="120"/>
                    <a:pt x="1748" y="128"/>
                    <a:pt x="1740" y="128"/>
                  </a:cubicBezTo>
                  <a:cubicBezTo>
                    <a:pt x="1731" y="137"/>
                    <a:pt x="1722" y="137"/>
                    <a:pt x="1705" y="145"/>
                  </a:cubicBezTo>
                  <a:cubicBezTo>
                    <a:pt x="1688" y="145"/>
                    <a:pt x="1697" y="137"/>
                    <a:pt x="1680" y="137"/>
                  </a:cubicBezTo>
                  <a:cubicBezTo>
                    <a:pt x="1662" y="137"/>
                    <a:pt x="1662" y="128"/>
                    <a:pt x="1645" y="128"/>
                  </a:cubicBezTo>
                  <a:cubicBezTo>
                    <a:pt x="1637" y="128"/>
                    <a:pt x="1620" y="137"/>
                    <a:pt x="1611" y="145"/>
                  </a:cubicBezTo>
                  <a:cubicBezTo>
                    <a:pt x="1594" y="145"/>
                    <a:pt x="1568" y="128"/>
                    <a:pt x="1559" y="111"/>
                  </a:cubicBezTo>
                  <a:cubicBezTo>
                    <a:pt x="1542" y="103"/>
                    <a:pt x="1525" y="86"/>
                    <a:pt x="1508" y="86"/>
                  </a:cubicBezTo>
                  <a:cubicBezTo>
                    <a:pt x="1491" y="86"/>
                    <a:pt x="1525" y="120"/>
                    <a:pt x="1525" y="128"/>
                  </a:cubicBezTo>
                  <a:cubicBezTo>
                    <a:pt x="1525" y="137"/>
                    <a:pt x="1499" y="137"/>
                    <a:pt x="1499" y="137"/>
                  </a:cubicBezTo>
                  <a:cubicBezTo>
                    <a:pt x="1491" y="128"/>
                    <a:pt x="1448" y="103"/>
                    <a:pt x="1440" y="94"/>
                  </a:cubicBezTo>
                  <a:cubicBezTo>
                    <a:pt x="1431" y="86"/>
                    <a:pt x="1448" y="68"/>
                    <a:pt x="1457" y="68"/>
                  </a:cubicBezTo>
                  <a:cubicBezTo>
                    <a:pt x="1457" y="60"/>
                    <a:pt x="1491" y="77"/>
                    <a:pt x="1491" y="68"/>
                  </a:cubicBezTo>
                  <a:cubicBezTo>
                    <a:pt x="1491" y="68"/>
                    <a:pt x="1457" y="43"/>
                    <a:pt x="1440" y="34"/>
                  </a:cubicBezTo>
                  <a:cubicBezTo>
                    <a:pt x="1422" y="34"/>
                    <a:pt x="1405" y="51"/>
                    <a:pt x="1397" y="60"/>
                  </a:cubicBezTo>
                  <a:cubicBezTo>
                    <a:pt x="1380" y="60"/>
                    <a:pt x="1328" y="34"/>
                    <a:pt x="1319" y="34"/>
                  </a:cubicBezTo>
                  <a:cubicBezTo>
                    <a:pt x="1311" y="26"/>
                    <a:pt x="1285" y="17"/>
                    <a:pt x="1277" y="43"/>
                  </a:cubicBezTo>
                  <a:cubicBezTo>
                    <a:pt x="1268" y="60"/>
                    <a:pt x="1242" y="60"/>
                    <a:pt x="1225" y="60"/>
                  </a:cubicBezTo>
                  <a:cubicBezTo>
                    <a:pt x="1208" y="60"/>
                    <a:pt x="1208" y="68"/>
                    <a:pt x="1200" y="68"/>
                  </a:cubicBezTo>
                  <a:cubicBezTo>
                    <a:pt x="1191" y="77"/>
                    <a:pt x="1191" y="51"/>
                    <a:pt x="1191" y="51"/>
                  </a:cubicBezTo>
                  <a:cubicBezTo>
                    <a:pt x="1191" y="43"/>
                    <a:pt x="1174" y="43"/>
                    <a:pt x="1157" y="43"/>
                  </a:cubicBezTo>
                  <a:cubicBezTo>
                    <a:pt x="1140" y="43"/>
                    <a:pt x="1123" y="86"/>
                    <a:pt x="1105" y="86"/>
                  </a:cubicBezTo>
                  <a:cubicBezTo>
                    <a:pt x="1088" y="86"/>
                    <a:pt x="1079" y="77"/>
                    <a:pt x="1071" y="86"/>
                  </a:cubicBezTo>
                  <a:cubicBezTo>
                    <a:pt x="1062" y="103"/>
                    <a:pt x="968" y="189"/>
                    <a:pt x="900" y="189"/>
                  </a:cubicBezTo>
                  <a:cubicBezTo>
                    <a:pt x="831" y="197"/>
                    <a:pt x="814" y="163"/>
                    <a:pt x="788" y="145"/>
                  </a:cubicBezTo>
                  <a:cubicBezTo>
                    <a:pt x="762" y="128"/>
                    <a:pt x="694" y="128"/>
                    <a:pt x="677" y="128"/>
                  </a:cubicBezTo>
                  <a:cubicBezTo>
                    <a:pt x="660" y="128"/>
                    <a:pt x="643" y="103"/>
                    <a:pt x="634" y="103"/>
                  </a:cubicBezTo>
                  <a:cubicBezTo>
                    <a:pt x="617" y="103"/>
                    <a:pt x="625" y="120"/>
                    <a:pt x="582" y="111"/>
                  </a:cubicBezTo>
                  <a:cubicBezTo>
                    <a:pt x="540" y="111"/>
                    <a:pt x="531" y="68"/>
                    <a:pt x="488" y="68"/>
                  </a:cubicBezTo>
                  <a:cubicBezTo>
                    <a:pt x="445" y="60"/>
                    <a:pt x="282" y="17"/>
                    <a:pt x="248" y="17"/>
                  </a:cubicBezTo>
                  <a:cubicBezTo>
                    <a:pt x="222" y="8"/>
                    <a:pt x="188" y="34"/>
                    <a:pt x="145" y="43"/>
                  </a:cubicBezTo>
                  <a:cubicBezTo>
                    <a:pt x="111" y="43"/>
                    <a:pt x="94" y="17"/>
                    <a:pt x="85" y="0"/>
                  </a:cubicBezTo>
                  <a:cubicBezTo>
                    <a:pt x="51" y="34"/>
                    <a:pt x="17" y="60"/>
                    <a:pt x="17" y="77"/>
                  </a:cubicBezTo>
                  <a:cubicBezTo>
                    <a:pt x="17" y="94"/>
                    <a:pt x="68" y="214"/>
                    <a:pt x="60" y="240"/>
                  </a:cubicBezTo>
                  <a:cubicBezTo>
                    <a:pt x="42" y="266"/>
                    <a:pt x="0" y="308"/>
                    <a:pt x="0" y="334"/>
                  </a:cubicBezTo>
                  <a:cubicBezTo>
                    <a:pt x="0" y="360"/>
                    <a:pt x="60" y="548"/>
                    <a:pt x="60" y="583"/>
                  </a:cubicBezTo>
                  <a:cubicBezTo>
                    <a:pt x="60" y="600"/>
                    <a:pt x="60" y="1423"/>
                    <a:pt x="60" y="2100"/>
                  </a:cubicBezTo>
                  <a:cubicBezTo>
                    <a:pt x="394" y="2100"/>
                    <a:pt x="1260" y="2100"/>
                    <a:pt x="1277" y="2100"/>
                  </a:cubicBezTo>
                  <a:cubicBezTo>
                    <a:pt x="1294" y="2100"/>
                    <a:pt x="1328" y="2031"/>
                    <a:pt x="1354" y="2057"/>
                  </a:cubicBezTo>
                  <a:cubicBezTo>
                    <a:pt x="1388" y="2091"/>
                    <a:pt x="1363" y="2109"/>
                    <a:pt x="1388" y="2109"/>
                  </a:cubicBezTo>
                  <a:cubicBezTo>
                    <a:pt x="1414" y="2109"/>
                    <a:pt x="1662" y="2109"/>
                    <a:pt x="1688" y="2109"/>
                  </a:cubicBezTo>
                  <a:cubicBezTo>
                    <a:pt x="1722" y="2109"/>
                    <a:pt x="1757" y="2177"/>
                    <a:pt x="1808" y="2177"/>
                  </a:cubicBezTo>
                  <a:cubicBezTo>
                    <a:pt x="1851" y="2169"/>
                    <a:pt x="1885" y="2143"/>
                    <a:pt x="1894" y="2100"/>
                  </a:cubicBezTo>
                  <a:cubicBezTo>
                    <a:pt x="1902" y="2049"/>
                    <a:pt x="1928" y="2031"/>
                    <a:pt x="1988" y="2031"/>
                  </a:cubicBezTo>
                  <a:cubicBezTo>
                    <a:pt x="2039" y="2031"/>
                    <a:pt x="2048" y="1946"/>
                    <a:pt x="2065" y="1920"/>
                  </a:cubicBezTo>
                  <a:cubicBezTo>
                    <a:pt x="2091" y="1894"/>
                    <a:pt x="2108" y="1954"/>
                    <a:pt x="2125" y="1937"/>
                  </a:cubicBezTo>
                  <a:cubicBezTo>
                    <a:pt x="2134" y="1928"/>
                    <a:pt x="2160" y="1903"/>
                    <a:pt x="2194" y="1869"/>
                  </a:cubicBezTo>
                  <a:cubicBezTo>
                    <a:pt x="2194" y="1851"/>
                    <a:pt x="2185" y="1843"/>
                    <a:pt x="2185" y="1826"/>
                  </a:cubicBezTo>
                  <a:cubicBezTo>
                    <a:pt x="2151" y="1697"/>
                    <a:pt x="2168" y="1697"/>
                    <a:pt x="2185" y="1688"/>
                  </a:cubicBezTo>
                  <a:cubicBezTo>
                    <a:pt x="2202" y="1680"/>
                    <a:pt x="2228" y="1688"/>
                    <a:pt x="2211" y="1671"/>
                  </a:cubicBezTo>
                  <a:cubicBezTo>
                    <a:pt x="2185" y="1646"/>
                    <a:pt x="2134" y="1646"/>
                    <a:pt x="2091" y="1543"/>
                  </a:cubicBezTo>
                  <a:cubicBezTo>
                    <a:pt x="2057" y="1440"/>
                    <a:pt x="2005" y="1320"/>
                    <a:pt x="1980" y="1286"/>
                  </a:cubicBezTo>
                  <a:cubicBezTo>
                    <a:pt x="1954" y="1251"/>
                    <a:pt x="1860" y="1131"/>
                    <a:pt x="1868" y="1054"/>
                  </a:cubicBezTo>
                  <a:cubicBezTo>
                    <a:pt x="1868" y="986"/>
                    <a:pt x="1791" y="943"/>
                    <a:pt x="1791" y="900"/>
                  </a:cubicBezTo>
                  <a:cubicBezTo>
                    <a:pt x="1791" y="866"/>
                    <a:pt x="1799" y="840"/>
                    <a:pt x="1757" y="814"/>
                  </a:cubicBezTo>
                  <a:cubicBezTo>
                    <a:pt x="1722" y="780"/>
                    <a:pt x="1611" y="626"/>
                    <a:pt x="1603" y="600"/>
                  </a:cubicBezTo>
                  <a:cubicBezTo>
                    <a:pt x="1594" y="574"/>
                    <a:pt x="1603" y="566"/>
                    <a:pt x="1594" y="540"/>
                  </a:cubicBezTo>
                  <a:cubicBezTo>
                    <a:pt x="1585" y="514"/>
                    <a:pt x="1542" y="480"/>
                    <a:pt x="1551" y="446"/>
                  </a:cubicBezTo>
                  <a:cubicBezTo>
                    <a:pt x="1551" y="420"/>
                    <a:pt x="1577" y="369"/>
                    <a:pt x="1585" y="386"/>
                  </a:cubicBezTo>
                  <a:cubicBezTo>
                    <a:pt x="1594" y="394"/>
                    <a:pt x="1594" y="437"/>
                    <a:pt x="1620" y="480"/>
                  </a:cubicBezTo>
                  <a:cubicBezTo>
                    <a:pt x="1637" y="514"/>
                    <a:pt x="1680" y="574"/>
                    <a:pt x="1697" y="583"/>
                  </a:cubicBezTo>
                  <a:cubicBezTo>
                    <a:pt x="1714" y="591"/>
                    <a:pt x="1705" y="686"/>
                    <a:pt x="1748" y="711"/>
                  </a:cubicBezTo>
                  <a:cubicBezTo>
                    <a:pt x="1791" y="746"/>
                    <a:pt x="1817" y="797"/>
                    <a:pt x="1834" y="814"/>
                  </a:cubicBezTo>
                  <a:cubicBezTo>
                    <a:pt x="1860" y="840"/>
                    <a:pt x="1902" y="866"/>
                    <a:pt x="1911" y="857"/>
                  </a:cubicBezTo>
                  <a:cubicBezTo>
                    <a:pt x="1928" y="857"/>
                    <a:pt x="1962" y="814"/>
                    <a:pt x="1962" y="788"/>
                  </a:cubicBezTo>
                  <a:cubicBezTo>
                    <a:pt x="1954" y="771"/>
                    <a:pt x="1980" y="677"/>
                    <a:pt x="1997" y="660"/>
                  </a:cubicBezTo>
                  <a:cubicBezTo>
                    <a:pt x="2005" y="651"/>
                    <a:pt x="2022" y="566"/>
                    <a:pt x="2022" y="540"/>
                  </a:cubicBezTo>
                  <a:cubicBezTo>
                    <a:pt x="2022" y="523"/>
                    <a:pt x="2039" y="506"/>
                    <a:pt x="2048" y="488"/>
                  </a:cubicBezTo>
                  <a:cubicBezTo>
                    <a:pt x="1911" y="86"/>
                    <a:pt x="1911" y="86"/>
                    <a:pt x="1911" y="86"/>
                  </a:cubicBezTo>
                  <a:cubicBezTo>
                    <a:pt x="1877" y="111"/>
                    <a:pt x="1817" y="128"/>
                    <a:pt x="1791" y="12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400" name="Freeform 101"/>
            <p:cNvSpPr>
              <a:spLocks noChangeArrowheads="1"/>
            </p:cNvSpPr>
            <p:nvPr/>
          </p:nvSpPr>
          <p:spPr bwMode="auto">
            <a:xfrm>
              <a:off x="3559175" y="5707063"/>
              <a:ext cx="889000" cy="169862"/>
            </a:xfrm>
            <a:custGeom>
              <a:avLst/>
              <a:gdLst>
                <a:gd name="T0" fmla="*/ 2147483647 w 2469"/>
                <a:gd name="T1" fmla="*/ 2147483647 h 472"/>
                <a:gd name="T2" fmla="*/ 2147483647 w 2469"/>
                <a:gd name="T3" fmla="*/ 2147483647 h 472"/>
                <a:gd name="T4" fmla="*/ 2147483647 w 2469"/>
                <a:gd name="T5" fmla="*/ 2147483647 h 472"/>
                <a:gd name="T6" fmla="*/ 2147483647 w 2469"/>
                <a:gd name="T7" fmla="*/ 2147483647 h 472"/>
                <a:gd name="T8" fmla="*/ 2147483647 w 2469"/>
                <a:gd name="T9" fmla="*/ 2147483647 h 472"/>
                <a:gd name="T10" fmla="*/ 2147483647 w 2469"/>
                <a:gd name="T11" fmla="*/ 2147483647 h 472"/>
                <a:gd name="T12" fmla="*/ 2147483647 w 2469"/>
                <a:gd name="T13" fmla="*/ 2147483647 h 472"/>
                <a:gd name="T14" fmla="*/ 2147483647 w 2469"/>
                <a:gd name="T15" fmla="*/ 2147483647 h 472"/>
                <a:gd name="T16" fmla="*/ 2147483647 w 2469"/>
                <a:gd name="T17" fmla="*/ 2147483647 h 472"/>
                <a:gd name="T18" fmla="*/ 2147483647 w 2469"/>
                <a:gd name="T19" fmla="*/ 2147483647 h 472"/>
                <a:gd name="T20" fmla="*/ 0 w 2469"/>
                <a:gd name="T21" fmla="*/ 2147483647 h 472"/>
                <a:gd name="T22" fmla="*/ 0 w 2469"/>
                <a:gd name="T23" fmla="*/ 2147483647 h 472"/>
                <a:gd name="T24" fmla="*/ 2147483647 w 2469"/>
                <a:gd name="T25" fmla="*/ 2147483647 h 472"/>
                <a:gd name="T26" fmla="*/ 2147483647 w 2469"/>
                <a:gd name="T27" fmla="*/ 2147483647 h 472"/>
                <a:gd name="T28" fmla="*/ 2147483647 w 2469"/>
                <a:gd name="T29" fmla="*/ 2147483647 h 472"/>
                <a:gd name="T30" fmla="*/ 2147483647 w 2469"/>
                <a:gd name="T31" fmla="*/ 2147483647 h 472"/>
                <a:gd name="T32" fmla="*/ 2147483647 w 2469"/>
                <a:gd name="T33" fmla="*/ 2147483647 h 472"/>
                <a:gd name="T34" fmla="*/ 2147483647 w 2469"/>
                <a:gd name="T35" fmla="*/ 2147483647 h 472"/>
                <a:gd name="T36" fmla="*/ 2147483647 w 2469"/>
                <a:gd name="T37" fmla="*/ 0 h 472"/>
                <a:gd name="T38" fmla="*/ 2147483647 w 2469"/>
                <a:gd name="T39" fmla="*/ 2147483647 h 4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69"/>
                <a:gd name="T61" fmla="*/ 0 h 472"/>
                <a:gd name="T62" fmla="*/ 2469 w 2469"/>
                <a:gd name="T63" fmla="*/ 472 h 4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69" h="472">
                  <a:moveTo>
                    <a:pt x="2065" y="68"/>
                  </a:moveTo>
                  <a:lnTo>
                    <a:pt x="2065" y="68"/>
                  </a:lnTo>
                  <a:cubicBezTo>
                    <a:pt x="2048" y="85"/>
                    <a:pt x="2031" y="25"/>
                    <a:pt x="2005" y="51"/>
                  </a:cubicBezTo>
                  <a:cubicBezTo>
                    <a:pt x="1988" y="77"/>
                    <a:pt x="1979" y="162"/>
                    <a:pt x="1928" y="162"/>
                  </a:cubicBezTo>
                  <a:cubicBezTo>
                    <a:pt x="1868" y="162"/>
                    <a:pt x="1842" y="180"/>
                    <a:pt x="1834" y="231"/>
                  </a:cubicBezTo>
                  <a:cubicBezTo>
                    <a:pt x="1825" y="274"/>
                    <a:pt x="1791" y="300"/>
                    <a:pt x="1748" y="308"/>
                  </a:cubicBezTo>
                  <a:cubicBezTo>
                    <a:pt x="1697" y="308"/>
                    <a:pt x="1662" y="240"/>
                    <a:pt x="1628" y="240"/>
                  </a:cubicBezTo>
                  <a:cubicBezTo>
                    <a:pt x="1602" y="240"/>
                    <a:pt x="1354" y="240"/>
                    <a:pt x="1328" y="240"/>
                  </a:cubicBezTo>
                  <a:cubicBezTo>
                    <a:pt x="1303" y="240"/>
                    <a:pt x="1328" y="222"/>
                    <a:pt x="1294" y="188"/>
                  </a:cubicBezTo>
                  <a:cubicBezTo>
                    <a:pt x="1268" y="162"/>
                    <a:pt x="1234" y="231"/>
                    <a:pt x="1217" y="231"/>
                  </a:cubicBezTo>
                  <a:cubicBezTo>
                    <a:pt x="1200" y="231"/>
                    <a:pt x="334" y="231"/>
                    <a:pt x="0" y="231"/>
                  </a:cubicBezTo>
                  <a:cubicBezTo>
                    <a:pt x="0" y="308"/>
                    <a:pt x="0" y="394"/>
                    <a:pt x="0" y="471"/>
                  </a:cubicBezTo>
                  <a:cubicBezTo>
                    <a:pt x="2442" y="471"/>
                    <a:pt x="2442" y="471"/>
                    <a:pt x="2442" y="471"/>
                  </a:cubicBezTo>
                  <a:cubicBezTo>
                    <a:pt x="2451" y="471"/>
                    <a:pt x="2434" y="437"/>
                    <a:pt x="2442" y="428"/>
                  </a:cubicBezTo>
                  <a:cubicBezTo>
                    <a:pt x="2451" y="420"/>
                    <a:pt x="2468" y="445"/>
                    <a:pt x="2468" y="428"/>
                  </a:cubicBezTo>
                  <a:cubicBezTo>
                    <a:pt x="2459" y="402"/>
                    <a:pt x="2408" y="360"/>
                    <a:pt x="2400" y="317"/>
                  </a:cubicBezTo>
                  <a:cubicBezTo>
                    <a:pt x="2391" y="265"/>
                    <a:pt x="2400" y="257"/>
                    <a:pt x="2382" y="222"/>
                  </a:cubicBezTo>
                  <a:cubicBezTo>
                    <a:pt x="2365" y="188"/>
                    <a:pt x="2297" y="171"/>
                    <a:pt x="2280" y="120"/>
                  </a:cubicBezTo>
                  <a:cubicBezTo>
                    <a:pt x="2271" y="77"/>
                    <a:pt x="2177" y="85"/>
                    <a:pt x="2134" y="0"/>
                  </a:cubicBezTo>
                  <a:cubicBezTo>
                    <a:pt x="2100" y="34"/>
                    <a:pt x="2074" y="59"/>
                    <a:pt x="2065" y="6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401" name="Freeform 102"/>
            <p:cNvSpPr>
              <a:spLocks noChangeArrowheads="1"/>
            </p:cNvSpPr>
            <p:nvPr/>
          </p:nvSpPr>
          <p:spPr bwMode="auto">
            <a:xfrm>
              <a:off x="2427288" y="4911725"/>
              <a:ext cx="1141412" cy="966788"/>
            </a:xfrm>
            <a:custGeom>
              <a:avLst/>
              <a:gdLst>
                <a:gd name="T0" fmla="*/ 2147483647 w 3171"/>
                <a:gd name="T1" fmla="*/ 2147483647 h 2684"/>
                <a:gd name="T2" fmla="*/ 2147483647 w 3171"/>
                <a:gd name="T3" fmla="*/ 2147483647 h 2684"/>
                <a:gd name="T4" fmla="*/ 2147483647 w 3171"/>
                <a:gd name="T5" fmla="*/ 2147483647 h 2684"/>
                <a:gd name="T6" fmla="*/ 2147483647 w 3171"/>
                <a:gd name="T7" fmla="*/ 2147483647 h 2684"/>
                <a:gd name="T8" fmla="*/ 2147483647 w 3171"/>
                <a:gd name="T9" fmla="*/ 2147483647 h 2684"/>
                <a:gd name="T10" fmla="*/ 2147483647 w 3171"/>
                <a:gd name="T11" fmla="*/ 2147483647 h 2684"/>
                <a:gd name="T12" fmla="*/ 2147483647 w 3171"/>
                <a:gd name="T13" fmla="*/ 2147483647 h 2684"/>
                <a:gd name="T14" fmla="*/ 2147483647 w 3171"/>
                <a:gd name="T15" fmla="*/ 2147483647 h 2684"/>
                <a:gd name="T16" fmla="*/ 2147483647 w 3171"/>
                <a:gd name="T17" fmla="*/ 2147483647 h 2684"/>
                <a:gd name="T18" fmla="*/ 2147483647 w 3171"/>
                <a:gd name="T19" fmla="*/ 2147483647 h 2684"/>
                <a:gd name="T20" fmla="*/ 2147483647 w 3171"/>
                <a:gd name="T21" fmla="*/ 2147483647 h 2684"/>
                <a:gd name="T22" fmla="*/ 2147483647 w 3171"/>
                <a:gd name="T23" fmla="*/ 2147483647 h 2684"/>
                <a:gd name="T24" fmla="*/ 2147483647 w 3171"/>
                <a:gd name="T25" fmla="*/ 2147483647 h 2684"/>
                <a:gd name="T26" fmla="*/ 2147483647 w 3171"/>
                <a:gd name="T27" fmla="*/ 2147483647 h 2684"/>
                <a:gd name="T28" fmla="*/ 2147483647 w 3171"/>
                <a:gd name="T29" fmla="*/ 2147483647 h 2684"/>
                <a:gd name="T30" fmla="*/ 2147483647 w 3171"/>
                <a:gd name="T31" fmla="*/ 2147483647 h 2684"/>
                <a:gd name="T32" fmla="*/ 2147483647 w 3171"/>
                <a:gd name="T33" fmla="*/ 2147483647 h 2684"/>
                <a:gd name="T34" fmla="*/ 2147483647 w 3171"/>
                <a:gd name="T35" fmla="*/ 2147483647 h 2684"/>
                <a:gd name="T36" fmla="*/ 2147483647 w 3171"/>
                <a:gd name="T37" fmla="*/ 2147483647 h 2684"/>
                <a:gd name="T38" fmla="*/ 2147483647 w 3171"/>
                <a:gd name="T39" fmla="*/ 2147483647 h 2684"/>
                <a:gd name="T40" fmla="*/ 2147483647 w 3171"/>
                <a:gd name="T41" fmla="*/ 2147483647 h 2684"/>
                <a:gd name="T42" fmla="*/ 2147483647 w 3171"/>
                <a:gd name="T43" fmla="*/ 2147483647 h 2684"/>
                <a:gd name="T44" fmla="*/ 2147483647 w 3171"/>
                <a:gd name="T45" fmla="*/ 2147483647 h 2684"/>
                <a:gd name="T46" fmla="*/ 2147483647 w 3171"/>
                <a:gd name="T47" fmla="*/ 2147483647 h 2684"/>
                <a:gd name="T48" fmla="*/ 2147483647 w 3171"/>
                <a:gd name="T49" fmla="*/ 2147483647 h 2684"/>
                <a:gd name="T50" fmla="*/ 2147483647 w 3171"/>
                <a:gd name="T51" fmla="*/ 2147483647 h 2684"/>
                <a:gd name="T52" fmla="*/ 2147483647 w 3171"/>
                <a:gd name="T53" fmla="*/ 2147483647 h 2684"/>
                <a:gd name="T54" fmla="*/ 2147483647 w 3171"/>
                <a:gd name="T55" fmla="*/ 2147483647 h 2684"/>
                <a:gd name="T56" fmla="*/ 2147483647 w 3171"/>
                <a:gd name="T57" fmla="*/ 2147483647 h 2684"/>
                <a:gd name="T58" fmla="*/ 2147483647 w 3171"/>
                <a:gd name="T59" fmla="*/ 2147483647 h 2684"/>
                <a:gd name="T60" fmla="*/ 2147483647 w 3171"/>
                <a:gd name="T61" fmla="*/ 2147483647 h 2684"/>
                <a:gd name="T62" fmla="*/ 2147483647 w 3171"/>
                <a:gd name="T63" fmla="*/ 0 h 2684"/>
                <a:gd name="T64" fmla="*/ 2147483647 w 3171"/>
                <a:gd name="T65" fmla="*/ 2147483647 h 2684"/>
                <a:gd name="T66" fmla="*/ 2147483647 w 3171"/>
                <a:gd name="T67" fmla="*/ 2147483647 h 2684"/>
                <a:gd name="T68" fmla="*/ 2147483647 w 3171"/>
                <a:gd name="T69" fmla="*/ 2147483647 h 2684"/>
                <a:gd name="T70" fmla="*/ 2147483647 w 3171"/>
                <a:gd name="T71" fmla="*/ 2147483647 h 2684"/>
                <a:gd name="T72" fmla="*/ 2147483647 w 3171"/>
                <a:gd name="T73" fmla="*/ 2147483647 h 2684"/>
                <a:gd name="T74" fmla="*/ 2147483647 w 3171"/>
                <a:gd name="T75" fmla="*/ 2147483647 h 2684"/>
                <a:gd name="T76" fmla="*/ 2147483647 w 3171"/>
                <a:gd name="T77" fmla="*/ 2147483647 h 2684"/>
                <a:gd name="T78" fmla="*/ 0 w 3171"/>
                <a:gd name="T79" fmla="*/ 2147483647 h 2684"/>
                <a:gd name="T80" fmla="*/ 2147483647 w 3171"/>
                <a:gd name="T81" fmla="*/ 2147483647 h 2684"/>
                <a:gd name="T82" fmla="*/ 2147483647 w 3171"/>
                <a:gd name="T83" fmla="*/ 2147483647 h 2684"/>
                <a:gd name="T84" fmla="*/ 2147483647 w 3171"/>
                <a:gd name="T85" fmla="*/ 2147483647 h 2684"/>
                <a:gd name="T86" fmla="*/ 2147483647 w 3171"/>
                <a:gd name="T87" fmla="*/ 2147483647 h 2684"/>
                <a:gd name="T88" fmla="*/ 2147483647 w 3171"/>
                <a:gd name="T89" fmla="*/ 2147483647 h 2684"/>
                <a:gd name="T90" fmla="*/ 2147483647 w 3171"/>
                <a:gd name="T91" fmla="*/ 2147483647 h 2684"/>
                <a:gd name="T92" fmla="*/ 2147483647 w 3171"/>
                <a:gd name="T93" fmla="*/ 2147483647 h 2684"/>
                <a:gd name="T94" fmla="*/ 2147483647 w 3171"/>
                <a:gd name="T95" fmla="*/ 2147483647 h 2684"/>
                <a:gd name="T96" fmla="*/ 2147483647 w 3171"/>
                <a:gd name="T97" fmla="*/ 2147483647 h 2684"/>
                <a:gd name="T98" fmla="*/ 2147483647 w 3171"/>
                <a:gd name="T99" fmla="*/ 2147483647 h 2684"/>
                <a:gd name="T100" fmla="*/ 2147483647 w 3171"/>
                <a:gd name="T101" fmla="*/ 2147483647 h 2684"/>
                <a:gd name="T102" fmla="*/ 2147483647 w 3171"/>
                <a:gd name="T103" fmla="*/ 2147483647 h 2684"/>
                <a:gd name="T104" fmla="*/ 2147483647 w 3171"/>
                <a:gd name="T105" fmla="*/ 2147483647 h 2684"/>
                <a:gd name="T106" fmla="*/ 2147483647 w 3171"/>
                <a:gd name="T107" fmla="*/ 2147483647 h 2684"/>
                <a:gd name="T108" fmla="*/ 2147483647 w 3171"/>
                <a:gd name="T109" fmla="*/ 2147483647 h 2684"/>
                <a:gd name="T110" fmla="*/ 2147483647 w 3171"/>
                <a:gd name="T111" fmla="*/ 2147483647 h 2684"/>
                <a:gd name="T112" fmla="*/ 2147483647 w 3171"/>
                <a:gd name="T113" fmla="*/ 2147483647 h 2684"/>
                <a:gd name="T114" fmla="*/ 2147483647 w 3171"/>
                <a:gd name="T115" fmla="*/ 2147483647 h 2684"/>
                <a:gd name="T116" fmla="*/ 2147483647 w 3171"/>
                <a:gd name="T117" fmla="*/ 2147483647 h 268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171"/>
                <a:gd name="T178" fmla="*/ 0 h 2684"/>
                <a:gd name="T179" fmla="*/ 3171 w 3171"/>
                <a:gd name="T180" fmla="*/ 2684 h 268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171" h="2684">
                  <a:moveTo>
                    <a:pt x="3085" y="677"/>
                  </a:moveTo>
                  <a:lnTo>
                    <a:pt x="3085" y="677"/>
                  </a:lnTo>
                  <a:cubicBezTo>
                    <a:pt x="3085" y="651"/>
                    <a:pt x="3127" y="609"/>
                    <a:pt x="3145" y="583"/>
                  </a:cubicBezTo>
                  <a:cubicBezTo>
                    <a:pt x="3153" y="557"/>
                    <a:pt x="3102" y="437"/>
                    <a:pt x="3102" y="420"/>
                  </a:cubicBezTo>
                  <a:cubicBezTo>
                    <a:pt x="3102" y="403"/>
                    <a:pt x="3136" y="377"/>
                    <a:pt x="3170" y="343"/>
                  </a:cubicBezTo>
                  <a:cubicBezTo>
                    <a:pt x="3170" y="334"/>
                    <a:pt x="3170" y="334"/>
                    <a:pt x="3162" y="326"/>
                  </a:cubicBezTo>
                  <a:cubicBezTo>
                    <a:pt x="3153" y="309"/>
                    <a:pt x="3145" y="283"/>
                    <a:pt x="3119" y="274"/>
                  </a:cubicBezTo>
                  <a:cubicBezTo>
                    <a:pt x="3085" y="274"/>
                    <a:pt x="3042" y="274"/>
                    <a:pt x="3016" y="274"/>
                  </a:cubicBezTo>
                  <a:cubicBezTo>
                    <a:pt x="2990" y="274"/>
                    <a:pt x="2930" y="248"/>
                    <a:pt x="2913" y="240"/>
                  </a:cubicBezTo>
                  <a:cubicBezTo>
                    <a:pt x="2905" y="231"/>
                    <a:pt x="2853" y="231"/>
                    <a:pt x="2810" y="231"/>
                  </a:cubicBezTo>
                  <a:cubicBezTo>
                    <a:pt x="2759" y="223"/>
                    <a:pt x="2768" y="163"/>
                    <a:pt x="2768" y="154"/>
                  </a:cubicBezTo>
                  <a:cubicBezTo>
                    <a:pt x="2759" y="146"/>
                    <a:pt x="2716" y="111"/>
                    <a:pt x="2682" y="103"/>
                  </a:cubicBezTo>
                  <a:cubicBezTo>
                    <a:pt x="2656" y="94"/>
                    <a:pt x="2587" y="69"/>
                    <a:pt x="2553" y="69"/>
                  </a:cubicBezTo>
                  <a:cubicBezTo>
                    <a:pt x="2519" y="60"/>
                    <a:pt x="2467" y="69"/>
                    <a:pt x="2442" y="86"/>
                  </a:cubicBezTo>
                  <a:cubicBezTo>
                    <a:pt x="2416" y="103"/>
                    <a:pt x="2373" y="103"/>
                    <a:pt x="2365" y="103"/>
                  </a:cubicBezTo>
                  <a:cubicBezTo>
                    <a:pt x="2347" y="103"/>
                    <a:pt x="2288" y="137"/>
                    <a:pt x="2262" y="146"/>
                  </a:cubicBezTo>
                  <a:cubicBezTo>
                    <a:pt x="2227" y="154"/>
                    <a:pt x="2133" y="257"/>
                    <a:pt x="2125" y="309"/>
                  </a:cubicBezTo>
                  <a:cubicBezTo>
                    <a:pt x="2125" y="360"/>
                    <a:pt x="2167" y="437"/>
                    <a:pt x="2176" y="471"/>
                  </a:cubicBezTo>
                  <a:cubicBezTo>
                    <a:pt x="2176" y="506"/>
                    <a:pt x="2150" y="549"/>
                    <a:pt x="2099" y="600"/>
                  </a:cubicBezTo>
                  <a:cubicBezTo>
                    <a:pt x="2056" y="651"/>
                    <a:pt x="1970" y="660"/>
                    <a:pt x="1936" y="651"/>
                  </a:cubicBezTo>
                  <a:cubicBezTo>
                    <a:pt x="1902" y="634"/>
                    <a:pt x="1790" y="540"/>
                    <a:pt x="1747" y="523"/>
                  </a:cubicBezTo>
                  <a:cubicBezTo>
                    <a:pt x="1705" y="514"/>
                    <a:pt x="1593" y="463"/>
                    <a:pt x="1550" y="454"/>
                  </a:cubicBezTo>
                  <a:cubicBezTo>
                    <a:pt x="1516" y="446"/>
                    <a:pt x="1447" y="463"/>
                    <a:pt x="1328" y="429"/>
                  </a:cubicBezTo>
                  <a:cubicBezTo>
                    <a:pt x="1207" y="394"/>
                    <a:pt x="1216" y="283"/>
                    <a:pt x="1207" y="240"/>
                  </a:cubicBezTo>
                  <a:cubicBezTo>
                    <a:pt x="1199" y="206"/>
                    <a:pt x="1173" y="171"/>
                    <a:pt x="1139" y="171"/>
                  </a:cubicBezTo>
                  <a:cubicBezTo>
                    <a:pt x="1105" y="171"/>
                    <a:pt x="1044" y="154"/>
                    <a:pt x="1019" y="137"/>
                  </a:cubicBezTo>
                  <a:cubicBezTo>
                    <a:pt x="984" y="111"/>
                    <a:pt x="942" y="94"/>
                    <a:pt x="899" y="94"/>
                  </a:cubicBezTo>
                  <a:cubicBezTo>
                    <a:pt x="865" y="94"/>
                    <a:pt x="823" y="69"/>
                    <a:pt x="797" y="60"/>
                  </a:cubicBezTo>
                  <a:cubicBezTo>
                    <a:pt x="780" y="52"/>
                    <a:pt x="771" y="69"/>
                    <a:pt x="737" y="77"/>
                  </a:cubicBezTo>
                  <a:cubicBezTo>
                    <a:pt x="711" y="94"/>
                    <a:pt x="677" y="94"/>
                    <a:pt x="626" y="86"/>
                  </a:cubicBezTo>
                  <a:cubicBezTo>
                    <a:pt x="565" y="77"/>
                    <a:pt x="531" y="26"/>
                    <a:pt x="497" y="26"/>
                  </a:cubicBezTo>
                  <a:cubicBezTo>
                    <a:pt x="480" y="26"/>
                    <a:pt x="454" y="8"/>
                    <a:pt x="437" y="0"/>
                  </a:cubicBezTo>
                  <a:cubicBezTo>
                    <a:pt x="428" y="26"/>
                    <a:pt x="420" y="52"/>
                    <a:pt x="420" y="69"/>
                  </a:cubicBezTo>
                  <a:cubicBezTo>
                    <a:pt x="420" y="103"/>
                    <a:pt x="446" y="171"/>
                    <a:pt x="428" y="189"/>
                  </a:cubicBezTo>
                  <a:cubicBezTo>
                    <a:pt x="411" y="197"/>
                    <a:pt x="360" y="197"/>
                    <a:pt x="317" y="231"/>
                  </a:cubicBezTo>
                  <a:cubicBezTo>
                    <a:pt x="274" y="274"/>
                    <a:pt x="257" y="309"/>
                    <a:pt x="240" y="326"/>
                  </a:cubicBezTo>
                  <a:cubicBezTo>
                    <a:pt x="223" y="334"/>
                    <a:pt x="171" y="317"/>
                    <a:pt x="171" y="351"/>
                  </a:cubicBezTo>
                  <a:cubicBezTo>
                    <a:pt x="163" y="386"/>
                    <a:pt x="197" y="480"/>
                    <a:pt x="171" y="523"/>
                  </a:cubicBezTo>
                  <a:cubicBezTo>
                    <a:pt x="154" y="574"/>
                    <a:pt x="129" y="626"/>
                    <a:pt x="103" y="634"/>
                  </a:cubicBezTo>
                  <a:cubicBezTo>
                    <a:pt x="77" y="634"/>
                    <a:pt x="0" y="651"/>
                    <a:pt x="0" y="686"/>
                  </a:cubicBezTo>
                  <a:cubicBezTo>
                    <a:pt x="0" y="712"/>
                    <a:pt x="120" y="814"/>
                    <a:pt x="103" y="917"/>
                  </a:cubicBezTo>
                  <a:cubicBezTo>
                    <a:pt x="77" y="1012"/>
                    <a:pt x="77" y="1071"/>
                    <a:pt x="94" y="1106"/>
                  </a:cubicBezTo>
                  <a:cubicBezTo>
                    <a:pt x="103" y="1140"/>
                    <a:pt x="129" y="1166"/>
                    <a:pt x="111" y="1200"/>
                  </a:cubicBezTo>
                  <a:cubicBezTo>
                    <a:pt x="103" y="1243"/>
                    <a:pt x="77" y="1252"/>
                    <a:pt x="77" y="1277"/>
                  </a:cubicBezTo>
                  <a:cubicBezTo>
                    <a:pt x="77" y="1303"/>
                    <a:pt x="129" y="1432"/>
                    <a:pt x="103" y="1457"/>
                  </a:cubicBezTo>
                  <a:cubicBezTo>
                    <a:pt x="77" y="1483"/>
                    <a:pt x="0" y="1509"/>
                    <a:pt x="8" y="1534"/>
                  </a:cubicBezTo>
                  <a:cubicBezTo>
                    <a:pt x="17" y="1569"/>
                    <a:pt x="137" y="1689"/>
                    <a:pt x="137" y="1723"/>
                  </a:cubicBezTo>
                  <a:cubicBezTo>
                    <a:pt x="137" y="1766"/>
                    <a:pt x="171" y="1912"/>
                    <a:pt x="206" y="1912"/>
                  </a:cubicBezTo>
                  <a:cubicBezTo>
                    <a:pt x="240" y="1912"/>
                    <a:pt x="266" y="1869"/>
                    <a:pt x="283" y="1886"/>
                  </a:cubicBezTo>
                  <a:cubicBezTo>
                    <a:pt x="308" y="1903"/>
                    <a:pt x="420" y="1903"/>
                    <a:pt x="446" y="1937"/>
                  </a:cubicBezTo>
                  <a:cubicBezTo>
                    <a:pt x="463" y="1972"/>
                    <a:pt x="506" y="2057"/>
                    <a:pt x="514" y="2083"/>
                  </a:cubicBezTo>
                  <a:cubicBezTo>
                    <a:pt x="523" y="2109"/>
                    <a:pt x="583" y="2117"/>
                    <a:pt x="626" y="2134"/>
                  </a:cubicBezTo>
                  <a:cubicBezTo>
                    <a:pt x="668" y="2143"/>
                    <a:pt x="814" y="2177"/>
                    <a:pt x="831" y="2186"/>
                  </a:cubicBezTo>
                  <a:cubicBezTo>
                    <a:pt x="856" y="2203"/>
                    <a:pt x="950" y="2289"/>
                    <a:pt x="976" y="2289"/>
                  </a:cubicBezTo>
                  <a:cubicBezTo>
                    <a:pt x="993" y="2289"/>
                    <a:pt x="1319" y="2109"/>
                    <a:pt x="1345" y="2117"/>
                  </a:cubicBezTo>
                  <a:cubicBezTo>
                    <a:pt x="1362" y="2126"/>
                    <a:pt x="1962" y="2443"/>
                    <a:pt x="2416" y="2674"/>
                  </a:cubicBezTo>
                  <a:cubicBezTo>
                    <a:pt x="3145" y="2683"/>
                    <a:pt x="3145" y="2683"/>
                    <a:pt x="3145" y="2683"/>
                  </a:cubicBezTo>
                  <a:cubicBezTo>
                    <a:pt x="3145" y="1980"/>
                    <a:pt x="3145" y="952"/>
                    <a:pt x="3145" y="926"/>
                  </a:cubicBezTo>
                  <a:cubicBezTo>
                    <a:pt x="3145" y="891"/>
                    <a:pt x="3085" y="703"/>
                    <a:pt x="3085" y="67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402" name="Freeform 103"/>
            <p:cNvSpPr>
              <a:spLocks noChangeArrowheads="1"/>
            </p:cNvSpPr>
            <p:nvPr/>
          </p:nvSpPr>
          <p:spPr bwMode="auto">
            <a:xfrm>
              <a:off x="2286000" y="4565650"/>
              <a:ext cx="303213" cy="581025"/>
            </a:xfrm>
            <a:custGeom>
              <a:avLst/>
              <a:gdLst>
                <a:gd name="T0" fmla="*/ 2147483647 w 842"/>
                <a:gd name="T1" fmla="*/ 2147483647 h 1612"/>
                <a:gd name="T2" fmla="*/ 2147483647 w 842"/>
                <a:gd name="T3" fmla="*/ 2147483647 h 1612"/>
                <a:gd name="T4" fmla="*/ 2147483647 w 842"/>
                <a:gd name="T5" fmla="*/ 2147483647 h 1612"/>
                <a:gd name="T6" fmla="*/ 2147483647 w 842"/>
                <a:gd name="T7" fmla="*/ 2147483647 h 1612"/>
                <a:gd name="T8" fmla="*/ 2147483647 w 842"/>
                <a:gd name="T9" fmla="*/ 2147483647 h 1612"/>
                <a:gd name="T10" fmla="*/ 2147483647 w 842"/>
                <a:gd name="T11" fmla="*/ 2147483647 h 1612"/>
                <a:gd name="T12" fmla="*/ 2147483647 w 842"/>
                <a:gd name="T13" fmla="*/ 2147483647 h 1612"/>
                <a:gd name="T14" fmla="*/ 2147483647 w 842"/>
                <a:gd name="T15" fmla="*/ 2147483647 h 1612"/>
                <a:gd name="T16" fmla="*/ 2147483647 w 842"/>
                <a:gd name="T17" fmla="*/ 2147483647 h 1612"/>
                <a:gd name="T18" fmla="*/ 2147483647 w 842"/>
                <a:gd name="T19" fmla="*/ 2147483647 h 1612"/>
                <a:gd name="T20" fmla="*/ 2147483647 w 842"/>
                <a:gd name="T21" fmla="*/ 2147483647 h 1612"/>
                <a:gd name="T22" fmla="*/ 2147483647 w 842"/>
                <a:gd name="T23" fmla="*/ 2147483647 h 1612"/>
                <a:gd name="T24" fmla="*/ 2147483647 w 842"/>
                <a:gd name="T25" fmla="*/ 2147483647 h 1612"/>
                <a:gd name="T26" fmla="*/ 2147483647 w 842"/>
                <a:gd name="T27" fmla="*/ 2147483647 h 1612"/>
                <a:gd name="T28" fmla="*/ 2147483647 w 842"/>
                <a:gd name="T29" fmla="*/ 2147483647 h 1612"/>
                <a:gd name="T30" fmla="*/ 2147483647 w 842"/>
                <a:gd name="T31" fmla="*/ 2147483647 h 1612"/>
                <a:gd name="T32" fmla="*/ 2147483647 w 842"/>
                <a:gd name="T33" fmla="*/ 2147483647 h 1612"/>
                <a:gd name="T34" fmla="*/ 2147483647 w 842"/>
                <a:gd name="T35" fmla="*/ 2147483647 h 1612"/>
                <a:gd name="T36" fmla="*/ 2147483647 w 842"/>
                <a:gd name="T37" fmla="*/ 2147483647 h 1612"/>
                <a:gd name="T38" fmla="*/ 2147483647 w 842"/>
                <a:gd name="T39" fmla="*/ 2147483647 h 1612"/>
                <a:gd name="T40" fmla="*/ 2147483647 w 842"/>
                <a:gd name="T41" fmla="*/ 2147483647 h 1612"/>
                <a:gd name="T42" fmla="*/ 2147483647 w 842"/>
                <a:gd name="T43" fmla="*/ 2147483647 h 1612"/>
                <a:gd name="T44" fmla="*/ 2147483647 w 842"/>
                <a:gd name="T45" fmla="*/ 2147483647 h 1612"/>
                <a:gd name="T46" fmla="*/ 2147483647 w 842"/>
                <a:gd name="T47" fmla="*/ 2147483647 h 1612"/>
                <a:gd name="T48" fmla="*/ 2147483647 w 842"/>
                <a:gd name="T49" fmla="*/ 2147483647 h 1612"/>
                <a:gd name="T50" fmla="*/ 2147483647 w 842"/>
                <a:gd name="T51" fmla="*/ 2147483647 h 1612"/>
                <a:gd name="T52" fmla="*/ 2147483647 w 842"/>
                <a:gd name="T53" fmla="*/ 2147483647 h 1612"/>
                <a:gd name="T54" fmla="*/ 2147483647 w 842"/>
                <a:gd name="T55" fmla="*/ 2147483647 h 1612"/>
                <a:gd name="T56" fmla="*/ 2147483647 w 842"/>
                <a:gd name="T57" fmla="*/ 2147483647 h 1612"/>
                <a:gd name="T58" fmla="*/ 2147483647 w 842"/>
                <a:gd name="T59" fmla="*/ 2147483647 h 1612"/>
                <a:gd name="T60" fmla="*/ 2147483647 w 842"/>
                <a:gd name="T61" fmla="*/ 2147483647 h 1612"/>
                <a:gd name="T62" fmla="*/ 2147483647 w 842"/>
                <a:gd name="T63" fmla="*/ 2147483647 h 1612"/>
                <a:gd name="T64" fmla="*/ 2147483647 w 842"/>
                <a:gd name="T65" fmla="*/ 2147483647 h 1612"/>
                <a:gd name="T66" fmla="*/ 2147483647 w 842"/>
                <a:gd name="T67" fmla="*/ 2147483647 h 1612"/>
                <a:gd name="T68" fmla="*/ 2147483647 w 842"/>
                <a:gd name="T69" fmla="*/ 2147483647 h 1612"/>
                <a:gd name="T70" fmla="*/ 2147483647 w 842"/>
                <a:gd name="T71" fmla="*/ 2147483647 h 1612"/>
                <a:gd name="T72" fmla="*/ 2147483647 w 842"/>
                <a:gd name="T73" fmla="*/ 2147483647 h 1612"/>
                <a:gd name="T74" fmla="*/ 2147483647 w 842"/>
                <a:gd name="T75" fmla="*/ 2147483647 h 1612"/>
                <a:gd name="T76" fmla="*/ 2147483647 w 842"/>
                <a:gd name="T77" fmla="*/ 2147483647 h 1612"/>
                <a:gd name="T78" fmla="*/ 2147483647 w 842"/>
                <a:gd name="T79" fmla="*/ 2147483647 h 1612"/>
                <a:gd name="T80" fmla="*/ 2147483647 w 842"/>
                <a:gd name="T81" fmla="*/ 2147483647 h 1612"/>
                <a:gd name="T82" fmla="*/ 2147483647 w 842"/>
                <a:gd name="T83" fmla="*/ 2147483647 h 1612"/>
                <a:gd name="T84" fmla="*/ 2147483647 w 842"/>
                <a:gd name="T85" fmla="*/ 2147483647 h 1612"/>
                <a:gd name="T86" fmla="*/ 2147483647 w 842"/>
                <a:gd name="T87" fmla="*/ 2147483647 h 1612"/>
                <a:gd name="T88" fmla="*/ 2147483647 w 842"/>
                <a:gd name="T89" fmla="*/ 2147483647 h 1612"/>
                <a:gd name="T90" fmla="*/ 2147483647 w 842"/>
                <a:gd name="T91" fmla="*/ 2147483647 h 1612"/>
                <a:gd name="T92" fmla="*/ 2147483647 w 842"/>
                <a:gd name="T93" fmla="*/ 2147483647 h 1612"/>
                <a:gd name="T94" fmla="*/ 2147483647 w 842"/>
                <a:gd name="T95" fmla="*/ 2147483647 h 1612"/>
                <a:gd name="T96" fmla="*/ 2147483647 w 842"/>
                <a:gd name="T97" fmla="*/ 2147483647 h 1612"/>
                <a:gd name="T98" fmla="*/ 2147483647 w 842"/>
                <a:gd name="T99" fmla="*/ 2147483647 h 16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42"/>
                <a:gd name="T151" fmla="*/ 0 h 1612"/>
                <a:gd name="T152" fmla="*/ 842 w 842"/>
                <a:gd name="T153" fmla="*/ 1612 h 16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42" h="1612">
                  <a:moveTo>
                    <a:pt x="172" y="197"/>
                  </a:moveTo>
                  <a:lnTo>
                    <a:pt x="172" y="197"/>
                  </a:lnTo>
                  <a:cubicBezTo>
                    <a:pt x="155" y="223"/>
                    <a:pt x="215" y="223"/>
                    <a:pt x="215" y="240"/>
                  </a:cubicBezTo>
                  <a:cubicBezTo>
                    <a:pt x="215" y="266"/>
                    <a:pt x="206" y="317"/>
                    <a:pt x="189" y="334"/>
                  </a:cubicBezTo>
                  <a:cubicBezTo>
                    <a:pt x="172" y="360"/>
                    <a:pt x="206" y="386"/>
                    <a:pt x="215" y="411"/>
                  </a:cubicBezTo>
                  <a:cubicBezTo>
                    <a:pt x="223" y="429"/>
                    <a:pt x="206" y="437"/>
                    <a:pt x="189" y="463"/>
                  </a:cubicBezTo>
                  <a:cubicBezTo>
                    <a:pt x="181" y="480"/>
                    <a:pt x="215" y="480"/>
                    <a:pt x="223" y="506"/>
                  </a:cubicBezTo>
                  <a:cubicBezTo>
                    <a:pt x="223" y="531"/>
                    <a:pt x="189" y="540"/>
                    <a:pt x="181" y="591"/>
                  </a:cubicBezTo>
                  <a:cubicBezTo>
                    <a:pt x="172" y="643"/>
                    <a:pt x="112" y="651"/>
                    <a:pt x="103" y="694"/>
                  </a:cubicBezTo>
                  <a:cubicBezTo>
                    <a:pt x="86" y="728"/>
                    <a:pt x="52" y="720"/>
                    <a:pt x="26" y="772"/>
                  </a:cubicBezTo>
                  <a:cubicBezTo>
                    <a:pt x="0" y="823"/>
                    <a:pt x="69" y="900"/>
                    <a:pt x="78" y="934"/>
                  </a:cubicBezTo>
                  <a:cubicBezTo>
                    <a:pt x="78" y="968"/>
                    <a:pt x="138" y="977"/>
                    <a:pt x="172" y="1012"/>
                  </a:cubicBezTo>
                  <a:cubicBezTo>
                    <a:pt x="198" y="1046"/>
                    <a:pt x="189" y="1063"/>
                    <a:pt x="189" y="1097"/>
                  </a:cubicBezTo>
                  <a:cubicBezTo>
                    <a:pt x="189" y="1123"/>
                    <a:pt x="335" y="1174"/>
                    <a:pt x="343" y="1226"/>
                  </a:cubicBezTo>
                  <a:cubicBezTo>
                    <a:pt x="352" y="1269"/>
                    <a:pt x="403" y="1500"/>
                    <a:pt x="438" y="1611"/>
                  </a:cubicBezTo>
                  <a:cubicBezTo>
                    <a:pt x="463" y="1603"/>
                    <a:pt x="489" y="1594"/>
                    <a:pt x="498" y="1594"/>
                  </a:cubicBezTo>
                  <a:cubicBezTo>
                    <a:pt x="524" y="1586"/>
                    <a:pt x="549" y="1534"/>
                    <a:pt x="566" y="1483"/>
                  </a:cubicBezTo>
                  <a:cubicBezTo>
                    <a:pt x="592" y="1440"/>
                    <a:pt x="558" y="1346"/>
                    <a:pt x="566" y="1311"/>
                  </a:cubicBezTo>
                  <a:cubicBezTo>
                    <a:pt x="566" y="1277"/>
                    <a:pt x="618" y="1294"/>
                    <a:pt x="635" y="1286"/>
                  </a:cubicBezTo>
                  <a:cubicBezTo>
                    <a:pt x="652" y="1269"/>
                    <a:pt x="669" y="1234"/>
                    <a:pt x="712" y="1191"/>
                  </a:cubicBezTo>
                  <a:cubicBezTo>
                    <a:pt x="755" y="1157"/>
                    <a:pt x="806" y="1157"/>
                    <a:pt x="823" y="1149"/>
                  </a:cubicBezTo>
                  <a:cubicBezTo>
                    <a:pt x="841" y="1131"/>
                    <a:pt x="815" y="1063"/>
                    <a:pt x="815" y="1029"/>
                  </a:cubicBezTo>
                  <a:cubicBezTo>
                    <a:pt x="815" y="1012"/>
                    <a:pt x="823" y="986"/>
                    <a:pt x="832" y="960"/>
                  </a:cubicBezTo>
                  <a:cubicBezTo>
                    <a:pt x="823" y="951"/>
                    <a:pt x="815" y="951"/>
                    <a:pt x="815" y="951"/>
                  </a:cubicBezTo>
                  <a:cubicBezTo>
                    <a:pt x="789" y="943"/>
                    <a:pt x="755" y="943"/>
                    <a:pt x="755" y="926"/>
                  </a:cubicBezTo>
                  <a:cubicBezTo>
                    <a:pt x="755" y="917"/>
                    <a:pt x="738" y="883"/>
                    <a:pt x="729" y="866"/>
                  </a:cubicBezTo>
                  <a:cubicBezTo>
                    <a:pt x="712" y="849"/>
                    <a:pt x="695" y="891"/>
                    <a:pt x="686" y="891"/>
                  </a:cubicBezTo>
                  <a:cubicBezTo>
                    <a:pt x="669" y="891"/>
                    <a:pt x="686" y="866"/>
                    <a:pt x="669" y="857"/>
                  </a:cubicBezTo>
                  <a:cubicBezTo>
                    <a:pt x="652" y="857"/>
                    <a:pt x="635" y="849"/>
                    <a:pt x="592" y="831"/>
                  </a:cubicBezTo>
                  <a:cubicBezTo>
                    <a:pt x="558" y="823"/>
                    <a:pt x="532" y="754"/>
                    <a:pt x="532" y="728"/>
                  </a:cubicBezTo>
                  <a:cubicBezTo>
                    <a:pt x="541" y="703"/>
                    <a:pt x="601" y="677"/>
                    <a:pt x="635" y="660"/>
                  </a:cubicBezTo>
                  <a:cubicBezTo>
                    <a:pt x="669" y="643"/>
                    <a:pt x="720" y="548"/>
                    <a:pt x="738" y="531"/>
                  </a:cubicBezTo>
                  <a:cubicBezTo>
                    <a:pt x="755" y="506"/>
                    <a:pt x="755" y="480"/>
                    <a:pt x="746" y="463"/>
                  </a:cubicBezTo>
                  <a:cubicBezTo>
                    <a:pt x="729" y="454"/>
                    <a:pt x="729" y="429"/>
                    <a:pt x="729" y="411"/>
                  </a:cubicBezTo>
                  <a:cubicBezTo>
                    <a:pt x="720" y="394"/>
                    <a:pt x="686" y="369"/>
                    <a:pt x="652" y="351"/>
                  </a:cubicBezTo>
                  <a:cubicBezTo>
                    <a:pt x="618" y="326"/>
                    <a:pt x="635" y="274"/>
                    <a:pt x="635" y="248"/>
                  </a:cubicBezTo>
                  <a:cubicBezTo>
                    <a:pt x="635" y="223"/>
                    <a:pt x="669" y="223"/>
                    <a:pt x="678" y="214"/>
                  </a:cubicBezTo>
                  <a:cubicBezTo>
                    <a:pt x="695" y="206"/>
                    <a:pt x="746" y="120"/>
                    <a:pt x="746" y="111"/>
                  </a:cubicBezTo>
                  <a:cubicBezTo>
                    <a:pt x="755" y="94"/>
                    <a:pt x="729" y="86"/>
                    <a:pt x="712" y="86"/>
                  </a:cubicBezTo>
                  <a:cubicBezTo>
                    <a:pt x="703" y="86"/>
                    <a:pt x="661" y="120"/>
                    <a:pt x="643" y="137"/>
                  </a:cubicBezTo>
                  <a:cubicBezTo>
                    <a:pt x="626" y="154"/>
                    <a:pt x="601" y="146"/>
                    <a:pt x="583" y="137"/>
                  </a:cubicBezTo>
                  <a:cubicBezTo>
                    <a:pt x="575" y="129"/>
                    <a:pt x="592" y="120"/>
                    <a:pt x="592" y="111"/>
                  </a:cubicBezTo>
                  <a:cubicBezTo>
                    <a:pt x="601" y="94"/>
                    <a:pt x="575" y="86"/>
                    <a:pt x="575" y="68"/>
                  </a:cubicBezTo>
                  <a:cubicBezTo>
                    <a:pt x="575" y="51"/>
                    <a:pt x="524" y="26"/>
                    <a:pt x="498" y="17"/>
                  </a:cubicBezTo>
                  <a:cubicBezTo>
                    <a:pt x="480" y="0"/>
                    <a:pt x="438" y="34"/>
                    <a:pt x="421" y="34"/>
                  </a:cubicBezTo>
                  <a:cubicBezTo>
                    <a:pt x="395" y="26"/>
                    <a:pt x="361" y="34"/>
                    <a:pt x="343" y="51"/>
                  </a:cubicBezTo>
                  <a:cubicBezTo>
                    <a:pt x="326" y="68"/>
                    <a:pt x="292" y="77"/>
                    <a:pt x="275" y="94"/>
                  </a:cubicBezTo>
                  <a:cubicBezTo>
                    <a:pt x="266" y="103"/>
                    <a:pt x="249" y="103"/>
                    <a:pt x="232" y="111"/>
                  </a:cubicBezTo>
                  <a:cubicBezTo>
                    <a:pt x="232" y="129"/>
                    <a:pt x="232" y="146"/>
                    <a:pt x="232" y="146"/>
                  </a:cubicBezTo>
                  <a:cubicBezTo>
                    <a:pt x="223" y="171"/>
                    <a:pt x="198" y="171"/>
                    <a:pt x="172" y="197"/>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403" name="Freeform 104"/>
            <p:cNvSpPr>
              <a:spLocks noChangeArrowheads="1"/>
            </p:cNvSpPr>
            <p:nvPr/>
          </p:nvSpPr>
          <p:spPr bwMode="auto">
            <a:xfrm>
              <a:off x="1119188" y="4587875"/>
              <a:ext cx="1500187" cy="1284288"/>
            </a:xfrm>
            <a:custGeom>
              <a:avLst/>
              <a:gdLst>
                <a:gd name="T0" fmla="*/ 2147483647 w 4166"/>
                <a:gd name="T1" fmla="*/ 2147483647 h 3567"/>
                <a:gd name="T2" fmla="*/ 2147483647 w 4166"/>
                <a:gd name="T3" fmla="*/ 2147483647 h 3567"/>
                <a:gd name="T4" fmla="*/ 2147483647 w 4166"/>
                <a:gd name="T5" fmla="*/ 2147483647 h 3567"/>
                <a:gd name="T6" fmla="*/ 2147483647 w 4166"/>
                <a:gd name="T7" fmla="*/ 2147483647 h 3567"/>
                <a:gd name="T8" fmla="*/ 2147483647 w 4166"/>
                <a:gd name="T9" fmla="*/ 2147483647 h 3567"/>
                <a:gd name="T10" fmla="*/ 2147483647 w 4166"/>
                <a:gd name="T11" fmla="*/ 2147483647 h 3567"/>
                <a:gd name="T12" fmla="*/ 2147483647 w 4166"/>
                <a:gd name="T13" fmla="*/ 2147483647 h 3567"/>
                <a:gd name="T14" fmla="*/ 2147483647 w 4166"/>
                <a:gd name="T15" fmla="*/ 2147483647 h 3567"/>
                <a:gd name="T16" fmla="*/ 2147483647 w 4166"/>
                <a:gd name="T17" fmla="*/ 2147483647 h 3567"/>
                <a:gd name="T18" fmla="*/ 2147483647 w 4166"/>
                <a:gd name="T19" fmla="*/ 2147483647 h 3567"/>
                <a:gd name="T20" fmla="*/ 2147483647 w 4166"/>
                <a:gd name="T21" fmla="*/ 2147483647 h 3567"/>
                <a:gd name="T22" fmla="*/ 2147483647 w 4166"/>
                <a:gd name="T23" fmla="*/ 2147483647 h 3567"/>
                <a:gd name="T24" fmla="*/ 2147483647 w 4166"/>
                <a:gd name="T25" fmla="*/ 2147483647 h 3567"/>
                <a:gd name="T26" fmla="*/ 2147483647 w 4166"/>
                <a:gd name="T27" fmla="*/ 2147483647 h 3567"/>
                <a:gd name="T28" fmla="*/ 2147483647 w 4166"/>
                <a:gd name="T29" fmla="*/ 2147483647 h 3567"/>
                <a:gd name="T30" fmla="*/ 2147483647 w 4166"/>
                <a:gd name="T31" fmla="*/ 2147483647 h 3567"/>
                <a:gd name="T32" fmla="*/ 2147483647 w 4166"/>
                <a:gd name="T33" fmla="*/ 2147483647 h 3567"/>
                <a:gd name="T34" fmla="*/ 2147483647 w 4166"/>
                <a:gd name="T35" fmla="*/ 2147483647 h 3567"/>
                <a:gd name="T36" fmla="*/ 2147483647 w 4166"/>
                <a:gd name="T37" fmla="*/ 2147483647 h 3567"/>
                <a:gd name="T38" fmla="*/ 2147483647 w 4166"/>
                <a:gd name="T39" fmla="*/ 2147483647 h 3567"/>
                <a:gd name="T40" fmla="*/ 2147483647 w 4166"/>
                <a:gd name="T41" fmla="*/ 2147483647 h 3567"/>
                <a:gd name="T42" fmla="*/ 2147483647 w 4166"/>
                <a:gd name="T43" fmla="*/ 2147483647 h 3567"/>
                <a:gd name="T44" fmla="*/ 2147483647 w 4166"/>
                <a:gd name="T45" fmla="*/ 2147483647 h 3567"/>
                <a:gd name="T46" fmla="*/ 2147483647 w 4166"/>
                <a:gd name="T47" fmla="*/ 2147483647 h 3567"/>
                <a:gd name="T48" fmla="*/ 2147483647 w 4166"/>
                <a:gd name="T49" fmla="*/ 2147483647 h 3567"/>
                <a:gd name="T50" fmla="*/ 2147483647 w 4166"/>
                <a:gd name="T51" fmla="*/ 2147483647 h 3567"/>
                <a:gd name="T52" fmla="*/ 2147483647 w 4166"/>
                <a:gd name="T53" fmla="*/ 2147483647 h 3567"/>
                <a:gd name="T54" fmla="*/ 2147483647 w 4166"/>
                <a:gd name="T55" fmla="*/ 2147483647 h 3567"/>
                <a:gd name="T56" fmla="*/ 2147483647 w 4166"/>
                <a:gd name="T57" fmla="*/ 2147483647 h 3567"/>
                <a:gd name="T58" fmla="*/ 2147483647 w 4166"/>
                <a:gd name="T59" fmla="*/ 2147483647 h 3567"/>
                <a:gd name="T60" fmla="*/ 2147483647 w 4166"/>
                <a:gd name="T61" fmla="*/ 2147483647 h 3567"/>
                <a:gd name="T62" fmla="*/ 2147483647 w 4166"/>
                <a:gd name="T63" fmla="*/ 2147483647 h 3567"/>
                <a:gd name="T64" fmla="*/ 2147483647 w 4166"/>
                <a:gd name="T65" fmla="*/ 2147483647 h 3567"/>
                <a:gd name="T66" fmla="*/ 2147483647 w 4166"/>
                <a:gd name="T67" fmla="*/ 2147483647 h 3567"/>
                <a:gd name="T68" fmla="*/ 2147483647 w 4166"/>
                <a:gd name="T69" fmla="*/ 2147483647 h 3567"/>
                <a:gd name="T70" fmla="*/ 2147483647 w 4166"/>
                <a:gd name="T71" fmla="*/ 2147483647 h 3567"/>
                <a:gd name="T72" fmla="*/ 2147483647 w 4166"/>
                <a:gd name="T73" fmla="*/ 2147483647 h 3567"/>
                <a:gd name="T74" fmla="*/ 2147483647 w 4166"/>
                <a:gd name="T75" fmla="*/ 2147483647 h 3567"/>
                <a:gd name="T76" fmla="*/ 2147483647 w 4166"/>
                <a:gd name="T77" fmla="*/ 2147483647 h 3567"/>
                <a:gd name="T78" fmla="*/ 2147483647 w 4166"/>
                <a:gd name="T79" fmla="*/ 2147483647 h 3567"/>
                <a:gd name="T80" fmla="*/ 2147483647 w 4166"/>
                <a:gd name="T81" fmla="*/ 2147483647 h 3567"/>
                <a:gd name="T82" fmla="*/ 0 w 4166"/>
                <a:gd name="T83" fmla="*/ 2147483647 h 3567"/>
                <a:gd name="T84" fmla="*/ 2147483647 w 4166"/>
                <a:gd name="T85" fmla="*/ 2147483647 h 3567"/>
                <a:gd name="T86" fmla="*/ 2147483647 w 4166"/>
                <a:gd name="T87" fmla="*/ 2147483647 h 35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166"/>
                <a:gd name="T133" fmla="*/ 0 h 3567"/>
                <a:gd name="T134" fmla="*/ 4166 w 4166"/>
                <a:gd name="T135" fmla="*/ 3567 h 356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166" h="3567">
                  <a:moveTo>
                    <a:pt x="4148" y="2983"/>
                  </a:moveTo>
                  <a:lnTo>
                    <a:pt x="4148" y="2983"/>
                  </a:lnTo>
                  <a:cubicBezTo>
                    <a:pt x="4140" y="2957"/>
                    <a:pt x="4097" y="2872"/>
                    <a:pt x="4080" y="2837"/>
                  </a:cubicBezTo>
                  <a:cubicBezTo>
                    <a:pt x="4054" y="2803"/>
                    <a:pt x="3942" y="2803"/>
                    <a:pt x="3917" y="2786"/>
                  </a:cubicBezTo>
                  <a:cubicBezTo>
                    <a:pt x="3900" y="2769"/>
                    <a:pt x="3874" y="2812"/>
                    <a:pt x="3840" y="2812"/>
                  </a:cubicBezTo>
                  <a:cubicBezTo>
                    <a:pt x="3805" y="2812"/>
                    <a:pt x="3771" y="2666"/>
                    <a:pt x="3771" y="2623"/>
                  </a:cubicBezTo>
                  <a:cubicBezTo>
                    <a:pt x="3771" y="2589"/>
                    <a:pt x="3651" y="2469"/>
                    <a:pt x="3642" y="2434"/>
                  </a:cubicBezTo>
                  <a:cubicBezTo>
                    <a:pt x="3634" y="2409"/>
                    <a:pt x="3711" y="2383"/>
                    <a:pt x="3737" y="2357"/>
                  </a:cubicBezTo>
                  <a:cubicBezTo>
                    <a:pt x="3763" y="2332"/>
                    <a:pt x="3711" y="2203"/>
                    <a:pt x="3711" y="2177"/>
                  </a:cubicBezTo>
                  <a:cubicBezTo>
                    <a:pt x="3711" y="2152"/>
                    <a:pt x="3737" y="2143"/>
                    <a:pt x="3745" y="2100"/>
                  </a:cubicBezTo>
                  <a:cubicBezTo>
                    <a:pt x="3763" y="2066"/>
                    <a:pt x="3737" y="2040"/>
                    <a:pt x="3728" y="2006"/>
                  </a:cubicBezTo>
                  <a:cubicBezTo>
                    <a:pt x="3711" y="1971"/>
                    <a:pt x="3711" y="1912"/>
                    <a:pt x="3737" y="1817"/>
                  </a:cubicBezTo>
                  <a:cubicBezTo>
                    <a:pt x="3754" y="1714"/>
                    <a:pt x="3634" y="1612"/>
                    <a:pt x="3634" y="1586"/>
                  </a:cubicBezTo>
                  <a:cubicBezTo>
                    <a:pt x="3634" y="1569"/>
                    <a:pt x="3651" y="1560"/>
                    <a:pt x="3677" y="1551"/>
                  </a:cubicBezTo>
                  <a:cubicBezTo>
                    <a:pt x="3642" y="1440"/>
                    <a:pt x="3591" y="1209"/>
                    <a:pt x="3582" y="1166"/>
                  </a:cubicBezTo>
                  <a:cubicBezTo>
                    <a:pt x="3574" y="1114"/>
                    <a:pt x="3428" y="1063"/>
                    <a:pt x="3428" y="1037"/>
                  </a:cubicBezTo>
                  <a:cubicBezTo>
                    <a:pt x="3428" y="1003"/>
                    <a:pt x="3437" y="986"/>
                    <a:pt x="3411" y="952"/>
                  </a:cubicBezTo>
                  <a:cubicBezTo>
                    <a:pt x="3377" y="917"/>
                    <a:pt x="3317" y="908"/>
                    <a:pt x="3317" y="874"/>
                  </a:cubicBezTo>
                  <a:cubicBezTo>
                    <a:pt x="3308" y="840"/>
                    <a:pt x="3239" y="763"/>
                    <a:pt x="3265" y="712"/>
                  </a:cubicBezTo>
                  <a:cubicBezTo>
                    <a:pt x="3291" y="660"/>
                    <a:pt x="3325" y="668"/>
                    <a:pt x="3342" y="634"/>
                  </a:cubicBezTo>
                  <a:cubicBezTo>
                    <a:pt x="3351" y="591"/>
                    <a:pt x="3411" y="583"/>
                    <a:pt x="3420" y="531"/>
                  </a:cubicBezTo>
                  <a:cubicBezTo>
                    <a:pt x="3428" y="480"/>
                    <a:pt x="3462" y="471"/>
                    <a:pt x="3462" y="446"/>
                  </a:cubicBezTo>
                  <a:cubicBezTo>
                    <a:pt x="3454" y="420"/>
                    <a:pt x="3420" y="420"/>
                    <a:pt x="3428" y="403"/>
                  </a:cubicBezTo>
                  <a:cubicBezTo>
                    <a:pt x="3445" y="377"/>
                    <a:pt x="3462" y="369"/>
                    <a:pt x="3454" y="351"/>
                  </a:cubicBezTo>
                  <a:cubicBezTo>
                    <a:pt x="3445" y="326"/>
                    <a:pt x="3411" y="300"/>
                    <a:pt x="3428" y="274"/>
                  </a:cubicBezTo>
                  <a:cubicBezTo>
                    <a:pt x="3445" y="257"/>
                    <a:pt x="3454" y="206"/>
                    <a:pt x="3454" y="180"/>
                  </a:cubicBezTo>
                  <a:cubicBezTo>
                    <a:pt x="3454" y="163"/>
                    <a:pt x="3394" y="163"/>
                    <a:pt x="3411" y="137"/>
                  </a:cubicBezTo>
                  <a:cubicBezTo>
                    <a:pt x="3437" y="111"/>
                    <a:pt x="3462" y="111"/>
                    <a:pt x="3471" y="86"/>
                  </a:cubicBezTo>
                  <a:cubicBezTo>
                    <a:pt x="3471" y="86"/>
                    <a:pt x="3471" y="69"/>
                    <a:pt x="3471" y="51"/>
                  </a:cubicBezTo>
                  <a:cubicBezTo>
                    <a:pt x="3462" y="51"/>
                    <a:pt x="3454" y="51"/>
                    <a:pt x="3454" y="51"/>
                  </a:cubicBezTo>
                  <a:cubicBezTo>
                    <a:pt x="3437" y="43"/>
                    <a:pt x="3420" y="34"/>
                    <a:pt x="3402" y="43"/>
                  </a:cubicBezTo>
                  <a:cubicBezTo>
                    <a:pt x="3385" y="51"/>
                    <a:pt x="3342" y="69"/>
                    <a:pt x="3334" y="60"/>
                  </a:cubicBezTo>
                  <a:cubicBezTo>
                    <a:pt x="3317" y="51"/>
                    <a:pt x="3257" y="17"/>
                    <a:pt x="3239" y="8"/>
                  </a:cubicBezTo>
                  <a:cubicBezTo>
                    <a:pt x="3214" y="0"/>
                    <a:pt x="3205" y="26"/>
                    <a:pt x="3188" y="34"/>
                  </a:cubicBezTo>
                  <a:cubicBezTo>
                    <a:pt x="3180" y="43"/>
                    <a:pt x="3137" y="43"/>
                    <a:pt x="3111" y="43"/>
                  </a:cubicBezTo>
                  <a:cubicBezTo>
                    <a:pt x="3094" y="34"/>
                    <a:pt x="3085" y="17"/>
                    <a:pt x="3051" y="8"/>
                  </a:cubicBezTo>
                  <a:cubicBezTo>
                    <a:pt x="3017" y="0"/>
                    <a:pt x="3025" y="34"/>
                    <a:pt x="3008" y="43"/>
                  </a:cubicBezTo>
                  <a:cubicBezTo>
                    <a:pt x="2991" y="60"/>
                    <a:pt x="2940" y="69"/>
                    <a:pt x="2905" y="69"/>
                  </a:cubicBezTo>
                  <a:cubicBezTo>
                    <a:pt x="2880" y="77"/>
                    <a:pt x="2880" y="94"/>
                    <a:pt x="2828" y="103"/>
                  </a:cubicBezTo>
                  <a:cubicBezTo>
                    <a:pt x="2785" y="111"/>
                    <a:pt x="2751" y="60"/>
                    <a:pt x="2742" y="51"/>
                  </a:cubicBezTo>
                  <a:cubicBezTo>
                    <a:pt x="2734" y="51"/>
                    <a:pt x="2563" y="51"/>
                    <a:pt x="2537" y="43"/>
                  </a:cubicBezTo>
                  <a:cubicBezTo>
                    <a:pt x="2519" y="43"/>
                    <a:pt x="2468" y="77"/>
                    <a:pt x="2451" y="77"/>
                  </a:cubicBezTo>
                  <a:cubicBezTo>
                    <a:pt x="2442" y="86"/>
                    <a:pt x="2434" y="69"/>
                    <a:pt x="2425" y="69"/>
                  </a:cubicBezTo>
                  <a:cubicBezTo>
                    <a:pt x="2417" y="69"/>
                    <a:pt x="2417" y="86"/>
                    <a:pt x="2400" y="94"/>
                  </a:cubicBezTo>
                  <a:cubicBezTo>
                    <a:pt x="2391" y="94"/>
                    <a:pt x="2382" y="86"/>
                    <a:pt x="2365" y="77"/>
                  </a:cubicBezTo>
                  <a:cubicBezTo>
                    <a:pt x="2348" y="60"/>
                    <a:pt x="2305" y="120"/>
                    <a:pt x="2288" y="120"/>
                  </a:cubicBezTo>
                  <a:cubicBezTo>
                    <a:pt x="2271" y="129"/>
                    <a:pt x="2262" y="111"/>
                    <a:pt x="2228" y="111"/>
                  </a:cubicBezTo>
                  <a:cubicBezTo>
                    <a:pt x="2202" y="111"/>
                    <a:pt x="2031" y="129"/>
                    <a:pt x="1997" y="137"/>
                  </a:cubicBezTo>
                  <a:cubicBezTo>
                    <a:pt x="1971" y="146"/>
                    <a:pt x="1834" y="188"/>
                    <a:pt x="1799" y="214"/>
                  </a:cubicBezTo>
                  <a:cubicBezTo>
                    <a:pt x="1765" y="231"/>
                    <a:pt x="1774" y="283"/>
                    <a:pt x="1748" y="300"/>
                  </a:cubicBezTo>
                  <a:cubicBezTo>
                    <a:pt x="1731" y="326"/>
                    <a:pt x="1688" y="274"/>
                    <a:pt x="1662" y="291"/>
                  </a:cubicBezTo>
                  <a:cubicBezTo>
                    <a:pt x="1645" y="309"/>
                    <a:pt x="1602" y="309"/>
                    <a:pt x="1577" y="309"/>
                  </a:cubicBezTo>
                  <a:cubicBezTo>
                    <a:pt x="1551" y="317"/>
                    <a:pt x="1491" y="403"/>
                    <a:pt x="1482" y="403"/>
                  </a:cubicBezTo>
                  <a:cubicBezTo>
                    <a:pt x="1465" y="403"/>
                    <a:pt x="1448" y="428"/>
                    <a:pt x="1388" y="454"/>
                  </a:cubicBezTo>
                  <a:cubicBezTo>
                    <a:pt x="1354" y="463"/>
                    <a:pt x="1328" y="463"/>
                    <a:pt x="1311" y="454"/>
                  </a:cubicBezTo>
                  <a:cubicBezTo>
                    <a:pt x="1319" y="471"/>
                    <a:pt x="1328" y="488"/>
                    <a:pt x="1337" y="488"/>
                  </a:cubicBezTo>
                  <a:cubicBezTo>
                    <a:pt x="1362" y="514"/>
                    <a:pt x="1388" y="506"/>
                    <a:pt x="1397" y="549"/>
                  </a:cubicBezTo>
                  <a:cubicBezTo>
                    <a:pt x="1397" y="600"/>
                    <a:pt x="1414" y="609"/>
                    <a:pt x="1414" y="643"/>
                  </a:cubicBezTo>
                  <a:cubicBezTo>
                    <a:pt x="1414" y="668"/>
                    <a:pt x="1422" y="694"/>
                    <a:pt x="1414" y="712"/>
                  </a:cubicBezTo>
                  <a:cubicBezTo>
                    <a:pt x="1405" y="737"/>
                    <a:pt x="1431" y="763"/>
                    <a:pt x="1422" y="771"/>
                  </a:cubicBezTo>
                  <a:cubicBezTo>
                    <a:pt x="1405" y="789"/>
                    <a:pt x="1440" y="789"/>
                    <a:pt x="1431" y="814"/>
                  </a:cubicBezTo>
                  <a:cubicBezTo>
                    <a:pt x="1422" y="840"/>
                    <a:pt x="1405" y="840"/>
                    <a:pt x="1422" y="874"/>
                  </a:cubicBezTo>
                  <a:cubicBezTo>
                    <a:pt x="1440" y="900"/>
                    <a:pt x="1465" y="891"/>
                    <a:pt x="1465" y="934"/>
                  </a:cubicBezTo>
                  <a:cubicBezTo>
                    <a:pt x="1465" y="969"/>
                    <a:pt x="1448" y="960"/>
                    <a:pt x="1474" y="986"/>
                  </a:cubicBezTo>
                  <a:cubicBezTo>
                    <a:pt x="1508" y="1011"/>
                    <a:pt x="1525" y="1011"/>
                    <a:pt x="1525" y="1037"/>
                  </a:cubicBezTo>
                  <a:cubicBezTo>
                    <a:pt x="1517" y="1071"/>
                    <a:pt x="1508" y="1123"/>
                    <a:pt x="1491" y="1131"/>
                  </a:cubicBezTo>
                  <a:cubicBezTo>
                    <a:pt x="1465" y="1148"/>
                    <a:pt x="1319" y="1114"/>
                    <a:pt x="1294" y="1114"/>
                  </a:cubicBezTo>
                  <a:cubicBezTo>
                    <a:pt x="1260" y="1114"/>
                    <a:pt x="1182" y="1131"/>
                    <a:pt x="1174" y="1148"/>
                  </a:cubicBezTo>
                  <a:cubicBezTo>
                    <a:pt x="1157" y="1174"/>
                    <a:pt x="1148" y="1200"/>
                    <a:pt x="1131" y="1200"/>
                  </a:cubicBezTo>
                  <a:cubicBezTo>
                    <a:pt x="1122" y="1200"/>
                    <a:pt x="1037" y="1217"/>
                    <a:pt x="1011" y="1217"/>
                  </a:cubicBezTo>
                  <a:cubicBezTo>
                    <a:pt x="985" y="1217"/>
                    <a:pt x="968" y="1243"/>
                    <a:pt x="994" y="1269"/>
                  </a:cubicBezTo>
                  <a:cubicBezTo>
                    <a:pt x="1020" y="1286"/>
                    <a:pt x="1002" y="1303"/>
                    <a:pt x="994" y="1303"/>
                  </a:cubicBezTo>
                  <a:cubicBezTo>
                    <a:pt x="985" y="1303"/>
                    <a:pt x="994" y="1337"/>
                    <a:pt x="1002" y="1337"/>
                  </a:cubicBezTo>
                  <a:cubicBezTo>
                    <a:pt x="1002" y="1346"/>
                    <a:pt x="1028" y="1388"/>
                    <a:pt x="994" y="1388"/>
                  </a:cubicBezTo>
                  <a:cubicBezTo>
                    <a:pt x="951" y="1397"/>
                    <a:pt x="874" y="1457"/>
                    <a:pt x="839" y="1457"/>
                  </a:cubicBezTo>
                  <a:cubicBezTo>
                    <a:pt x="814" y="1457"/>
                    <a:pt x="737" y="1500"/>
                    <a:pt x="728" y="1543"/>
                  </a:cubicBezTo>
                  <a:cubicBezTo>
                    <a:pt x="720" y="1586"/>
                    <a:pt x="634" y="1620"/>
                    <a:pt x="565" y="1629"/>
                  </a:cubicBezTo>
                  <a:cubicBezTo>
                    <a:pt x="488" y="1629"/>
                    <a:pt x="454" y="1629"/>
                    <a:pt x="454" y="1646"/>
                  </a:cubicBezTo>
                  <a:cubicBezTo>
                    <a:pt x="445" y="1663"/>
                    <a:pt x="428" y="1689"/>
                    <a:pt x="411" y="1689"/>
                  </a:cubicBezTo>
                  <a:cubicBezTo>
                    <a:pt x="385" y="1689"/>
                    <a:pt x="342" y="1663"/>
                    <a:pt x="317" y="1672"/>
                  </a:cubicBezTo>
                  <a:cubicBezTo>
                    <a:pt x="282" y="1680"/>
                    <a:pt x="248" y="1731"/>
                    <a:pt x="231" y="1731"/>
                  </a:cubicBezTo>
                  <a:cubicBezTo>
                    <a:pt x="222" y="1731"/>
                    <a:pt x="128" y="1809"/>
                    <a:pt x="111" y="1817"/>
                  </a:cubicBezTo>
                  <a:cubicBezTo>
                    <a:pt x="102" y="1817"/>
                    <a:pt x="0" y="1869"/>
                    <a:pt x="0" y="1886"/>
                  </a:cubicBezTo>
                  <a:cubicBezTo>
                    <a:pt x="0" y="1886"/>
                    <a:pt x="0" y="2040"/>
                    <a:pt x="0" y="2186"/>
                  </a:cubicBezTo>
                  <a:cubicBezTo>
                    <a:pt x="385" y="2434"/>
                    <a:pt x="1962" y="3489"/>
                    <a:pt x="1980" y="3506"/>
                  </a:cubicBezTo>
                  <a:cubicBezTo>
                    <a:pt x="1980" y="3514"/>
                    <a:pt x="1980" y="3540"/>
                    <a:pt x="1988" y="3566"/>
                  </a:cubicBezTo>
                  <a:cubicBezTo>
                    <a:pt x="3257" y="3566"/>
                    <a:pt x="3257" y="3566"/>
                    <a:pt x="3257" y="3566"/>
                  </a:cubicBezTo>
                  <a:cubicBezTo>
                    <a:pt x="4165" y="3000"/>
                    <a:pt x="4165" y="3000"/>
                    <a:pt x="4165" y="3000"/>
                  </a:cubicBezTo>
                  <a:cubicBezTo>
                    <a:pt x="4157" y="2992"/>
                    <a:pt x="4148" y="2992"/>
                    <a:pt x="4148" y="298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404" name="Freeform 105"/>
            <p:cNvSpPr>
              <a:spLocks noChangeArrowheads="1"/>
            </p:cNvSpPr>
            <p:nvPr/>
          </p:nvSpPr>
          <p:spPr bwMode="auto">
            <a:xfrm>
              <a:off x="2833688" y="5670550"/>
              <a:ext cx="463550" cy="203200"/>
            </a:xfrm>
            <a:custGeom>
              <a:avLst/>
              <a:gdLst>
                <a:gd name="T0" fmla="*/ 2147483647 w 1287"/>
                <a:gd name="T1" fmla="*/ 2147483647 h 566"/>
                <a:gd name="T2" fmla="*/ 2147483647 w 1287"/>
                <a:gd name="T3" fmla="*/ 2147483647 h 566"/>
                <a:gd name="T4" fmla="*/ 0 w 1287"/>
                <a:gd name="T5" fmla="*/ 2147483647 h 566"/>
                <a:gd name="T6" fmla="*/ 2147483647 w 1287"/>
                <a:gd name="T7" fmla="*/ 2147483647 h 566"/>
                <a:gd name="T8" fmla="*/ 2147483647 w 1287"/>
                <a:gd name="T9" fmla="*/ 2147483647 h 566"/>
                <a:gd name="T10" fmla="*/ 2147483647 w 1287"/>
                <a:gd name="T11" fmla="*/ 2147483647 h 566"/>
                <a:gd name="T12" fmla="*/ 2147483647 w 1287"/>
                <a:gd name="T13" fmla="*/ 2147483647 h 566"/>
                <a:gd name="T14" fmla="*/ 2147483647 w 1287"/>
                <a:gd name="T15" fmla="*/ 2147483647 h 566"/>
                <a:gd name="T16" fmla="*/ 0 60000 65536"/>
                <a:gd name="T17" fmla="*/ 0 60000 65536"/>
                <a:gd name="T18" fmla="*/ 0 60000 65536"/>
                <a:gd name="T19" fmla="*/ 0 60000 65536"/>
                <a:gd name="T20" fmla="*/ 0 60000 65536"/>
                <a:gd name="T21" fmla="*/ 0 60000 65536"/>
                <a:gd name="T22" fmla="*/ 0 60000 65536"/>
                <a:gd name="T23" fmla="*/ 0 60000 65536"/>
                <a:gd name="T24" fmla="*/ 0 w 1287"/>
                <a:gd name="T25" fmla="*/ 0 h 566"/>
                <a:gd name="T26" fmla="*/ 1287 w 1287"/>
                <a:gd name="T27" fmla="*/ 566 h 5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87" h="566">
                  <a:moveTo>
                    <a:pt x="215" y="8"/>
                  </a:moveTo>
                  <a:lnTo>
                    <a:pt x="215" y="8"/>
                  </a:lnTo>
                  <a:cubicBezTo>
                    <a:pt x="198" y="0"/>
                    <a:pt x="95" y="51"/>
                    <a:pt x="0" y="103"/>
                  </a:cubicBezTo>
                  <a:cubicBezTo>
                    <a:pt x="17" y="188"/>
                    <a:pt x="35" y="265"/>
                    <a:pt x="35" y="317"/>
                  </a:cubicBezTo>
                  <a:cubicBezTo>
                    <a:pt x="35" y="428"/>
                    <a:pt x="69" y="471"/>
                    <a:pt x="95" y="497"/>
                  </a:cubicBezTo>
                  <a:cubicBezTo>
                    <a:pt x="112" y="505"/>
                    <a:pt x="112" y="531"/>
                    <a:pt x="120" y="565"/>
                  </a:cubicBezTo>
                  <a:cubicBezTo>
                    <a:pt x="1286" y="565"/>
                    <a:pt x="1286" y="565"/>
                    <a:pt x="1286" y="565"/>
                  </a:cubicBezTo>
                  <a:cubicBezTo>
                    <a:pt x="832" y="334"/>
                    <a:pt x="232" y="17"/>
                    <a:pt x="215" y="8"/>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405" name="Freeform 106"/>
            <p:cNvSpPr>
              <a:spLocks noChangeArrowheads="1"/>
            </p:cNvSpPr>
            <p:nvPr/>
          </p:nvSpPr>
          <p:spPr bwMode="auto">
            <a:xfrm>
              <a:off x="2292350" y="5667375"/>
              <a:ext cx="585788" cy="206375"/>
            </a:xfrm>
            <a:custGeom>
              <a:avLst/>
              <a:gdLst>
                <a:gd name="T0" fmla="*/ 2147483647 w 1628"/>
                <a:gd name="T1" fmla="*/ 2147483647 h 575"/>
                <a:gd name="T2" fmla="*/ 2147483647 w 1628"/>
                <a:gd name="T3" fmla="*/ 2147483647 h 575"/>
                <a:gd name="T4" fmla="*/ 2147483647 w 1628"/>
                <a:gd name="T5" fmla="*/ 2147483647 h 575"/>
                <a:gd name="T6" fmla="*/ 2147483647 w 1628"/>
                <a:gd name="T7" fmla="*/ 2147483647 h 575"/>
                <a:gd name="T8" fmla="*/ 2147483647 w 1628"/>
                <a:gd name="T9" fmla="*/ 2147483647 h 575"/>
                <a:gd name="T10" fmla="*/ 2147483647 w 1628"/>
                <a:gd name="T11" fmla="*/ 2147483647 h 575"/>
                <a:gd name="T12" fmla="*/ 2147483647 w 1628"/>
                <a:gd name="T13" fmla="*/ 0 h 575"/>
                <a:gd name="T14" fmla="*/ 0 w 1628"/>
                <a:gd name="T15" fmla="*/ 2147483647 h 575"/>
                <a:gd name="T16" fmla="*/ 2147483647 w 1628"/>
                <a:gd name="T17" fmla="*/ 2147483647 h 575"/>
                <a:gd name="T18" fmla="*/ 2147483647 w 1628"/>
                <a:gd name="T19" fmla="*/ 2147483647 h 575"/>
                <a:gd name="T20" fmla="*/ 2147483647 w 1628"/>
                <a:gd name="T21" fmla="*/ 2147483647 h 57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28"/>
                <a:gd name="T34" fmla="*/ 0 h 575"/>
                <a:gd name="T35" fmla="*/ 1628 w 1628"/>
                <a:gd name="T36" fmla="*/ 575 h 57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28" h="575">
                  <a:moveTo>
                    <a:pt x="1542" y="326"/>
                  </a:moveTo>
                  <a:lnTo>
                    <a:pt x="1542" y="326"/>
                  </a:lnTo>
                  <a:cubicBezTo>
                    <a:pt x="1542" y="274"/>
                    <a:pt x="1524" y="197"/>
                    <a:pt x="1507" y="112"/>
                  </a:cubicBezTo>
                  <a:cubicBezTo>
                    <a:pt x="1430" y="154"/>
                    <a:pt x="1361" y="189"/>
                    <a:pt x="1353" y="189"/>
                  </a:cubicBezTo>
                  <a:cubicBezTo>
                    <a:pt x="1327" y="189"/>
                    <a:pt x="1233" y="103"/>
                    <a:pt x="1208" y="86"/>
                  </a:cubicBezTo>
                  <a:cubicBezTo>
                    <a:pt x="1191" y="77"/>
                    <a:pt x="1045" y="43"/>
                    <a:pt x="1003" y="34"/>
                  </a:cubicBezTo>
                  <a:cubicBezTo>
                    <a:pt x="968" y="17"/>
                    <a:pt x="925" y="17"/>
                    <a:pt x="908" y="0"/>
                  </a:cubicBezTo>
                  <a:cubicBezTo>
                    <a:pt x="0" y="566"/>
                    <a:pt x="0" y="566"/>
                    <a:pt x="0" y="566"/>
                  </a:cubicBezTo>
                  <a:cubicBezTo>
                    <a:pt x="1627" y="574"/>
                    <a:pt x="1627" y="574"/>
                    <a:pt x="1627" y="574"/>
                  </a:cubicBezTo>
                  <a:cubicBezTo>
                    <a:pt x="1619" y="540"/>
                    <a:pt x="1619" y="514"/>
                    <a:pt x="1602" y="506"/>
                  </a:cubicBezTo>
                  <a:cubicBezTo>
                    <a:pt x="1576" y="480"/>
                    <a:pt x="1542" y="437"/>
                    <a:pt x="1542" y="326"/>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406" name="Freeform 107"/>
            <p:cNvSpPr>
              <a:spLocks noChangeArrowheads="1"/>
            </p:cNvSpPr>
            <p:nvPr/>
          </p:nvSpPr>
          <p:spPr bwMode="auto">
            <a:xfrm>
              <a:off x="1011238" y="5373688"/>
              <a:ext cx="376237" cy="493712"/>
            </a:xfrm>
            <a:custGeom>
              <a:avLst/>
              <a:gdLst>
                <a:gd name="T0" fmla="*/ 2147483647 w 1046"/>
                <a:gd name="T1" fmla="*/ 2147483647 h 1372"/>
                <a:gd name="T2" fmla="*/ 2147483647 w 1046"/>
                <a:gd name="T3" fmla="*/ 2147483647 h 1372"/>
                <a:gd name="T4" fmla="*/ 2147483647 w 1046"/>
                <a:gd name="T5" fmla="*/ 0 h 1372"/>
                <a:gd name="T6" fmla="*/ 2147483647 w 1046"/>
                <a:gd name="T7" fmla="*/ 2147483647 h 1372"/>
                <a:gd name="T8" fmla="*/ 0 w 1046"/>
                <a:gd name="T9" fmla="*/ 2147483647 h 1372"/>
                <a:gd name="T10" fmla="*/ 0 w 1046"/>
                <a:gd name="T11" fmla="*/ 2147483647 h 1372"/>
                <a:gd name="T12" fmla="*/ 2147483647 w 1046"/>
                <a:gd name="T13" fmla="*/ 2147483647 h 1372"/>
                <a:gd name="T14" fmla="*/ 2147483647 w 1046"/>
                <a:gd name="T15" fmla="*/ 2147483647 h 1372"/>
                <a:gd name="T16" fmla="*/ 2147483647 w 1046"/>
                <a:gd name="T17" fmla="*/ 2147483647 h 13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6"/>
                <a:gd name="T28" fmla="*/ 0 h 1372"/>
                <a:gd name="T29" fmla="*/ 1046 w 1046"/>
                <a:gd name="T30" fmla="*/ 1372 h 13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6" h="1372">
                  <a:moveTo>
                    <a:pt x="1045" y="497"/>
                  </a:moveTo>
                  <a:lnTo>
                    <a:pt x="1045" y="497"/>
                  </a:lnTo>
                  <a:cubicBezTo>
                    <a:pt x="728" y="283"/>
                    <a:pt x="437" y="85"/>
                    <a:pt x="300" y="0"/>
                  </a:cubicBezTo>
                  <a:cubicBezTo>
                    <a:pt x="300" y="146"/>
                    <a:pt x="300" y="291"/>
                    <a:pt x="300" y="291"/>
                  </a:cubicBezTo>
                  <a:cubicBezTo>
                    <a:pt x="0" y="291"/>
                    <a:pt x="0" y="291"/>
                    <a:pt x="0" y="291"/>
                  </a:cubicBezTo>
                  <a:cubicBezTo>
                    <a:pt x="0" y="1371"/>
                    <a:pt x="0" y="1371"/>
                    <a:pt x="0" y="1371"/>
                  </a:cubicBezTo>
                  <a:cubicBezTo>
                    <a:pt x="822" y="1371"/>
                    <a:pt x="822" y="1371"/>
                    <a:pt x="822" y="1371"/>
                  </a:cubicBezTo>
                  <a:cubicBezTo>
                    <a:pt x="728" y="497"/>
                    <a:pt x="728" y="497"/>
                    <a:pt x="728" y="497"/>
                  </a:cubicBezTo>
                  <a:lnTo>
                    <a:pt x="1045" y="497"/>
                  </a:ln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407" name="Freeform 108"/>
            <p:cNvSpPr>
              <a:spLocks noChangeArrowheads="1"/>
            </p:cNvSpPr>
            <p:nvPr/>
          </p:nvSpPr>
          <p:spPr bwMode="auto">
            <a:xfrm>
              <a:off x="1273175" y="5553075"/>
              <a:ext cx="561975" cy="317500"/>
            </a:xfrm>
            <a:custGeom>
              <a:avLst/>
              <a:gdLst>
                <a:gd name="T0" fmla="*/ 2147483647 w 1561"/>
                <a:gd name="T1" fmla="*/ 2147483647 h 884"/>
                <a:gd name="T2" fmla="*/ 2147483647 w 1561"/>
                <a:gd name="T3" fmla="*/ 2147483647 h 884"/>
                <a:gd name="T4" fmla="*/ 2147483647 w 1561"/>
                <a:gd name="T5" fmla="*/ 0 h 884"/>
                <a:gd name="T6" fmla="*/ 0 w 1561"/>
                <a:gd name="T7" fmla="*/ 0 h 884"/>
                <a:gd name="T8" fmla="*/ 2147483647 w 1561"/>
                <a:gd name="T9" fmla="*/ 2147483647 h 884"/>
                <a:gd name="T10" fmla="*/ 2147483647 w 1561"/>
                <a:gd name="T11" fmla="*/ 2147483647 h 884"/>
                <a:gd name="T12" fmla="*/ 2147483647 w 1561"/>
                <a:gd name="T13" fmla="*/ 2147483647 h 884"/>
                <a:gd name="T14" fmla="*/ 0 60000 65536"/>
                <a:gd name="T15" fmla="*/ 0 60000 65536"/>
                <a:gd name="T16" fmla="*/ 0 60000 65536"/>
                <a:gd name="T17" fmla="*/ 0 60000 65536"/>
                <a:gd name="T18" fmla="*/ 0 60000 65536"/>
                <a:gd name="T19" fmla="*/ 0 60000 65536"/>
                <a:gd name="T20" fmla="*/ 0 60000 65536"/>
                <a:gd name="T21" fmla="*/ 0 w 1561"/>
                <a:gd name="T22" fmla="*/ 0 h 884"/>
                <a:gd name="T23" fmla="*/ 1561 w 1561"/>
                <a:gd name="T24" fmla="*/ 884 h 88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61" h="884">
                  <a:moveTo>
                    <a:pt x="1552" y="823"/>
                  </a:moveTo>
                  <a:lnTo>
                    <a:pt x="1552" y="823"/>
                  </a:lnTo>
                  <a:cubicBezTo>
                    <a:pt x="1543" y="814"/>
                    <a:pt x="883" y="377"/>
                    <a:pt x="317" y="0"/>
                  </a:cubicBezTo>
                  <a:cubicBezTo>
                    <a:pt x="0" y="0"/>
                    <a:pt x="0" y="0"/>
                    <a:pt x="0" y="0"/>
                  </a:cubicBezTo>
                  <a:cubicBezTo>
                    <a:pt x="94" y="874"/>
                    <a:pt x="94" y="874"/>
                    <a:pt x="94" y="874"/>
                  </a:cubicBezTo>
                  <a:cubicBezTo>
                    <a:pt x="1560" y="883"/>
                    <a:pt x="1560" y="883"/>
                    <a:pt x="1560" y="883"/>
                  </a:cubicBezTo>
                  <a:cubicBezTo>
                    <a:pt x="1552" y="857"/>
                    <a:pt x="1552" y="831"/>
                    <a:pt x="1552" y="823"/>
                  </a:cubicBezTo>
                </a:path>
              </a:pathLst>
            </a:custGeom>
            <a:solidFill>
              <a:schemeClr val="tx2">
                <a:alpha val="30196"/>
              </a:schemeClr>
            </a:solidFill>
            <a:ln w="9525">
              <a:solidFill>
                <a:srgbClr val="FFFFFF"/>
              </a:solidFill>
              <a:round/>
              <a:headEnd/>
              <a:tailEnd/>
            </a:ln>
          </p:spPr>
          <p:txBody>
            <a:bodyPr wrap="none" anchor="ctr"/>
            <a:lstStyle/>
            <a:p>
              <a:endParaRPr lang="it-IT"/>
            </a:p>
          </p:txBody>
        </p:sp>
        <p:sp>
          <p:nvSpPr>
            <p:cNvPr id="12408" name="Freeform 109"/>
            <p:cNvSpPr>
              <a:spLocks noChangeArrowheads="1"/>
            </p:cNvSpPr>
            <p:nvPr/>
          </p:nvSpPr>
          <p:spPr bwMode="auto">
            <a:xfrm>
              <a:off x="1011238" y="5343525"/>
              <a:ext cx="107950" cy="136525"/>
            </a:xfrm>
            <a:custGeom>
              <a:avLst/>
              <a:gdLst>
                <a:gd name="T0" fmla="*/ 0 w 301"/>
                <a:gd name="T1" fmla="*/ 2147483647 h 378"/>
                <a:gd name="T2" fmla="*/ 0 w 301"/>
                <a:gd name="T3" fmla="*/ 2147483647 h 378"/>
                <a:gd name="T4" fmla="*/ 2147483647 w 301"/>
                <a:gd name="T5" fmla="*/ 2147483647 h 378"/>
                <a:gd name="T6" fmla="*/ 2147483647 w 301"/>
                <a:gd name="T7" fmla="*/ 0 h 378"/>
                <a:gd name="T8" fmla="*/ 0 w 301"/>
                <a:gd name="T9" fmla="*/ 0 h 378"/>
                <a:gd name="T10" fmla="*/ 0 w 301"/>
                <a:gd name="T11" fmla="*/ 2147483647 h 378"/>
                <a:gd name="T12" fmla="*/ 0 60000 65536"/>
                <a:gd name="T13" fmla="*/ 0 60000 65536"/>
                <a:gd name="T14" fmla="*/ 0 60000 65536"/>
                <a:gd name="T15" fmla="*/ 0 60000 65536"/>
                <a:gd name="T16" fmla="*/ 0 60000 65536"/>
                <a:gd name="T17" fmla="*/ 0 60000 65536"/>
                <a:gd name="T18" fmla="*/ 0 w 301"/>
                <a:gd name="T19" fmla="*/ 0 h 378"/>
                <a:gd name="T20" fmla="*/ 301 w 301"/>
                <a:gd name="T21" fmla="*/ 378 h 378"/>
              </a:gdLst>
              <a:ahLst/>
              <a:cxnLst>
                <a:cxn ang="T12">
                  <a:pos x="T0" y="T1"/>
                </a:cxn>
                <a:cxn ang="T13">
                  <a:pos x="T2" y="T3"/>
                </a:cxn>
                <a:cxn ang="T14">
                  <a:pos x="T4" y="T5"/>
                </a:cxn>
                <a:cxn ang="T15">
                  <a:pos x="T6" y="T7"/>
                </a:cxn>
                <a:cxn ang="T16">
                  <a:pos x="T8" y="T9"/>
                </a:cxn>
                <a:cxn ang="T17">
                  <a:pos x="T10" y="T11"/>
                </a:cxn>
              </a:cxnLst>
              <a:rect l="T18" t="T19" r="T20" b="T21"/>
              <a:pathLst>
                <a:path w="301" h="378">
                  <a:moveTo>
                    <a:pt x="0" y="377"/>
                  </a:moveTo>
                  <a:lnTo>
                    <a:pt x="0" y="377"/>
                  </a:lnTo>
                  <a:cubicBezTo>
                    <a:pt x="300" y="377"/>
                    <a:pt x="300" y="377"/>
                    <a:pt x="300" y="377"/>
                  </a:cubicBezTo>
                  <a:cubicBezTo>
                    <a:pt x="300" y="377"/>
                    <a:pt x="300" y="171"/>
                    <a:pt x="300" y="0"/>
                  </a:cubicBezTo>
                  <a:cubicBezTo>
                    <a:pt x="0" y="0"/>
                    <a:pt x="0" y="0"/>
                    <a:pt x="0" y="0"/>
                  </a:cubicBezTo>
                  <a:lnTo>
                    <a:pt x="0" y="377"/>
                  </a:lnTo>
                </a:path>
              </a:pathLst>
            </a:custGeom>
            <a:solidFill>
              <a:schemeClr val="tx2">
                <a:alpha val="30196"/>
              </a:schemeClr>
            </a:solidFill>
            <a:ln w="9525">
              <a:solidFill>
                <a:srgbClr val="FFFFFF"/>
              </a:solidFill>
              <a:round/>
              <a:headEnd/>
              <a:tailEnd/>
            </a:ln>
          </p:spPr>
          <p:txBody>
            <a:bodyPr wrap="none" anchor="ctr"/>
            <a:lstStyle/>
            <a:p>
              <a:endParaRPr lang="it-IT"/>
            </a:p>
          </p:txBody>
        </p:sp>
      </p:grpSp>
      <p:sp>
        <p:nvSpPr>
          <p:cNvPr id="12291" name="Text Box 2"/>
          <p:cNvSpPr txBox="1">
            <a:spLocks noChangeArrowheads="1"/>
          </p:cNvSpPr>
          <p:nvPr/>
        </p:nvSpPr>
        <p:spPr bwMode="auto">
          <a:xfrm>
            <a:off x="200025" y="109538"/>
            <a:ext cx="87550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a:t>Romania: Intesa Sanpaolo Bank</a:t>
            </a:r>
            <a:endParaRPr lang="sk-SK" sz="2400" b="1"/>
          </a:p>
        </p:txBody>
      </p:sp>
      <p:sp>
        <p:nvSpPr>
          <p:cNvPr id="12292" name="Rectangle 115"/>
          <p:cNvSpPr>
            <a:spLocks noChangeArrowheads="1"/>
          </p:cNvSpPr>
          <p:nvPr/>
        </p:nvSpPr>
        <p:spPr bwMode="auto">
          <a:xfrm>
            <a:off x="701675" y="6264275"/>
            <a:ext cx="8010525" cy="44450"/>
          </a:xfrm>
          <a:prstGeom prst="rect">
            <a:avLst/>
          </a:prstGeom>
          <a:solidFill>
            <a:srgbClr val="FD69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grpSp>
        <p:nvGrpSpPr>
          <p:cNvPr id="12294" name="Group 3"/>
          <p:cNvGrpSpPr>
            <a:grpSpLocks/>
          </p:cNvGrpSpPr>
          <p:nvPr/>
        </p:nvGrpSpPr>
        <p:grpSpPr bwMode="auto">
          <a:xfrm>
            <a:off x="4278313" y="3705225"/>
            <a:ext cx="2165350" cy="1700213"/>
            <a:chOff x="107" y="1063"/>
            <a:chExt cx="2665" cy="1883"/>
          </a:xfrm>
        </p:grpSpPr>
        <p:sp>
          <p:nvSpPr>
            <p:cNvPr id="12300" name="AutoShape 4"/>
            <p:cNvSpPr>
              <a:spLocks noChangeArrowheads="1"/>
            </p:cNvSpPr>
            <p:nvPr/>
          </p:nvSpPr>
          <p:spPr bwMode="auto">
            <a:xfrm>
              <a:off x="137" y="1063"/>
              <a:ext cx="2636" cy="1848"/>
            </a:xfrm>
            <a:custGeom>
              <a:avLst/>
              <a:gdLst>
                <a:gd name="T0" fmla="*/ 0 w 11627"/>
                <a:gd name="T1" fmla="*/ 0 h 8153"/>
                <a:gd name="T2" fmla="*/ 0 w 11627"/>
                <a:gd name="T3" fmla="*/ 0 h 8153"/>
                <a:gd name="T4" fmla="*/ 0 w 11627"/>
                <a:gd name="T5" fmla="*/ 0 h 8153"/>
                <a:gd name="T6" fmla="*/ 0 w 11627"/>
                <a:gd name="T7" fmla="*/ 0 h 8153"/>
                <a:gd name="T8" fmla="*/ 0 w 11627"/>
                <a:gd name="T9" fmla="*/ 0 h 8153"/>
                <a:gd name="T10" fmla="*/ 0 w 11627"/>
                <a:gd name="T11" fmla="*/ 0 h 8153"/>
                <a:gd name="T12" fmla="*/ 0 w 11627"/>
                <a:gd name="T13" fmla="*/ 0 h 8153"/>
                <a:gd name="T14" fmla="*/ 0 w 11627"/>
                <a:gd name="T15" fmla="*/ 0 h 8153"/>
                <a:gd name="T16" fmla="*/ 0 w 11627"/>
                <a:gd name="T17" fmla="*/ 0 h 8153"/>
                <a:gd name="T18" fmla="*/ 0 w 11627"/>
                <a:gd name="T19" fmla="*/ 0 h 8153"/>
                <a:gd name="T20" fmla="*/ 0 w 11627"/>
                <a:gd name="T21" fmla="*/ 0 h 8153"/>
                <a:gd name="T22" fmla="*/ 0 w 11627"/>
                <a:gd name="T23" fmla="*/ 0 h 8153"/>
                <a:gd name="T24" fmla="*/ 0 w 11627"/>
                <a:gd name="T25" fmla="*/ 0 h 8153"/>
                <a:gd name="T26" fmla="*/ 0 w 11627"/>
                <a:gd name="T27" fmla="*/ 0 h 8153"/>
                <a:gd name="T28" fmla="*/ 0 w 11627"/>
                <a:gd name="T29" fmla="*/ 0 h 8153"/>
                <a:gd name="T30" fmla="*/ 0 w 11627"/>
                <a:gd name="T31" fmla="*/ 0 h 8153"/>
                <a:gd name="T32" fmla="*/ 0 w 11627"/>
                <a:gd name="T33" fmla="*/ 0 h 8153"/>
                <a:gd name="T34" fmla="*/ 0 w 11627"/>
                <a:gd name="T35" fmla="*/ 0 h 8153"/>
                <a:gd name="T36" fmla="*/ 0 w 11627"/>
                <a:gd name="T37" fmla="*/ 0 h 8153"/>
                <a:gd name="T38" fmla="*/ 0 w 11627"/>
                <a:gd name="T39" fmla="*/ 0 h 8153"/>
                <a:gd name="T40" fmla="*/ 0 w 11627"/>
                <a:gd name="T41" fmla="*/ 0 h 8153"/>
                <a:gd name="T42" fmla="*/ 0 w 11627"/>
                <a:gd name="T43" fmla="*/ 0 h 8153"/>
                <a:gd name="T44" fmla="*/ 0 w 11627"/>
                <a:gd name="T45" fmla="*/ 0 h 8153"/>
                <a:gd name="T46" fmla="*/ 0 w 11627"/>
                <a:gd name="T47" fmla="*/ 0 h 8153"/>
                <a:gd name="T48" fmla="*/ 0 w 11627"/>
                <a:gd name="T49" fmla="*/ 0 h 8153"/>
                <a:gd name="T50" fmla="*/ 0 w 11627"/>
                <a:gd name="T51" fmla="*/ 0 h 8153"/>
                <a:gd name="T52" fmla="*/ 0 w 11627"/>
                <a:gd name="T53" fmla="*/ 0 h 8153"/>
                <a:gd name="T54" fmla="*/ 0 w 11627"/>
                <a:gd name="T55" fmla="*/ 0 h 8153"/>
                <a:gd name="T56" fmla="*/ 0 w 11627"/>
                <a:gd name="T57" fmla="*/ 0 h 8153"/>
                <a:gd name="T58" fmla="*/ 0 w 11627"/>
                <a:gd name="T59" fmla="*/ 0 h 8153"/>
                <a:gd name="T60" fmla="*/ 0 w 11627"/>
                <a:gd name="T61" fmla="*/ 0 h 8153"/>
                <a:gd name="T62" fmla="*/ 0 w 11627"/>
                <a:gd name="T63" fmla="*/ 0 h 8153"/>
                <a:gd name="T64" fmla="*/ 0 w 11627"/>
                <a:gd name="T65" fmla="*/ 0 h 8153"/>
                <a:gd name="T66" fmla="*/ 0 w 11627"/>
                <a:gd name="T67" fmla="*/ 0 h 8153"/>
                <a:gd name="T68" fmla="*/ 0 w 11627"/>
                <a:gd name="T69" fmla="*/ 0 h 8153"/>
                <a:gd name="T70" fmla="*/ 0 w 11627"/>
                <a:gd name="T71" fmla="*/ 0 h 8153"/>
                <a:gd name="T72" fmla="*/ 0 w 11627"/>
                <a:gd name="T73" fmla="*/ 0 h 8153"/>
                <a:gd name="T74" fmla="*/ 0 w 11627"/>
                <a:gd name="T75" fmla="*/ 0 h 8153"/>
                <a:gd name="T76" fmla="*/ 0 w 11627"/>
                <a:gd name="T77" fmla="*/ 0 h 8153"/>
                <a:gd name="T78" fmla="*/ 0 w 11627"/>
                <a:gd name="T79" fmla="*/ 0 h 8153"/>
                <a:gd name="T80" fmla="*/ 0 w 11627"/>
                <a:gd name="T81" fmla="*/ 0 h 8153"/>
                <a:gd name="T82" fmla="*/ 0 w 11627"/>
                <a:gd name="T83" fmla="*/ 0 h 8153"/>
                <a:gd name="T84" fmla="*/ 0 w 11627"/>
                <a:gd name="T85" fmla="*/ 0 h 8153"/>
                <a:gd name="T86" fmla="*/ 0 w 11627"/>
                <a:gd name="T87" fmla="*/ 0 h 8153"/>
                <a:gd name="T88" fmla="*/ 0 w 11627"/>
                <a:gd name="T89" fmla="*/ 0 h 8153"/>
                <a:gd name="T90" fmla="*/ 0 w 11627"/>
                <a:gd name="T91" fmla="*/ 0 h 8153"/>
                <a:gd name="T92" fmla="*/ 0 w 11627"/>
                <a:gd name="T93" fmla="*/ 0 h 8153"/>
                <a:gd name="T94" fmla="*/ 0 w 11627"/>
                <a:gd name="T95" fmla="*/ 0 h 8153"/>
                <a:gd name="T96" fmla="*/ 0 w 11627"/>
                <a:gd name="T97" fmla="*/ 0 h 8153"/>
                <a:gd name="T98" fmla="*/ 0 w 11627"/>
                <a:gd name="T99" fmla="*/ 0 h 8153"/>
                <a:gd name="T100" fmla="*/ 0 w 11627"/>
                <a:gd name="T101" fmla="*/ 0 h 8153"/>
                <a:gd name="T102" fmla="*/ 0 w 11627"/>
                <a:gd name="T103" fmla="*/ 0 h 8153"/>
                <a:gd name="T104" fmla="*/ 0 w 11627"/>
                <a:gd name="T105" fmla="*/ 0 h 8153"/>
                <a:gd name="T106" fmla="*/ 0 w 11627"/>
                <a:gd name="T107" fmla="*/ 0 h 8153"/>
                <a:gd name="T108" fmla="*/ 0 w 11627"/>
                <a:gd name="T109" fmla="*/ 0 h 8153"/>
                <a:gd name="T110" fmla="*/ 0 w 11627"/>
                <a:gd name="T111" fmla="*/ 0 h 8153"/>
                <a:gd name="T112" fmla="*/ 0 w 11627"/>
                <a:gd name="T113" fmla="*/ 0 h 815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627"/>
                <a:gd name="T172" fmla="*/ 0 h 8153"/>
                <a:gd name="T173" fmla="*/ 11627 w 11627"/>
                <a:gd name="T174" fmla="*/ 8153 h 815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627" h="8153">
                  <a:moveTo>
                    <a:pt x="11571" y="5497"/>
                  </a:moveTo>
                  <a:lnTo>
                    <a:pt x="11571" y="5497"/>
                  </a:lnTo>
                  <a:cubicBezTo>
                    <a:pt x="11571" y="5443"/>
                    <a:pt x="11571" y="5363"/>
                    <a:pt x="11599" y="5336"/>
                  </a:cubicBezTo>
                  <a:cubicBezTo>
                    <a:pt x="11626" y="5310"/>
                    <a:pt x="11599" y="5336"/>
                    <a:pt x="11571" y="5336"/>
                  </a:cubicBezTo>
                  <a:cubicBezTo>
                    <a:pt x="11518" y="5310"/>
                    <a:pt x="11518" y="5255"/>
                    <a:pt x="11518" y="5229"/>
                  </a:cubicBezTo>
                  <a:cubicBezTo>
                    <a:pt x="11571" y="5229"/>
                    <a:pt x="11571" y="5229"/>
                    <a:pt x="11571" y="5229"/>
                  </a:cubicBezTo>
                  <a:cubicBezTo>
                    <a:pt x="11599" y="5068"/>
                    <a:pt x="11571" y="5041"/>
                    <a:pt x="11545" y="4988"/>
                  </a:cubicBezTo>
                  <a:cubicBezTo>
                    <a:pt x="11491" y="4907"/>
                    <a:pt x="11355" y="4880"/>
                    <a:pt x="11275" y="4853"/>
                  </a:cubicBezTo>
                  <a:cubicBezTo>
                    <a:pt x="11193" y="4826"/>
                    <a:pt x="11112" y="4907"/>
                    <a:pt x="11058" y="4907"/>
                  </a:cubicBezTo>
                  <a:cubicBezTo>
                    <a:pt x="10977" y="4907"/>
                    <a:pt x="10977" y="4934"/>
                    <a:pt x="10950" y="4960"/>
                  </a:cubicBezTo>
                  <a:cubicBezTo>
                    <a:pt x="10950" y="4988"/>
                    <a:pt x="10788" y="5095"/>
                    <a:pt x="10734" y="5095"/>
                  </a:cubicBezTo>
                  <a:cubicBezTo>
                    <a:pt x="10679" y="5095"/>
                    <a:pt x="10679" y="5148"/>
                    <a:pt x="10679" y="5175"/>
                  </a:cubicBezTo>
                  <a:cubicBezTo>
                    <a:pt x="10653" y="5175"/>
                    <a:pt x="10598" y="5122"/>
                    <a:pt x="10598" y="5122"/>
                  </a:cubicBezTo>
                  <a:cubicBezTo>
                    <a:pt x="10571" y="5122"/>
                    <a:pt x="10544" y="5095"/>
                    <a:pt x="10544" y="5095"/>
                  </a:cubicBezTo>
                  <a:cubicBezTo>
                    <a:pt x="10544" y="5068"/>
                    <a:pt x="10490" y="5068"/>
                    <a:pt x="10463" y="5095"/>
                  </a:cubicBezTo>
                  <a:cubicBezTo>
                    <a:pt x="10436" y="5095"/>
                    <a:pt x="10518" y="5122"/>
                    <a:pt x="10518" y="5148"/>
                  </a:cubicBezTo>
                  <a:cubicBezTo>
                    <a:pt x="10463" y="5175"/>
                    <a:pt x="10463" y="5175"/>
                    <a:pt x="10463" y="5175"/>
                  </a:cubicBezTo>
                  <a:cubicBezTo>
                    <a:pt x="10463" y="5202"/>
                    <a:pt x="10518" y="5229"/>
                    <a:pt x="10490" y="5229"/>
                  </a:cubicBezTo>
                  <a:cubicBezTo>
                    <a:pt x="10490" y="5255"/>
                    <a:pt x="10355" y="5282"/>
                    <a:pt x="10328" y="5255"/>
                  </a:cubicBezTo>
                  <a:cubicBezTo>
                    <a:pt x="10301" y="5255"/>
                    <a:pt x="10247" y="5229"/>
                    <a:pt x="10193" y="5229"/>
                  </a:cubicBezTo>
                  <a:cubicBezTo>
                    <a:pt x="10139" y="5202"/>
                    <a:pt x="10004" y="5175"/>
                    <a:pt x="9949" y="5122"/>
                  </a:cubicBezTo>
                  <a:cubicBezTo>
                    <a:pt x="9869" y="5068"/>
                    <a:pt x="9841" y="4960"/>
                    <a:pt x="9841" y="4934"/>
                  </a:cubicBezTo>
                  <a:cubicBezTo>
                    <a:pt x="9841" y="4880"/>
                    <a:pt x="9761" y="4907"/>
                    <a:pt x="9706" y="4880"/>
                  </a:cubicBezTo>
                  <a:cubicBezTo>
                    <a:pt x="9679" y="4853"/>
                    <a:pt x="9679" y="4773"/>
                    <a:pt x="9652" y="4719"/>
                  </a:cubicBezTo>
                  <a:cubicBezTo>
                    <a:pt x="9625" y="4666"/>
                    <a:pt x="9571" y="4638"/>
                    <a:pt x="9598" y="4612"/>
                  </a:cubicBezTo>
                  <a:cubicBezTo>
                    <a:pt x="9625" y="4612"/>
                    <a:pt x="9652" y="4612"/>
                    <a:pt x="9679" y="4559"/>
                  </a:cubicBezTo>
                  <a:cubicBezTo>
                    <a:pt x="9706" y="4531"/>
                    <a:pt x="9706" y="4451"/>
                    <a:pt x="9652" y="4344"/>
                  </a:cubicBezTo>
                  <a:cubicBezTo>
                    <a:pt x="9598" y="4236"/>
                    <a:pt x="9598" y="4236"/>
                    <a:pt x="9625" y="4157"/>
                  </a:cubicBezTo>
                  <a:cubicBezTo>
                    <a:pt x="9625" y="4103"/>
                    <a:pt x="9598" y="3996"/>
                    <a:pt x="9571" y="3943"/>
                  </a:cubicBezTo>
                  <a:cubicBezTo>
                    <a:pt x="9544" y="3889"/>
                    <a:pt x="9625" y="3674"/>
                    <a:pt x="9625" y="3647"/>
                  </a:cubicBezTo>
                  <a:cubicBezTo>
                    <a:pt x="9625" y="3593"/>
                    <a:pt x="9625" y="3621"/>
                    <a:pt x="9598" y="3567"/>
                  </a:cubicBezTo>
                  <a:cubicBezTo>
                    <a:pt x="9598" y="3514"/>
                    <a:pt x="9598" y="3487"/>
                    <a:pt x="9598" y="3487"/>
                  </a:cubicBezTo>
                  <a:cubicBezTo>
                    <a:pt x="9598" y="3487"/>
                    <a:pt x="9652" y="3433"/>
                    <a:pt x="9679" y="3406"/>
                  </a:cubicBezTo>
                  <a:cubicBezTo>
                    <a:pt x="9706" y="3380"/>
                    <a:pt x="9679" y="3380"/>
                    <a:pt x="9679" y="3352"/>
                  </a:cubicBezTo>
                  <a:cubicBezTo>
                    <a:pt x="9679" y="3326"/>
                    <a:pt x="9706" y="3272"/>
                    <a:pt x="9733" y="3218"/>
                  </a:cubicBezTo>
                  <a:cubicBezTo>
                    <a:pt x="9761" y="3165"/>
                    <a:pt x="9706" y="3138"/>
                    <a:pt x="9706" y="3085"/>
                  </a:cubicBezTo>
                  <a:cubicBezTo>
                    <a:pt x="9679" y="3030"/>
                    <a:pt x="9706" y="2923"/>
                    <a:pt x="9733" y="2923"/>
                  </a:cubicBezTo>
                  <a:cubicBezTo>
                    <a:pt x="9733" y="2897"/>
                    <a:pt x="9733" y="2816"/>
                    <a:pt x="9679" y="2763"/>
                  </a:cubicBezTo>
                  <a:cubicBezTo>
                    <a:pt x="9652" y="2709"/>
                    <a:pt x="9652" y="2601"/>
                    <a:pt x="9598" y="2575"/>
                  </a:cubicBezTo>
                  <a:cubicBezTo>
                    <a:pt x="9571" y="2522"/>
                    <a:pt x="9544" y="2387"/>
                    <a:pt x="9544" y="2334"/>
                  </a:cubicBezTo>
                  <a:cubicBezTo>
                    <a:pt x="9517" y="2280"/>
                    <a:pt x="9463" y="2172"/>
                    <a:pt x="9382" y="2146"/>
                  </a:cubicBezTo>
                  <a:cubicBezTo>
                    <a:pt x="9328" y="2093"/>
                    <a:pt x="9247" y="2012"/>
                    <a:pt x="9192" y="1985"/>
                  </a:cubicBezTo>
                  <a:cubicBezTo>
                    <a:pt x="9165" y="1958"/>
                    <a:pt x="9165" y="1931"/>
                    <a:pt x="9165" y="1905"/>
                  </a:cubicBezTo>
                  <a:cubicBezTo>
                    <a:pt x="9165" y="1851"/>
                    <a:pt x="9084" y="1771"/>
                    <a:pt x="9084" y="1743"/>
                  </a:cubicBezTo>
                  <a:cubicBezTo>
                    <a:pt x="9057" y="1717"/>
                    <a:pt x="9003" y="1690"/>
                    <a:pt x="8949" y="1690"/>
                  </a:cubicBezTo>
                  <a:cubicBezTo>
                    <a:pt x="8922" y="1663"/>
                    <a:pt x="8868" y="1609"/>
                    <a:pt x="8868" y="1556"/>
                  </a:cubicBezTo>
                  <a:cubicBezTo>
                    <a:pt x="8868" y="1529"/>
                    <a:pt x="8895" y="1502"/>
                    <a:pt x="8868" y="1476"/>
                  </a:cubicBezTo>
                  <a:cubicBezTo>
                    <a:pt x="8841" y="1476"/>
                    <a:pt x="8895" y="1448"/>
                    <a:pt x="8895" y="1395"/>
                  </a:cubicBezTo>
                  <a:cubicBezTo>
                    <a:pt x="8895" y="1368"/>
                    <a:pt x="8787" y="1368"/>
                    <a:pt x="8759" y="1342"/>
                  </a:cubicBezTo>
                  <a:cubicBezTo>
                    <a:pt x="8733" y="1314"/>
                    <a:pt x="8733" y="1288"/>
                    <a:pt x="8706" y="1261"/>
                  </a:cubicBezTo>
                  <a:cubicBezTo>
                    <a:pt x="8679" y="1234"/>
                    <a:pt x="8706" y="1207"/>
                    <a:pt x="8679" y="1207"/>
                  </a:cubicBezTo>
                  <a:cubicBezTo>
                    <a:pt x="8651" y="1180"/>
                    <a:pt x="8543" y="1046"/>
                    <a:pt x="8516" y="1020"/>
                  </a:cubicBezTo>
                  <a:cubicBezTo>
                    <a:pt x="8463" y="966"/>
                    <a:pt x="8490" y="966"/>
                    <a:pt x="8516" y="939"/>
                  </a:cubicBezTo>
                  <a:cubicBezTo>
                    <a:pt x="8516" y="913"/>
                    <a:pt x="8490" y="913"/>
                    <a:pt x="8490" y="885"/>
                  </a:cubicBezTo>
                  <a:cubicBezTo>
                    <a:pt x="8463" y="859"/>
                    <a:pt x="8463" y="805"/>
                    <a:pt x="8463" y="778"/>
                  </a:cubicBezTo>
                  <a:cubicBezTo>
                    <a:pt x="8463" y="751"/>
                    <a:pt x="8408" y="725"/>
                    <a:pt x="8408" y="671"/>
                  </a:cubicBezTo>
                  <a:cubicBezTo>
                    <a:pt x="8408" y="644"/>
                    <a:pt x="8381" y="644"/>
                    <a:pt x="8355" y="644"/>
                  </a:cubicBezTo>
                  <a:cubicBezTo>
                    <a:pt x="8327" y="617"/>
                    <a:pt x="8355" y="591"/>
                    <a:pt x="8381" y="591"/>
                  </a:cubicBezTo>
                  <a:cubicBezTo>
                    <a:pt x="8408" y="563"/>
                    <a:pt x="8355" y="537"/>
                    <a:pt x="8355" y="510"/>
                  </a:cubicBezTo>
                  <a:cubicBezTo>
                    <a:pt x="8355" y="484"/>
                    <a:pt x="8246" y="403"/>
                    <a:pt x="8219" y="376"/>
                  </a:cubicBezTo>
                  <a:cubicBezTo>
                    <a:pt x="8192" y="349"/>
                    <a:pt x="8219" y="296"/>
                    <a:pt x="8219" y="269"/>
                  </a:cubicBezTo>
                  <a:cubicBezTo>
                    <a:pt x="8219" y="242"/>
                    <a:pt x="8165" y="269"/>
                    <a:pt x="8138" y="242"/>
                  </a:cubicBezTo>
                  <a:cubicBezTo>
                    <a:pt x="8111" y="215"/>
                    <a:pt x="8138" y="134"/>
                    <a:pt x="8084" y="162"/>
                  </a:cubicBezTo>
                  <a:cubicBezTo>
                    <a:pt x="8002" y="188"/>
                    <a:pt x="7976" y="81"/>
                    <a:pt x="7922" y="54"/>
                  </a:cubicBezTo>
                  <a:cubicBezTo>
                    <a:pt x="7841" y="0"/>
                    <a:pt x="7732" y="27"/>
                    <a:pt x="7705" y="54"/>
                  </a:cubicBezTo>
                  <a:cubicBezTo>
                    <a:pt x="7651" y="81"/>
                    <a:pt x="7651" y="108"/>
                    <a:pt x="7624" y="108"/>
                  </a:cubicBezTo>
                  <a:cubicBezTo>
                    <a:pt x="7570" y="134"/>
                    <a:pt x="7543" y="108"/>
                    <a:pt x="7489" y="134"/>
                  </a:cubicBezTo>
                  <a:cubicBezTo>
                    <a:pt x="7435" y="162"/>
                    <a:pt x="7354" y="162"/>
                    <a:pt x="7354" y="188"/>
                  </a:cubicBezTo>
                  <a:cubicBezTo>
                    <a:pt x="7354" y="242"/>
                    <a:pt x="7327" y="349"/>
                    <a:pt x="7273" y="376"/>
                  </a:cubicBezTo>
                  <a:cubicBezTo>
                    <a:pt x="7245" y="403"/>
                    <a:pt x="7245" y="456"/>
                    <a:pt x="7219" y="484"/>
                  </a:cubicBezTo>
                  <a:cubicBezTo>
                    <a:pt x="7192" y="537"/>
                    <a:pt x="7110" y="537"/>
                    <a:pt x="7029" y="537"/>
                  </a:cubicBezTo>
                  <a:cubicBezTo>
                    <a:pt x="6975" y="537"/>
                    <a:pt x="6894" y="563"/>
                    <a:pt x="6813" y="563"/>
                  </a:cubicBezTo>
                  <a:cubicBezTo>
                    <a:pt x="6759" y="537"/>
                    <a:pt x="6759" y="591"/>
                    <a:pt x="6732" y="617"/>
                  </a:cubicBezTo>
                  <a:cubicBezTo>
                    <a:pt x="6678" y="617"/>
                    <a:pt x="6461" y="617"/>
                    <a:pt x="6407" y="617"/>
                  </a:cubicBezTo>
                  <a:cubicBezTo>
                    <a:pt x="6353" y="617"/>
                    <a:pt x="6272" y="644"/>
                    <a:pt x="6192" y="671"/>
                  </a:cubicBezTo>
                  <a:cubicBezTo>
                    <a:pt x="6083" y="671"/>
                    <a:pt x="6056" y="751"/>
                    <a:pt x="6002" y="832"/>
                  </a:cubicBezTo>
                  <a:cubicBezTo>
                    <a:pt x="5948" y="913"/>
                    <a:pt x="5759" y="992"/>
                    <a:pt x="5705" y="992"/>
                  </a:cubicBezTo>
                  <a:cubicBezTo>
                    <a:pt x="5624" y="966"/>
                    <a:pt x="5624" y="832"/>
                    <a:pt x="5544" y="805"/>
                  </a:cubicBezTo>
                  <a:cubicBezTo>
                    <a:pt x="5435" y="778"/>
                    <a:pt x="5435" y="725"/>
                    <a:pt x="5435" y="698"/>
                  </a:cubicBezTo>
                  <a:cubicBezTo>
                    <a:pt x="5435" y="671"/>
                    <a:pt x="5408" y="644"/>
                    <a:pt x="5327" y="591"/>
                  </a:cubicBezTo>
                  <a:cubicBezTo>
                    <a:pt x="5246" y="537"/>
                    <a:pt x="5191" y="563"/>
                    <a:pt x="5138" y="563"/>
                  </a:cubicBezTo>
                  <a:cubicBezTo>
                    <a:pt x="5083" y="563"/>
                    <a:pt x="5111" y="591"/>
                    <a:pt x="5083" y="617"/>
                  </a:cubicBezTo>
                  <a:cubicBezTo>
                    <a:pt x="5056" y="644"/>
                    <a:pt x="5056" y="617"/>
                    <a:pt x="5003" y="617"/>
                  </a:cubicBezTo>
                  <a:cubicBezTo>
                    <a:pt x="4975" y="591"/>
                    <a:pt x="4975" y="617"/>
                    <a:pt x="4922" y="644"/>
                  </a:cubicBezTo>
                  <a:cubicBezTo>
                    <a:pt x="4867" y="671"/>
                    <a:pt x="4867" y="617"/>
                    <a:pt x="4840" y="617"/>
                  </a:cubicBezTo>
                  <a:cubicBezTo>
                    <a:pt x="4813" y="617"/>
                    <a:pt x="4787" y="644"/>
                    <a:pt x="4732" y="617"/>
                  </a:cubicBezTo>
                  <a:cubicBezTo>
                    <a:pt x="4705" y="591"/>
                    <a:pt x="4651" y="563"/>
                    <a:pt x="4597" y="563"/>
                  </a:cubicBezTo>
                  <a:cubicBezTo>
                    <a:pt x="4543" y="563"/>
                    <a:pt x="4516" y="617"/>
                    <a:pt x="4462" y="617"/>
                  </a:cubicBezTo>
                  <a:cubicBezTo>
                    <a:pt x="4434" y="591"/>
                    <a:pt x="4434" y="537"/>
                    <a:pt x="4381" y="537"/>
                  </a:cubicBezTo>
                  <a:cubicBezTo>
                    <a:pt x="4326" y="510"/>
                    <a:pt x="4164" y="484"/>
                    <a:pt x="4110" y="456"/>
                  </a:cubicBezTo>
                  <a:cubicBezTo>
                    <a:pt x="4083" y="456"/>
                    <a:pt x="4056" y="484"/>
                    <a:pt x="4029" y="510"/>
                  </a:cubicBezTo>
                  <a:cubicBezTo>
                    <a:pt x="3975" y="510"/>
                    <a:pt x="3975" y="484"/>
                    <a:pt x="3921" y="484"/>
                  </a:cubicBezTo>
                  <a:cubicBezTo>
                    <a:pt x="3894" y="484"/>
                    <a:pt x="3867" y="429"/>
                    <a:pt x="3840" y="403"/>
                  </a:cubicBezTo>
                  <a:cubicBezTo>
                    <a:pt x="3785" y="403"/>
                    <a:pt x="3813" y="322"/>
                    <a:pt x="3759" y="322"/>
                  </a:cubicBezTo>
                  <a:cubicBezTo>
                    <a:pt x="3732" y="322"/>
                    <a:pt x="3732" y="296"/>
                    <a:pt x="3677" y="296"/>
                  </a:cubicBezTo>
                  <a:cubicBezTo>
                    <a:pt x="3651" y="269"/>
                    <a:pt x="3597" y="322"/>
                    <a:pt x="3597" y="349"/>
                  </a:cubicBezTo>
                  <a:cubicBezTo>
                    <a:pt x="3569" y="403"/>
                    <a:pt x="3516" y="456"/>
                    <a:pt x="3489" y="484"/>
                  </a:cubicBezTo>
                  <a:cubicBezTo>
                    <a:pt x="3461" y="484"/>
                    <a:pt x="3381" y="429"/>
                    <a:pt x="3381" y="484"/>
                  </a:cubicBezTo>
                  <a:cubicBezTo>
                    <a:pt x="3381" y="510"/>
                    <a:pt x="3353" y="510"/>
                    <a:pt x="3326" y="510"/>
                  </a:cubicBezTo>
                  <a:cubicBezTo>
                    <a:pt x="3299" y="510"/>
                    <a:pt x="3272" y="591"/>
                    <a:pt x="3245" y="617"/>
                  </a:cubicBezTo>
                  <a:cubicBezTo>
                    <a:pt x="3218" y="644"/>
                    <a:pt x="3191" y="644"/>
                    <a:pt x="3164" y="644"/>
                  </a:cubicBezTo>
                  <a:cubicBezTo>
                    <a:pt x="3137" y="671"/>
                    <a:pt x="3191" y="698"/>
                    <a:pt x="3191" y="725"/>
                  </a:cubicBezTo>
                  <a:cubicBezTo>
                    <a:pt x="3191" y="751"/>
                    <a:pt x="3137" y="725"/>
                    <a:pt x="3083" y="751"/>
                  </a:cubicBezTo>
                  <a:cubicBezTo>
                    <a:pt x="3056" y="751"/>
                    <a:pt x="3056" y="832"/>
                    <a:pt x="2975" y="832"/>
                  </a:cubicBezTo>
                  <a:cubicBezTo>
                    <a:pt x="2867" y="859"/>
                    <a:pt x="2812" y="778"/>
                    <a:pt x="2785" y="778"/>
                  </a:cubicBezTo>
                  <a:cubicBezTo>
                    <a:pt x="2758" y="778"/>
                    <a:pt x="2758" y="859"/>
                    <a:pt x="2732" y="885"/>
                  </a:cubicBezTo>
                  <a:cubicBezTo>
                    <a:pt x="2704" y="885"/>
                    <a:pt x="2623" y="859"/>
                    <a:pt x="2569" y="913"/>
                  </a:cubicBezTo>
                  <a:cubicBezTo>
                    <a:pt x="2542" y="939"/>
                    <a:pt x="2488" y="1020"/>
                    <a:pt x="2461" y="1073"/>
                  </a:cubicBezTo>
                  <a:cubicBezTo>
                    <a:pt x="2461" y="1126"/>
                    <a:pt x="2434" y="1126"/>
                    <a:pt x="2380" y="1154"/>
                  </a:cubicBezTo>
                  <a:cubicBezTo>
                    <a:pt x="2326" y="1154"/>
                    <a:pt x="2299" y="1234"/>
                    <a:pt x="2245" y="1261"/>
                  </a:cubicBezTo>
                  <a:cubicBezTo>
                    <a:pt x="2218" y="1261"/>
                    <a:pt x="2271" y="1395"/>
                    <a:pt x="2245" y="1448"/>
                  </a:cubicBezTo>
                  <a:cubicBezTo>
                    <a:pt x="2218" y="1529"/>
                    <a:pt x="2163" y="1529"/>
                    <a:pt x="2110" y="1556"/>
                  </a:cubicBezTo>
                  <a:cubicBezTo>
                    <a:pt x="2083" y="1583"/>
                    <a:pt x="2083" y="1663"/>
                    <a:pt x="2055" y="1690"/>
                  </a:cubicBezTo>
                  <a:cubicBezTo>
                    <a:pt x="2028" y="1717"/>
                    <a:pt x="2028" y="1797"/>
                    <a:pt x="2001" y="1824"/>
                  </a:cubicBezTo>
                  <a:cubicBezTo>
                    <a:pt x="1975" y="1851"/>
                    <a:pt x="1975" y="1905"/>
                    <a:pt x="1947" y="1931"/>
                  </a:cubicBezTo>
                  <a:cubicBezTo>
                    <a:pt x="1920" y="1985"/>
                    <a:pt x="1839" y="2038"/>
                    <a:pt x="1785" y="2065"/>
                  </a:cubicBezTo>
                  <a:cubicBezTo>
                    <a:pt x="1758" y="2093"/>
                    <a:pt x="1812" y="2119"/>
                    <a:pt x="1812" y="2146"/>
                  </a:cubicBezTo>
                  <a:cubicBezTo>
                    <a:pt x="1812" y="2172"/>
                    <a:pt x="1812" y="2172"/>
                    <a:pt x="1785" y="2226"/>
                  </a:cubicBezTo>
                  <a:cubicBezTo>
                    <a:pt x="1785" y="2253"/>
                    <a:pt x="1758" y="2280"/>
                    <a:pt x="1704" y="2307"/>
                  </a:cubicBezTo>
                  <a:cubicBezTo>
                    <a:pt x="1677" y="2307"/>
                    <a:pt x="1731" y="2360"/>
                    <a:pt x="1731" y="2387"/>
                  </a:cubicBezTo>
                  <a:cubicBezTo>
                    <a:pt x="1731" y="2414"/>
                    <a:pt x="1650" y="2414"/>
                    <a:pt x="1622" y="2414"/>
                  </a:cubicBezTo>
                  <a:cubicBezTo>
                    <a:pt x="1622" y="2441"/>
                    <a:pt x="1596" y="2548"/>
                    <a:pt x="1569" y="2548"/>
                  </a:cubicBezTo>
                  <a:cubicBezTo>
                    <a:pt x="1569" y="2575"/>
                    <a:pt x="1622" y="2601"/>
                    <a:pt x="1596" y="2655"/>
                  </a:cubicBezTo>
                  <a:cubicBezTo>
                    <a:pt x="1569" y="2682"/>
                    <a:pt x="1487" y="2655"/>
                    <a:pt x="1487" y="2709"/>
                  </a:cubicBezTo>
                  <a:cubicBezTo>
                    <a:pt x="1514" y="2763"/>
                    <a:pt x="1461" y="2763"/>
                    <a:pt x="1434" y="2789"/>
                  </a:cubicBezTo>
                  <a:cubicBezTo>
                    <a:pt x="1406" y="2789"/>
                    <a:pt x="1406" y="2789"/>
                    <a:pt x="1352" y="2789"/>
                  </a:cubicBezTo>
                  <a:cubicBezTo>
                    <a:pt x="1326" y="2789"/>
                    <a:pt x="1352" y="2789"/>
                    <a:pt x="1326" y="2870"/>
                  </a:cubicBezTo>
                  <a:cubicBezTo>
                    <a:pt x="1298" y="2951"/>
                    <a:pt x="1271" y="2977"/>
                    <a:pt x="1244" y="3004"/>
                  </a:cubicBezTo>
                  <a:cubicBezTo>
                    <a:pt x="1244" y="3004"/>
                    <a:pt x="1298" y="3085"/>
                    <a:pt x="1298" y="3111"/>
                  </a:cubicBezTo>
                  <a:cubicBezTo>
                    <a:pt x="1298" y="3138"/>
                    <a:pt x="1244" y="3138"/>
                    <a:pt x="1190" y="3165"/>
                  </a:cubicBezTo>
                  <a:cubicBezTo>
                    <a:pt x="1163" y="3165"/>
                    <a:pt x="1163" y="3326"/>
                    <a:pt x="1136" y="3352"/>
                  </a:cubicBezTo>
                  <a:cubicBezTo>
                    <a:pt x="1108" y="3380"/>
                    <a:pt x="1082" y="3352"/>
                    <a:pt x="1055" y="3352"/>
                  </a:cubicBezTo>
                  <a:cubicBezTo>
                    <a:pt x="1028" y="3380"/>
                    <a:pt x="1028" y="3406"/>
                    <a:pt x="1001" y="3433"/>
                  </a:cubicBezTo>
                  <a:cubicBezTo>
                    <a:pt x="1001" y="3460"/>
                    <a:pt x="947" y="3380"/>
                    <a:pt x="920" y="3406"/>
                  </a:cubicBezTo>
                  <a:cubicBezTo>
                    <a:pt x="865" y="3406"/>
                    <a:pt x="865" y="3352"/>
                    <a:pt x="812" y="3380"/>
                  </a:cubicBezTo>
                  <a:cubicBezTo>
                    <a:pt x="785" y="3406"/>
                    <a:pt x="812" y="3380"/>
                    <a:pt x="730" y="3352"/>
                  </a:cubicBezTo>
                  <a:cubicBezTo>
                    <a:pt x="649" y="3326"/>
                    <a:pt x="649" y="3380"/>
                    <a:pt x="622" y="3406"/>
                  </a:cubicBezTo>
                  <a:cubicBezTo>
                    <a:pt x="622" y="3406"/>
                    <a:pt x="622" y="3406"/>
                    <a:pt x="649" y="3487"/>
                  </a:cubicBezTo>
                  <a:cubicBezTo>
                    <a:pt x="649" y="3540"/>
                    <a:pt x="595" y="3487"/>
                    <a:pt x="595" y="3514"/>
                  </a:cubicBezTo>
                  <a:cubicBezTo>
                    <a:pt x="568" y="3540"/>
                    <a:pt x="487" y="3593"/>
                    <a:pt x="433" y="3593"/>
                  </a:cubicBezTo>
                  <a:cubicBezTo>
                    <a:pt x="406" y="3593"/>
                    <a:pt x="352" y="3514"/>
                    <a:pt x="325" y="3487"/>
                  </a:cubicBezTo>
                  <a:cubicBezTo>
                    <a:pt x="271" y="3460"/>
                    <a:pt x="298" y="3540"/>
                    <a:pt x="244" y="3567"/>
                  </a:cubicBezTo>
                  <a:cubicBezTo>
                    <a:pt x="216" y="3593"/>
                    <a:pt x="163" y="3540"/>
                    <a:pt x="108" y="3514"/>
                  </a:cubicBezTo>
                  <a:cubicBezTo>
                    <a:pt x="81" y="3514"/>
                    <a:pt x="28" y="3514"/>
                    <a:pt x="28" y="3540"/>
                  </a:cubicBezTo>
                  <a:cubicBezTo>
                    <a:pt x="0" y="3567"/>
                    <a:pt x="81" y="3674"/>
                    <a:pt x="108" y="3755"/>
                  </a:cubicBezTo>
                  <a:cubicBezTo>
                    <a:pt x="108" y="3809"/>
                    <a:pt x="108" y="3835"/>
                    <a:pt x="163" y="3862"/>
                  </a:cubicBezTo>
                  <a:cubicBezTo>
                    <a:pt x="216" y="3889"/>
                    <a:pt x="244" y="3889"/>
                    <a:pt x="271" y="3943"/>
                  </a:cubicBezTo>
                  <a:cubicBezTo>
                    <a:pt x="298" y="3996"/>
                    <a:pt x="379" y="3969"/>
                    <a:pt x="379" y="3996"/>
                  </a:cubicBezTo>
                  <a:cubicBezTo>
                    <a:pt x="406" y="4050"/>
                    <a:pt x="460" y="4103"/>
                    <a:pt x="460" y="4131"/>
                  </a:cubicBezTo>
                  <a:cubicBezTo>
                    <a:pt x="460" y="4157"/>
                    <a:pt x="514" y="4236"/>
                    <a:pt x="541" y="4290"/>
                  </a:cubicBezTo>
                  <a:cubicBezTo>
                    <a:pt x="568" y="4317"/>
                    <a:pt x="622" y="4209"/>
                    <a:pt x="622" y="4236"/>
                  </a:cubicBezTo>
                  <a:cubicBezTo>
                    <a:pt x="622" y="4263"/>
                    <a:pt x="622" y="4371"/>
                    <a:pt x="622" y="4397"/>
                  </a:cubicBezTo>
                  <a:cubicBezTo>
                    <a:pt x="622" y="4451"/>
                    <a:pt x="568" y="4424"/>
                    <a:pt x="568" y="4505"/>
                  </a:cubicBezTo>
                  <a:cubicBezTo>
                    <a:pt x="568" y="4559"/>
                    <a:pt x="622" y="4612"/>
                    <a:pt x="622" y="4638"/>
                  </a:cubicBezTo>
                  <a:cubicBezTo>
                    <a:pt x="622" y="4666"/>
                    <a:pt x="595" y="4666"/>
                    <a:pt x="595" y="4719"/>
                  </a:cubicBezTo>
                  <a:cubicBezTo>
                    <a:pt x="568" y="4746"/>
                    <a:pt x="677" y="4773"/>
                    <a:pt x="677" y="4800"/>
                  </a:cubicBezTo>
                  <a:cubicBezTo>
                    <a:pt x="677" y="4826"/>
                    <a:pt x="757" y="4880"/>
                    <a:pt x="785" y="4934"/>
                  </a:cubicBezTo>
                  <a:cubicBezTo>
                    <a:pt x="785" y="4988"/>
                    <a:pt x="920" y="5041"/>
                    <a:pt x="947" y="5068"/>
                  </a:cubicBezTo>
                  <a:cubicBezTo>
                    <a:pt x="1001" y="5095"/>
                    <a:pt x="1001" y="5068"/>
                    <a:pt x="1028" y="5068"/>
                  </a:cubicBezTo>
                  <a:cubicBezTo>
                    <a:pt x="1055" y="5068"/>
                    <a:pt x="1055" y="5122"/>
                    <a:pt x="1082" y="5175"/>
                  </a:cubicBezTo>
                  <a:cubicBezTo>
                    <a:pt x="1108" y="5202"/>
                    <a:pt x="1326" y="5229"/>
                    <a:pt x="1352" y="5255"/>
                  </a:cubicBezTo>
                  <a:cubicBezTo>
                    <a:pt x="1379" y="5282"/>
                    <a:pt x="1461" y="5363"/>
                    <a:pt x="1461" y="5389"/>
                  </a:cubicBezTo>
                  <a:cubicBezTo>
                    <a:pt x="1461" y="5417"/>
                    <a:pt x="1406" y="5417"/>
                    <a:pt x="1379" y="5417"/>
                  </a:cubicBezTo>
                  <a:cubicBezTo>
                    <a:pt x="1352" y="5443"/>
                    <a:pt x="1352" y="5524"/>
                    <a:pt x="1352" y="5551"/>
                  </a:cubicBezTo>
                  <a:cubicBezTo>
                    <a:pt x="1352" y="5577"/>
                    <a:pt x="1271" y="5577"/>
                    <a:pt x="1271" y="5577"/>
                  </a:cubicBezTo>
                  <a:cubicBezTo>
                    <a:pt x="1244" y="5604"/>
                    <a:pt x="1298" y="5604"/>
                    <a:pt x="1298" y="5631"/>
                  </a:cubicBezTo>
                  <a:cubicBezTo>
                    <a:pt x="1298" y="5658"/>
                    <a:pt x="1298" y="5658"/>
                    <a:pt x="1298" y="5685"/>
                  </a:cubicBezTo>
                  <a:cubicBezTo>
                    <a:pt x="1298" y="5685"/>
                    <a:pt x="1352" y="5685"/>
                    <a:pt x="1379" y="5685"/>
                  </a:cubicBezTo>
                  <a:cubicBezTo>
                    <a:pt x="1406" y="5711"/>
                    <a:pt x="1487" y="5739"/>
                    <a:pt x="1487" y="5792"/>
                  </a:cubicBezTo>
                  <a:cubicBezTo>
                    <a:pt x="1487" y="5846"/>
                    <a:pt x="1298" y="5818"/>
                    <a:pt x="1271" y="5846"/>
                  </a:cubicBezTo>
                  <a:cubicBezTo>
                    <a:pt x="1217" y="5872"/>
                    <a:pt x="1244" y="5953"/>
                    <a:pt x="1271" y="5980"/>
                  </a:cubicBezTo>
                  <a:cubicBezTo>
                    <a:pt x="1298" y="6033"/>
                    <a:pt x="1461" y="6006"/>
                    <a:pt x="1487" y="6033"/>
                  </a:cubicBezTo>
                  <a:cubicBezTo>
                    <a:pt x="1514" y="6060"/>
                    <a:pt x="1542" y="6168"/>
                    <a:pt x="1542" y="6194"/>
                  </a:cubicBezTo>
                  <a:cubicBezTo>
                    <a:pt x="1542" y="6221"/>
                    <a:pt x="1677" y="6247"/>
                    <a:pt x="1731" y="6247"/>
                  </a:cubicBezTo>
                  <a:cubicBezTo>
                    <a:pt x="1785" y="6247"/>
                    <a:pt x="1975" y="6275"/>
                    <a:pt x="2028" y="6302"/>
                  </a:cubicBezTo>
                  <a:cubicBezTo>
                    <a:pt x="2083" y="6355"/>
                    <a:pt x="2028" y="6355"/>
                    <a:pt x="2055" y="6409"/>
                  </a:cubicBezTo>
                  <a:cubicBezTo>
                    <a:pt x="2055" y="6462"/>
                    <a:pt x="2083" y="6435"/>
                    <a:pt x="2083" y="6489"/>
                  </a:cubicBezTo>
                  <a:cubicBezTo>
                    <a:pt x="2083" y="6516"/>
                    <a:pt x="2163" y="6569"/>
                    <a:pt x="2191" y="6569"/>
                  </a:cubicBezTo>
                  <a:cubicBezTo>
                    <a:pt x="2245" y="6569"/>
                    <a:pt x="2434" y="6247"/>
                    <a:pt x="2461" y="6247"/>
                  </a:cubicBezTo>
                  <a:cubicBezTo>
                    <a:pt x="2488" y="6247"/>
                    <a:pt x="2569" y="6168"/>
                    <a:pt x="2596" y="6168"/>
                  </a:cubicBezTo>
                  <a:cubicBezTo>
                    <a:pt x="2623" y="6194"/>
                    <a:pt x="2677" y="6275"/>
                    <a:pt x="2732" y="6328"/>
                  </a:cubicBezTo>
                  <a:cubicBezTo>
                    <a:pt x="2812" y="6381"/>
                    <a:pt x="2840" y="6328"/>
                    <a:pt x="2867" y="6355"/>
                  </a:cubicBezTo>
                  <a:cubicBezTo>
                    <a:pt x="2920" y="6381"/>
                    <a:pt x="2948" y="6435"/>
                    <a:pt x="2948" y="6462"/>
                  </a:cubicBezTo>
                  <a:cubicBezTo>
                    <a:pt x="2948" y="6516"/>
                    <a:pt x="2920" y="6516"/>
                    <a:pt x="2867" y="6516"/>
                  </a:cubicBezTo>
                  <a:cubicBezTo>
                    <a:pt x="2840" y="6543"/>
                    <a:pt x="2785" y="6462"/>
                    <a:pt x="2758" y="6462"/>
                  </a:cubicBezTo>
                  <a:cubicBezTo>
                    <a:pt x="2732" y="6489"/>
                    <a:pt x="2732" y="6516"/>
                    <a:pt x="2704" y="6569"/>
                  </a:cubicBezTo>
                  <a:cubicBezTo>
                    <a:pt x="2650" y="6623"/>
                    <a:pt x="2596" y="6569"/>
                    <a:pt x="2569" y="6597"/>
                  </a:cubicBezTo>
                  <a:cubicBezTo>
                    <a:pt x="2569" y="6623"/>
                    <a:pt x="2623" y="6677"/>
                    <a:pt x="2623" y="6703"/>
                  </a:cubicBezTo>
                  <a:cubicBezTo>
                    <a:pt x="2623" y="6731"/>
                    <a:pt x="2677" y="6838"/>
                    <a:pt x="2704" y="6864"/>
                  </a:cubicBezTo>
                  <a:cubicBezTo>
                    <a:pt x="2732" y="6919"/>
                    <a:pt x="2785" y="6919"/>
                    <a:pt x="2840" y="6945"/>
                  </a:cubicBezTo>
                  <a:cubicBezTo>
                    <a:pt x="2867" y="6972"/>
                    <a:pt x="2840" y="7025"/>
                    <a:pt x="2840" y="7052"/>
                  </a:cubicBezTo>
                  <a:cubicBezTo>
                    <a:pt x="2840" y="7052"/>
                    <a:pt x="2867" y="7052"/>
                    <a:pt x="2948" y="7079"/>
                  </a:cubicBezTo>
                  <a:cubicBezTo>
                    <a:pt x="3002" y="7106"/>
                    <a:pt x="2948" y="7079"/>
                    <a:pt x="2975" y="7160"/>
                  </a:cubicBezTo>
                  <a:cubicBezTo>
                    <a:pt x="3002" y="7213"/>
                    <a:pt x="3056" y="7213"/>
                    <a:pt x="3110" y="7240"/>
                  </a:cubicBezTo>
                  <a:cubicBezTo>
                    <a:pt x="3164" y="7267"/>
                    <a:pt x="3191" y="7267"/>
                    <a:pt x="3272" y="7294"/>
                  </a:cubicBezTo>
                  <a:cubicBezTo>
                    <a:pt x="3326" y="7348"/>
                    <a:pt x="3272" y="7401"/>
                    <a:pt x="3245" y="7427"/>
                  </a:cubicBezTo>
                  <a:cubicBezTo>
                    <a:pt x="3191" y="7455"/>
                    <a:pt x="3110" y="7455"/>
                    <a:pt x="3083" y="7481"/>
                  </a:cubicBezTo>
                  <a:cubicBezTo>
                    <a:pt x="3056" y="7508"/>
                    <a:pt x="3028" y="7615"/>
                    <a:pt x="3028" y="7669"/>
                  </a:cubicBezTo>
                  <a:cubicBezTo>
                    <a:pt x="3056" y="7749"/>
                    <a:pt x="3272" y="7777"/>
                    <a:pt x="3353" y="7803"/>
                  </a:cubicBezTo>
                  <a:cubicBezTo>
                    <a:pt x="3461" y="7803"/>
                    <a:pt x="3516" y="7723"/>
                    <a:pt x="3542" y="7723"/>
                  </a:cubicBezTo>
                  <a:cubicBezTo>
                    <a:pt x="3569" y="7723"/>
                    <a:pt x="3705" y="7723"/>
                    <a:pt x="3759" y="7723"/>
                  </a:cubicBezTo>
                  <a:cubicBezTo>
                    <a:pt x="3813" y="7723"/>
                    <a:pt x="3948" y="7830"/>
                    <a:pt x="4002" y="7830"/>
                  </a:cubicBezTo>
                  <a:cubicBezTo>
                    <a:pt x="4029" y="7830"/>
                    <a:pt x="4083" y="7803"/>
                    <a:pt x="4138" y="7803"/>
                  </a:cubicBezTo>
                  <a:cubicBezTo>
                    <a:pt x="4164" y="7803"/>
                    <a:pt x="4381" y="7911"/>
                    <a:pt x="4434" y="7911"/>
                  </a:cubicBezTo>
                  <a:cubicBezTo>
                    <a:pt x="4489" y="7937"/>
                    <a:pt x="4624" y="8018"/>
                    <a:pt x="4705" y="8044"/>
                  </a:cubicBezTo>
                  <a:cubicBezTo>
                    <a:pt x="4813" y="8044"/>
                    <a:pt x="4867" y="8044"/>
                    <a:pt x="4922" y="8044"/>
                  </a:cubicBezTo>
                  <a:cubicBezTo>
                    <a:pt x="5003" y="8044"/>
                    <a:pt x="5111" y="7937"/>
                    <a:pt x="5165" y="7911"/>
                  </a:cubicBezTo>
                  <a:cubicBezTo>
                    <a:pt x="5191" y="7911"/>
                    <a:pt x="5273" y="7937"/>
                    <a:pt x="5327" y="7991"/>
                  </a:cubicBezTo>
                  <a:cubicBezTo>
                    <a:pt x="5381" y="8018"/>
                    <a:pt x="5759" y="7964"/>
                    <a:pt x="5813" y="7991"/>
                  </a:cubicBezTo>
                  <a:cubicBezTo>
                    <a:pt x="5867" y="8018"/>
                    <a:pt x="6002" y="8044"/>
                    <a:pt x="6056" y="8044"/>
                  </a:cubicBezTo>
                  <a:cubicBezTo>
                    <a:pt x="6110" y="8071"/>
                    <a:pt x="6164" y="8125"/>
                    <a:pt x="6218" y="8152"/>
                  </a:cubicBezTo>
                  <a:cubicBezTo>
                    <a:pt x="6272" y="8152"/>
                    <a:pt x="6435" y="8125"/>
                    <a:pt x="6461" y="8125"/>
                  </a:cubicBezTo>
                  <a:cubicBezTo>
                    <a:pt x="6516" y="8125"/>
                    <a:pt x="6543" y="8098"/>
                    <a:pt x="6570" y="8071"/>
                  </a:cubicBezTo>
                  <a:cubicBezTo>
                    <a:pt x="6624" y="8044"/>
                    <a:pt x="6678" y="8018"/>
                    <a:pt x="6732" y="8018"/>
                  </a:cubicBezTo>
                  <a:cubicBezTo>
                    <a:pt x="6813" y="8018"/>
                    <a:pt x="6813" y="7937"/>
                    <a:pt x="6867" y="7911"/>
                  </a:cubicBezTo>
                  <a:cubicBezTo>
                    <a:pt x="6894" y="7911"/>
                    <a:pt x="7057" y="7696"/>
                    <a:pt x="7084" y="7669"/>
                  </a:cubicBezTo>
                  <a:cubicBezTo>
                    <a:pt x="7110" y="7642"/>
                    <a:pt x="7192" y="7508"/>
                    <a:pt x="7245" y="7508"/>
                  </a:cubicBezTo>
                  <a:cubicBezTo>
                    <a:pt x="7300" y="7508"/>
                    <a:pt x="7381" y="7427"/>
                    <a:pt x="7435" y="7427"/>
                  </a:cubicBezTo>
                  <a:cubicBezTo>
                    <a:pt x="7462" y="7427"/>
                    <a:pt x="7543" y="7427"/>
                    <a:pt x="7624" y="7427"/>
                  </a:cubicBezTo>
                  <a:cubicBezTo>
                    <a:pt x="7705" y="7427"/>
                    <a:pt x="7949" y="7320"/>
                    <a:pt x="8002" y="7320"/>
                  </a:cubicBezTo>
                  <a:cubicBezTo>
                    <a:pt x="8057" y="7320"/>
                    <a:pt x="8138" y="7267"/>
                    <a:pt x="8165" y="7267"/>
                  </a:cubicBezTo>
                  <a:cubicBezTo>
                    <a:pt x="8219" y="7267"/>
                    <a:pt x="8246" y="7240"/>
                    <a:pt x="8355" y="7240"/>
                  </a:cubicBezTo>
                  <a:cubicBezTo>
                    <a:pt x="8435" y="7240"/>
                    <a:pt x="8571" y="7267"/>
                    <a:pt x="8625" y="7267"/>
                  </a:cubicBezTo>
                  <a:cubicBezTo>
                    <a:pt x="8651" y="7267"/>
                    <a:pt x="8651" y="7320"/>
                    <a:pt x="8706" y="7348"/>
                  </a:cubicBezTo>
                  <a:cubicBezTo>
                    <a:pt x="8759" y="7374"/>
                    <a:pt x="8787" y="7401"/>
                    <a:pt x="8814" y="7427"/>
                  </a:cubicBezTo>
                  <a:cubicBezTo>
                    <a:pt x="8841" y="7427"/>
                    <a:pt x="9030" y="7427"/>
                    <a:pt x="9084" y="7427"/>
                  </a:cubicBezTo>
                  <a:cubicBezTo>
                    <a:pt x="9138" y="7427"/>
                    <a:pt x="9112" y="7374"/>
                    <a:pt x="9138" y="7374"/>
                  </a:cubicBezTo>
                  <a:cubicBezTo>
                    <a:pt x="9165" y="7374"/>
                    <a:pt x="9220" y="7481"/>
                    <a:pt x="9247" y="7508"/>
                  </a:cubicBezTo>
                  <a:cubicBezTo>
                    <a:pt x="9247" y="7535"/>
                    <a:pt x="9355" y="7508"/>
                    <a:pt x="9382" y="7508"/>
                  </a:cubicBezTo>
                  <a:cubicBezTo>
                    <a:pt x="9436" y="7508"/>
                    <a:pt x="9463" y="7427"/>
                    <a:pt x="9490" y="7427"/>
                  </a:cubicBezTo>
                  <a:cubicBezTo>
                    <a:pt x="9544" y="7427"/>
                    <a:pt x="9571" y="7669"/>
                    <a:pt x="9652" y="7723"/>
                  </a:cubicBezTo>
                  <a:cubicBezTo>
                    <a:pt x="9733" y="7777"/>
                    <a:pt x="9922" y="7830"/>
                    <a:pt x="10004" y="7830"/>
                  </a:cubicBezTo>
                  <a:cubicBezTo>
                    <a:pt x="10085" y="7830"/>
                    <a:pt x="10139" y="7884"/>
                    <a:pt x="10193" y="7884"/>
                  </a:cubicBezTo>
                  <a:cubicBezTo>
                    <a:pt x="10193" y="7884"/>
                    <a:pt x="10247" y="7856"/>
                    <a:pt x="10328" y="7856"/>
                  </a:cubicBezTo>
                  <a:cubicBezTo>
                    <a:pt x="10328" y="7803"/>
                    <a:pt x="10355" y="7723"/>
                    <a:pt x="10355" y="7669"/>
                  </a:cubicBezTo>
                  <a:cubicBezTo>
                    <a:pt x="10355" y="7615"/>
                    <a:pt x="10409" y="7455"/>
                    <a:pt x="10409" y="7427"/>
                  </a:cubicBezTo>
                  <a:cubicBezTo>
                    <a:pt x="10409" y="7401"/>
                    <a:pt x="10382" y="7267"/>
                    <a:pt x="10382" y="7213"/>
                  </a:cubicBezTo>
                  <a:cubicBezTo>
                    <a:pt x="10382" y="7160"/>
                    <a:pt x="10382" y="7079"/>
                    <a:pt x="10382" y="7052"/>
                  </a:cubicBezTo>
                  <a:cubicBezTo>
                    <a:pt x="10355" y="7025"/>
                    <a:pt x="10355" y="6919"/>
                    <a:pt x="10355" y="6891"/>
                  </a:cubicBezTo>
                  <a:cubicBezTo>
                    <a:pt x="10355" y="6864"/>
                    <a:pt x="10355" y="6811"/>
                    <a:pt x="10382" y="6811"/>
                  </a:cubicBezTo>
                  <a:cubicBezTo>
                    <a:pt x="10409" y="6811"/>
                    <a:pt x="10436" y="6784"/>
                    <a:pt x="10463" y="6757"/>
                  </a:cubicBezTo>
                  <a:cubicBezTo>
                    <a:pt x="10463" y="6703"/>
                    <a:pt x="10598" y="6569"/>
                    <a:pt x="10626" y="6543"/>
                  </a:cubicBezTo>
                  <a:cubicBezTo>
                    <a:pt x="10626" y="6516"/>
                    <a:pt x="10679" y="6409"/>
                    <a:pt x="10653" y="6409"/>
                  </a:cubicBezTo>
                  <a:cubicBezTo>
                    <a:pt x="10626" y="6409"/>
                    <a:pt x="10571" y="6462"/>
                    <a:pt x="10544" y="6489"/>
                  </a:cubicBezTo>
                  <a:cubicBezTo>
                    <a:pt x="10518" y="6516"/>
                    <a:pt x="10544" y="6597"/>
                    <a:pt x="10490" y="6597"/>
                  </a:cubicBezTo>
                  <a:cubicBezTo>
                    <a:pt x="10463" y="6569"/>
                    <a:pt x="10490" y="6489"/>
                    <a:pt x="10490" y="6462"/>
                  </a:cubicBezTo>
                  <a:cubicBezTo>
                    <a:pt x="10490" y="6435"/>
                    <a:pt x="10463" y="6435"/>
                    <a:pt x="10463" y="6409"/>
                  </a:cubicBezTo>
                  <a:cubicBezTo>
                    <a:pt x="10463" y="6409"/>
                    <a:pt x="10518" y="6409"/>
                    <a:pt x="10518" y="6381"/>
                  </a:cubicBezTo>
                  <a:cubicBezTo>
                    <a:pt x="10490" y="6355"/>
                    <a:pt x="10463" y="6355"/>
                    <a:pt x="10490" y="6328"/>
                  </a:cubicBezTo>
                  <a:cubicBezTo>
                    <a:pt x="10490" y="6328"/>
                    <a:pt x="10518" y="6275"/>
                    <a:pt x="10518" y="6302"/>
                  </a:cubicBezTo>
                  <a:cubicBezTo>
                    <a:pt x="10518" y="6328"/>
                    <a:pt x="10490" y="6328"/>
                    <a:pt x="10518" y="6328"/>
                  </a:cubicBezTo>
                  <a:cubicBezTo>
                    <a:pt x="10544" y="6328"/>
                    <a:pt x="10598" y="6302"/>
                    <a:pt x="10598" y="6302"/>
                  </a:cubicBezTo>
                  <a:cubicBezTo>
                    <a:pt x="10626" y="6275"/>
                    <a:pt x="10653" y="6221"/>
                    <a:pt x="10679" y="6221"/>
                  </a:cubicBezTo>
                  <a:cubicBezTo>
                    <a:pt x="10706" y="6221"/>
                    <a:pt x="10734" y="6221"/>
                    <a:pt x="10734" y="6221"/>
                  </a:cubicBezTo>
                  <a:cubicBezTo>
                    <a:pt x="10734" y="6194"/>
                    <a:pt x="10734" y="6168"/>
                    <a:pt x="10706" y="6168"/>
                  </a:cubicBezTo>
                  <a:cubicBezTo>
                    <a:pt x="10679" y="6168"/>
                    <a:pt x="10653" y="6221"/>
                    <a:pt x="10626" y="6221"/>
                  </a:cubicBezTo>
                  <a:cubicBezTo>
                    <a:pt x="10626" y="6247"/>
                    <a:pt x="10518" y="6328"/>
                    <a:pt x="10518" y="6275"/>
                  </a:cubicBezTo>
                  <a:cubicBezTo>
                    <a:pt x="10544" y="6247"/>
                    <a:pt x="10518" y="6275"/>
                    <a:pt x="10518" y="6275"/>
                  </a:cubicBezTo>
                  <a:cubicBezTo>
                    <a:pt x="10490" y="6247"/>
                    <a:pt x="10518" y="6221"/>
                    <a:pt x="10544" y="6221"/>
                  </a:cubicBezTo>
                  <a:cubicBezTo>
                    <a:pt x="10544" y="6194"/>
                    <a:pt x="10518" y="6194"/>
                    <a:pt x="10518" y="6168"/>
                  </a:cubicBezTo>
                  <a:cubicBezTo>
                    <a:pt x="10518" y="6140"/>
                    <a:pt x="10598" y="6087"/>
                    <a:pt x="10626" y="6087"/>
                  </a:cubicBezTo>
                  <a:cubicBezTo>
                    <a:pt x="10626" y="6060"/>
                    <a:pt x="10679" y="6087"/>
                    <a:pt x="10679" y="6060"/>
                  </a:cubicBezTo>
                  <a:cubicBezTo>
                    <a:pt x="10679" y="6060"/>
                    <a:pt x="10679" y="6033"/>
                    <a:pt x="10679" y="6006"/>
                  </a:cubicBezTo>
                  <a:cubicBezTo>
                    <a:pt x="10653" y="6006"/>
                    <a:pt x="10679" y="5953"/>
                    <a:pt x="10679" y="5953"/>
                  </a:cubicBezTo>
                  <a:cubicBezTo>
                    <a:pt x="10706" y="5953"/>
                    <a:pt x="10626" y="5899"/>
                    <a:pt x="10598" y="5872"/>
                  </a:cubicBezTo>
                  <a:cubicBezTo>
                    <a:pt x="10571" y="5846"/>
                    <a:pt x="10571" y="5792"/>
                    <a:pt x="10598" y="5765"/>
                  </a:cubicBezTo>
                  <a:cubicBezTo>
                    <a:pt x="10626" y="5739"/>
                    <a:pt x="10734" y="5631"/>
                    <a:pt x="10734" y="5631"/>
                  </a:cubicBezTo>
                  <a:cubicBezTo>
                    <a:pt x="10761" y="5631"/>
                    <a:pt x="10788" y="5658"/>
                    <a:pt x="10814" y="5658"/>
                  </a:cubicBezTo>
                  <a:cubicBezTo>
                    <a:pt x="10869" y="5658"/>
                    <a:pt x="10896" y="5685"/>
                    <a:pt x="10896" y="5685"/>
                  </a:cubicBezTo>
                  <a:cubicBezTo>
                    <a:pt x="10923" y="5711"/>
                    <a:pt x="10814" y="5739"/>
                    <a:pt x="10814" y="5765"/>
                  </a:cubicBezTo>
                  <a:cubicBezTo>
                    <a:pt x="10788" y="5792"/>
                    <a:pt x="10814" y="5846"/>
                    <a:pt x="10842" y="5872"/>
                  </a:cubicBezTo>
                  <a:cubicBezTo>
                    <a:pt x="10842" y="5899"/>
                    <a:pt x="10869" y="5953"/>
                    <a:pt x="10869" y="5926"/>
                  </a:cubicBezTo>
                  <a:cubicBezTo>
                    <a:pt x="10896" y="5926"/>
                    <a:pt x="10896" y="5872"/>
                    <a:pt x="10923" y="5872"/>
                  </a:cubicBezTo>
                  <a:cubicBezTo>
                    <a:pt x="10950" y="5899"/>
                    <a:pt x="10950" y="5926"/>
                    <a:pt x="10950" y="5953"/>
                  </a:cubicBezTo>
                  <a:cubicBezTo>
                    <a:pt x="10977" y="5980"/>
                    <a:pt x="10950" y="6006"/>
                    <a:pt x="10923" y="6033"/>
                  </a:cubicBezTo>
                  <a:cubicBezTo>
                    <a:pt x="10896" y="6033"/>
                    <a:pt x="10788" y="6087"/>
                    <a:pt x="10761" y="6114"/>
                  </a:cubicBezTo>
                  <a:cubicBezTo>
                    <a:pt x="10734" y="6114"/>
                    <a:pt x="10761" y="6168"/>
                    <a:pt x="10788" y="6168"/>
                  </a:cubicBezTo>
                  <a:cubicBezTo>
                    <a:pt x="10788" y="6168"/>
                    <a:pt x="10814" y="6140"/>
                    <a:pt x="10842" y="6114"/>
                  </a:cubicBezTo>
                  <a:cubicBezTo>
                    <a:pt x="10842" y="6087"/>
                    <a:pt x="10896" y="6087"/>
                    <a:pt x="10923" y="6060"/>
                  </a:cubicBezTo>
                  <a:cubicBezTo>
                    <a:pt x="10950" y="6033"/>
                    <a:pt x="11031" y="5980"/>
                    <a:pt x="11085" y="5980"/>
                  </a:cubicBezTo>
                  <a:cubicBezTo>
                    <a:pt x="11139" y="5980"/>
                    <a:pt x="11463" y="5899"/>
                    <a:pt x="11491" y="5899"/>
                  </a:cubicBezTo>
                  <a:cubicBezTo>
                    <a:pt x="11518" y="5899"/>
                    <a:pt x="11545" y="5872"/>
                    <a:pt x="11518" y="5846"/>
                  </a:cubicBezTo>
                  <a:cubicBezTo>
                    <a:pt x="11518" y="5792"/>
                    <a:pt x="11518" y="5792"/>
                    <a:pt x="11545" y="5765"/>
                  </a:cubicBezTo>
                  <a:cubicBezTo>
                    <a:pt x="11545" y="5739"/>
                    <a:pt x="11571" y="5577"/>
                    <a:pt x="11571" y="5497"/>
                  </a:cubicBezTo>
                  <a:close/>
                  <a:moveTo>
                    <a:pt x="8759" y="7374"/>
                  </a:moveTo>
                  <a:lnTo>
                    <a:pt x="8759" y="7374"/>
                  </a:lnTo>
                  <a:cubicBezTo>
                    <a:pt x="8759" y="7348"/>
                    <a:pt x="8814" y="7320"/>
                    <a:pt x="8841" y="7348"/>
                  </a:cubicBezTo>
                  <a:cubicBezTo>
                    <a:pt x="8868" y="7348"/>
                    <a:pt x="8787" y="7401"/>
                    <a:pt x="8759" y="7374"/>
                  </a:cubicBezTo>
                  <a:close/>
                </a:path>
              </a:pathLst>
            </a:custGeom>
            <a:solidFill>
              <a:srgbClr val="FF5200">
                <a:alpha val="50195"/>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it-IT"/>
            </a:p>
          </p:txBody>
        </p:sp>
        <p:sp>
          <p:nvSpPr>
            <p:cNvPr id="12301" name="AutoShape 5"/>
            <p:cNvSpPr>
              <a:spLocks noChangeArrowheads="1"/>
            </p:cNvSpPr>
            <p:nvPr/>
          </p:nvSpPr>
          <p:spPr bwMode="auto">
            <a:xfrm>
              <a:off x="107" y="1081"/>
              <a:ext cx="2648" cy="1866"/>
            </a:xfrm>
            <a:custGeom>
              <a:avLst/>
              <a:gdLst>
                <a:gd name="T0" fmla="*/ 0 w 11681"/>
                <a:gd name="T1" fmla="*/ 0 h 8233"/>
                <a:gd name="T2" fmla="*/ 0 w 11681"/>
                <a:gd name="T3" fmla="*/ 0 h 8233"/>
                <a:gd name="T4" fmla="*/ 0 w 11681"/>
                <a:gd name="T5" fmla="*/ 0 h 8233"/>
                <a:gd name="T6" fmla="*/ 0 w 11681"/>
                <a:gd name="T7" fmla="*/ 0 h 8233"/>
                <a:gd name="T8" fmla="*/ 0 w 11681"/>
                <a:gd name="T9" fmla="*/ 0 h 8233"/>
                <a:gd name="T10" fmla="*/ 0 w 11681"/>
                <a:gd name="T11" fmla="*/ 0 h 8233"/>
                <a:gd name="T12" fmla="*/ 0 w 11681"/>
                <a:gd name="T13" fmla="*/ 0 h 8233"/>
                <a:gd name="T14" fmla="*/ 0 w 11681"/>
                <a:gd name="T15" fmla="*/ 0 h 8233"/>
                <a:gd name="T16" fmla="*/ 0 w 11681"/>
                <a:gd name="T17" fmla="*/ 0 h 8233"/>
                <a:gd name="T18" fmla="*/ 0 w 11681"/>
                <a:gd name="T19" fmla="*/ 0 h 8233"/>
                <a:gd name="T20" fmla="*/ 0 w 11681"/>
                <a:gd name="T21" fmla="*/ 0 h 8233"/>
                <a:gd name="T22" fmla="*/ 0 w 11681"/>
                <a:gd name="T23" fmla="*/ 0 h 8233"/>
                <a:gd name="T24" fmla="*/ 0 w 11681"/>
                <a:gd name="T25" fmla="*/ 0 h 8233"/>
                <a:gd name="T26" fmla="*/ 0 w 11681"/>
                <a:gd name="T27" fmla="*/ 0 h 8233"/>
                <a:gd name="T28" fmla="*/ 0 w 11681"/>
                <a:gd name="T29" fmla="*/ 0 h 8233"/>
                <a:gd name="T30" fmla="*/ 0 w 11681"/>
                <a:gd name="T31" fmla="*/ 0 h 8233"/>
                <a:gd name="T32" fmla="*/ 0 w 11681"/>
                <a:gd name="T33" fmla="*/ 0 h 8233"/>
                <a:gd name="T34" fmla="*/ 0 w 11681"/>
                <a:gd name="T35" fmla="*/ 0 h 8233"/>
                <a:gd name="T36" fmla="*/ 0 w 11681"/>
                <a:gd name="T37" fmla="*/ 0 h 8233"/>
                <a:gd name="T38" fmla="*/ 0 w 11681"/>
                <a:gd name="T39" fmla="*/ 0 h 8233"/>
                <a:gd name="T40" fmla="*/ 0 w 11681"/>
                <a:gd name="T41" fmla="*/ 0 h 8233"/>
                <a:gd name="T42" fmla="*/ 0 w 11681"/>
                <a:gd name="T43" fmla="*/ 0 h 8233"/>
                <a:gd name="T44" fmla="*/ 0 w 11681"/>
                <a:gd name="T45" fmla="*/ 0 h 8233"/>
                <a:gd name="T46" fmla="*/ 0 w 11681"/>
                <a:gd name="T47" fmla="*/ 0 h 8233"/>
                <a:gd name="T48" fmla="*/ 0 w 11681"/>
                <a:gd name="T49" fmla="*/ 0 h 8233"/>
                <a:gd name="T50" fmla="*/ 0 w 11681"/>
                <a:gd name="T51" fmla="*/ 0 h 8233"/>
                <a:gd name="T52" fmla="*/ 0 w 11681"/>
                <a:gd name="T53" fmla="*/ 0 h 8233"/>
                <a:gd name="T54" fmla="*/ 0 w 11681"/>
                <a:gd name="T55" fmla="*/ 0 h 8233"/>
                <a:gd name="T56" fmla="*/ 0 w 11681"/>
                <a:gd name="T57" fmla="*/ 0 h 8233"/>
                <a:gd name="T58" fmla="*/ 0 w 11681"/>
                <a:gd name="T59" fmla="*/ 0 h 8233"/>
                <a:gd name="T60" fmla="*/ 0 w 11681"/>
                <a:gd name="T61" fmla="*/ 0 h 8233"/>
                <a:gd name="T62" fmla="*/ 0 w 11681"/>
                <a:gd name="T63" fmla="*/ 0 h 8233"/>
                <a:gd name="T64" fmla="*/ 0 w 11681"/>
                <a:gd name="T65" fmla="*/ 0 h 8233"/>
                <a:gd name="T66" fmla="*/ 0 w 11681"/>
                <a:gd name="T67" fmla="*/ 0 h 8233"/>
                <a:gd name="T68" fmla="*/ 0 w 11681"/>
                <a:gd name="T69" fmla="*/ 0 h 8233"/>
                <a:gd name="T70" fmla="*/ 0 w 11681"/>
                <a:gd name="T71" fmla="*/ 0 h 8233"/>
                <a:gd name="T72" fmla="*/ 0 w 11681"/>
                <a:gd name="T73" fmla="*/ 0 h 8233"/>
                <a:gd name="T74" fmla="*/ 0 w 11681"/>
                <a:gd name="T75" fmla="*/ 0 h 8233"/>
                <a:gd name="T76" fmla="*/ 0 w 11681"/>
                <a:gd name="T77" fmla="*/ 0 h 8233"/>
                <a:gd name="T78" fmla="*/ 0 w 11681"/>
                <a:gd name="T79" fmla="*/ 0 h 8233"/>
                <a:gd name="T80" fmla="*/ 0 w 11681"/>
                <a:gd name="T81" fmla="*/ 0 h 8233"/>
                <a:gd name="T82" fmla="*/ 0 w 11681"/>
                <a:gd name="T83" fmla="*/ 0 h 8233"/>
                <a:gd name="T84" fmla="*/ 0 w 11681"/>
                <a:gd name="T85" fmla="*/ 0 h 8233"/>
                <a:gd name="T86" fmla="*/ 0 w 11681"/>
                <a:gd name="T87" fmla="*/ 0 h 8233"/>
                <a:gd name="T88" fmla="*/ 0 w 11681"/>
                <a:gd name="T89" fmla="*/ 0 h 8233"/>
                <a:gd name="T90" fmla="*/ 0 w 11681"/>
                <a:gd name="T91" fmla="*/ 0 h 8233"/>
                <a:gd name="T92" fmla="*/ 0 w 11681"/>
                <a:gd name="T93" fmla="*/ 0 h 8233"/>
                <a:gd name="T94" fmla="*/ 0 w 11681"/>
                <a:gd name="T95" fmla="*/ 0 h 8233"/>
                <a:gd name="T96" fmla="*/ 0 w 11681"/>
                <a:gd name="T97" fmla="*/ 0 h 8233"/>
                <a:gd name="T98" fmla="*/ 0 w 11681"/>
                <a:gd name="T99" fmla="*/ 0 h 8233"/>
                <a:gd name="T100" fmla="*/ 0 w 11681"/>
                <a:gd name="T101" fmla="*/ 0 h 8233"/>
                <a:gd name="T102" fmla="*/ 0 w 11681"/>
                <a:gd name="T103" fmla="*/ 0 h 8233"/>
                <a:gd name="T104" fmla="*/ 0 w 11681"/>
                <a:gd name="T105" fmla="*/ 0 h 8233"/>
                <a:gd name="T106" fmla="*/ 0 w 11681"/>
                <a:gd name="T107" fmla="*/ 0 h 8233"/>
                <a:gd name="T108" fmla="*/ 0 w 11681"/>
                <a:gd name="T109" fmla="*/ 0 h 8233"/>
                <a:gd name="T110" fmla="*/ 0 w 11681"/>
                <a:gd name="T111" fmla="*/ 0 h 8233"/>
                <a:gd name="T112" fmla="*/ 0 w 11681"/>
                <a:gd name="T113" fmla="*/ 0 h 8233"/>
                <a:gd name="T114" fmla="*/ 0 w 11681"/>
                <a:gd name="T115" fmla="*/ 0 h 8233"/>
                <a:gd name="T116" fmla="*/ 0 w 11681"/>
                <a:gd name="T117" fmla="*/ 0 h 8233"/>
                <a:gd name="T118" fmla="*/ 0 w 11681"/>
                <a:gd name="T119" fmla="*/ 0 h 8233"/>
                <a:gd name="T120" fmla="*/ 0 w 11681"/>
                <a:gd name="T121" fmla="*/ 0 h 8233"/>
                <a:gd name="T122" fmla="*/ 0 w 11681"/>
                <a:gd name="T123" fmla="*/ 0 h 8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681"/>
                <a:gd name="T187" fmla="*/ 0 h 8233"/>
                <a:gd name="T188" fmla="*/ 11681 w 11681"/>
                <a:gd name="T189" fmla="*/ 8233 h 8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681" h="8233">
                  <a:moveTo>
                    <a:pt x="11598" y="5523"/>
                  </a:moveTo>
                  <a:lnTo>
                    <a:pt x="11598" y="5523"/>
                  </a:lnTo>
                  <a:cubicBezTo>
                    <a:pt x="11598" y="5470"/>
                    <a:pt x="11598" y="5416"/>
                    <a:pt x="11653" y="5362"/>
                  </a:cubicBezTo>
                  <a:cubicBezTo>
                    <a:pt x="11626" y="5336"/>
                    <a:pt x="11598" y="5362"/>
                    <a:pt x="11571" y="5336"/>
                  </a:cubicBezTo>
                  <a:cubicBezTo>
                    <a:pt x="11571" y="5308"/>
                    <a:pt x="11545" y="5255"/>
                    <a:pt x="11571" y="5255"/>
                  </a:cubicBezTo>
                  <a:cubicBezTo>
                    <a:pt x="11680" y="5229"/>
                    <a:pt x="11598" y="5014"/>
                    <a:pt x="11518" y="4960"/>
                  </a:cubicBezTo>
                  <a:cubicBezTo>
                    <a:pt x="11328" y="4826"/>
                    <a:pt x="11031" y="4853"/>
                    <a:pt x="10896" y="5014"/>
                  </a:cubicBezTo>
                  <a:cubicBezTo>
                    <a:pt x="10490" y="5201"/>
                    <a:pt x="10463" y="5362"/>
                    <a:pt x="9976" y="5121"/>
                  </a:cubicBezTo>
                  <a:cubicBezTo>
                    <a:pt x="9949" y="5094"/>
                    <a:pt x="9922" y="5041"/>
                    <a:pt x="9922" y="4987"/>
                  </a:cubicBezTo>
                  <a:cubicBezTo>
                    <a:pt x="9896" y="4960"/>
                    <a:pt x="9922" y="4933"/>
                    <a:pt x="9868" y="4879"/>
                  </a:cubicBezTo>
                  <a:cubicBezTo>
                    <a:pt x="9814" y="4879"/>
                    <a:pt x="9787" y="4879"/>
                    <a:pt x="9760" y="4879"/>
                  </a:cubicBezTo>
                  <a:cubicBezTo>
                    <a:pt x="9733" y="4879"/>
                    <a:pt x="9760" y="4826"/>
                    <a:pt x="9733" y="4745"/>
                  </a:cubicBezTo>
                  <a:cubicBezTo>
                    <a:pt x="9706" y="4665"/>
                    <a:pt x="9652" y="4638"/>
                    <a:pt x="9679" y="4665"/>
                  </a:cubicBezTo>
                  <a:cubicBezTo>
                    <a:pt x="9814" y="4585"/>
                    <a:pt x="9760" y="4397"/>
                    <a:pt x="9706" y="4290"/>
                  </a:cubicBezTo>
                  <a:cubicBezTo>
                    <a:pt x="9652" y="4263"/>
                    <a:pt x="9706" y="4236"/>
                    <a:pt x="9706" y="4128"/>
                  </a:cubicBezTo>
                  <a:cubicBezTo>
                    <a:pt x="9679" y="4076"/>
                    <a:pt x="9652" y="4022"/>
                    <a:pt x="9652" y="3969"/>
                  </a:cubicBezTo>
                  <a:cubicBezTo>
                    <a:pt x="9625" y="3915"/>
                    <a:pt x="9652" y="3862"/>
                    <a:pt x="9652" y="3808"/>
                  </a:cubicBezTo>
                  <a:cubicBezTo>
                    <a:pt x="9652" y="3728"/>
                    <a:pt x="9733" y="3674"/>
                    <a:pt x="9679" y="3593"/>
                  </a:cubicBezTo>
                  <a:cubicBezTo>
                    <a:pt x="9679" y="3566"/>
                    <a:pt x="9679" y="3540"/>
                    <a:pt x="9679" y="3512"/>
                  </a:cubicBezTo>
                  <a:cubicBezTo>
                    <a:pt x="9679" y="3540"/>
                    <a:pt x="9706" y="3486"/>
                    <a:pt x="9733" y="3486"/>
                  </a:cubicBezTo>
                  <a:cubicBezTo>
                    <a:pt x="9760" y="3486"/>
                    <a:pt x="9787" y="3406"/>
                    <a:pt x="9760" y="3379"/>
                  </a:cubicBezTo>
                  <a:cubicBezTo>
                    <a:pt x="9760" y="3352"/>
                    <a:pt x="9760" y="3379"/>
                    <a:pt x="9760" y="3379"/>
                  </a:cubicBezTo>
                  <a:cubicBezTo>
                    <a:pt x="9760" y="3352"/>
                    <a:pt x="9787" y="3325"/>
                    <a:pt x="9787" y="3271"/>
                  </a:cubicBezTo>
                  <a:cubicBezTo>
                    <a:pt x="9814" y="3271"/>
                    <a:pt x="9841" y="3191"/>
                    <a:pt x="9814" y="3137"/>
                  </a:cubicBezTo>
                  <a:cubicBezTo>
                    <a:pt x="9787" y="3111"/>
                    <a:pt x="9787" y="3084"/>
                    <a:pt x="9760" y="3084"/>
                  </a:cubicBezTo>
                  <a:cubicBezTo>
                    <a:pt x="9760" y="3004"/>
                    <a:pt x="9814" y="2949"/>
                    <a:pt x="9787" y="2870"/>
                  </a:cubicBezTo>
                  <a:cubicBezTo>
                    <a:pt x="9760" y="2762"/>
                    <a:pt x="9733" y="2735"/>
                    <a:pt x="9706" y="2655"/>
                  </a:cubicBezTo>
                  <a:cubicBezTo>
                    <a:pt x="9706" y="2574"/>
                    <a:pt x="9652" y="2520"/>
                    <a:pt x="9625" y="2467"/>
                  </a:cubicBezTo>
                  <a:cubicBezTo>
                    <a:pt x="9598" y="2387"/>
                    <a:pt x="9598" y="2279"/>
                    <a:pt x="9517" y="2199"/>
                  </a:cubicBezTo>
                  <a:cubicBezTo>
                    <a:pt x="9435" y="2091"/>
                    <a:pt x="9382" y="2065"/>
                    <a:pt x="9273" y="1984"/>
                  </a:cubicBezTo>
                  <a:cubicBezTo>
                    <a:pt x="9247" y="1957"/>
                    <a:pt x="9247" y="1957"/>
                    <a:pt x="9247" y="1931"/>
                  </a:cubicBezTo>
                  <a:cubicBezTo>
                    <a:pt x="9247" y="1931"/>
                    <a:pt x="9219" y="1850"/>
                    <a:pt x="9192" y="1824"/>
                  </a:cubicBezTo>
                  <a:cubicBezTo>
                    <a:pt x="9165" y="1797"/>
                    <a:pt x="9165" y="1770"/>
                    <a:pt x="9138" y="1770"/>
                  </a:cubicBezTo>
                  <a:cubicBezTo>
                    <a:pt x="9111" y="1690"/>
                    <a:pt x="9084" y="1690"/>
                    <a:pt x="9030" y="1690"/>
                  </a:cubicBezTo>
                  <a:cubicBezTo>
                    <a:pt x="8976" y="1662"/>
                    <a:pt x="8949" y="1609"/>
                    <a:pt x="8949" y="1582"/>
                  </a:cubicBezTo>
                  <a:cubicBezTo>
                    <a:pt x="8949" y="1582"/>
                    <a:pt x="8949" y="1555"/>
                    <a:pt x="8949" y="1502"/>
                  </a:cubicBezTo>
                  <a:cubicBezTo>
                    <a:pt x="8922" y="1475"/>
                    <a:pt x="8949" y="1475"/>
                    <a:pt x="8949" y="1502"/>
                  </a:cubicBezTo>
                  <a:cubicBezTo>
                    <a:pt x="8949" y="1502"/>
                    <a:pt x="8949" y="1502"/>
                    <a:pt x="8949" y="1475"/>
                  </a:cubicBezTo>
                  <a:cubicBezTo>
                    <a:pt x="8949" y="1475"/>
                    <a:pt x="8976" y="1448"/>
                    <a:pt x="8949" y="1395"/>
                  </a:cubicBezTo>
                  <a:cubicBezTo>
                    <a:pt x="8894" y="1367"/>
                    <a:pt x="8894" y="1367"/>
                    <a:pt x="8868" y="1367"/>
                  </a:cubicBezTo>
                  <a:cubicBezTo>
                    <a:pt x="8814" y="1340"/>
                    <a:pt x="8814" y="1340"/>
                    <a:pt x="8814" y="1314"/>
                  </a:cubicBezTo>
                  <a:cubicBezTo>
                    <a:pt x="8814" y="1314"/>
                    <a:pt x="8786" y="1287"/>
                    <a:pt x="8760" y="1261"/>
                  </a:cubicBezTo>
                  <a:cubicBezTo>
                    <a:pt x="8760" y="1261"/>
                    <a:pt x="8760" y="1261"/>
                    <a:pt x="8760" y="1207"/>
                  </a:cubicBezTo>
                  <a:cubicBezTo>
                    <a:pt x="8678" y="1126"/>
                    <a:pt x="8651" y="1099"/>
                    <a:pt x="8598" y="1019"/>
                  </a:cubicBezTo>
                  <a:cubicBezTo>
                    <a:pt x="8570" y="1019"/>
                    <a:pt x="8570" y="992"/>
                    <a:pt x="8570" y="992"/>
                  </a:cubicBezTo>
                  <a:cubicBezTo>
                    <a:pt x="8543" y="1045"/>
                    <a:pt x="8570" y="1019"/>
                    <a:pt x="8598" y="965"/>
                  </a:cubicBezTo>
                  <a:cubicBezTo>
                    <a:pt x="8543" y="858"/>
                    <a:pt x="8543" y="885"/>
                    <a:pt x="8543" y="832"/>
                  </a:cubicBezTo>
                  <a:cubicBezTo>
                    <a:pt x="8543" y="832"/>
                    <a:pt x="8543" y="804"/>
                    <a:pt x="8516" y="751"/>
                  </a:cubicBezTo>
                  <a:cubicBezTo>
                    <a:pt x="8516" y="751"/>
                    <a:pt x="8490" y="724"/>
                    <a:pt x="8490" y="697"/>
                  </a:cubicBezTo>
                  <a:cubicBezTo>
                    <a:pt x="8490" y="724"/>
                    <a:pt x="8516" y="644"/>
                    <a:pt x="8435" y="617"/>
                  </a:cubicBezTo>
                  <a:cubicBezTo>
                    <a:pt x="8408" y="617"/>
                    <a:pt x="8435" y="617"/>
                    <a:pt x="8435" y="644"/>
                  </a:cubicBezTo>
                  <a:cubicBezTo>
                    <a:pt x="8516" y="536"/>
                    <a:pt x="8381" y="456"/>
                    <a:pt x="8327" y="403"/>
                  </a:cubicBezTo>
                  <a:cubicBezTo>
                    <a:pt x="8273" y="348"/>
                    <a:pt x="8273" y="375"/>
                    <a:pt x="8300" y="322"/>
                  </a:cubicBezTo>
                  <a:cubicBezTo>
                    <a:pt x="8300" y="322"/>
                    <a:pt x="8300" y="295"/>
                    <a:pt x="8273" y="268"/>
                  </a:cubicBezTo>
                  <a:cubicBezTo>
                    <a:pt x="8273" y="241"/>
                    <a:pt x="8246" y="241"/>
                    <a:pt x="8246" y="241"/>
                  </a:cubicBezTo>
                  <a:cubicBezTo>
                    <a:pt x="8219" y="241"/>
                    <a:pt x="8219" y="241"/>
                    <a:pt x="8219" y="241"/>
                  </a:cubicBezTo>
                  <a:cubicBezTo>
                    <a:pt x="8219" y="241"/>
                    <a:pt x="8219" y="241"/>
                    <a:pt x="8192" y="215"/>
                  </a:cubicBezTo>
                  <a:cubicBezTo>
                    <a:pt x="8192" y="188"/>
                    <a:pt x="8192" y="134"/>
                    <a:pt x="8111" y="134"/>
                  </a:cubicBezTo>
                  <a:cubicBezTo>
                    <a:pt x="8057" y="134"/>
                    <a:pt x="8111" y="134"/>
                    <a:pt x="8084" y="134"/>
                  </a:cubicBezTo>
                  <a:cubicBezTo>
                    <a:pt x="8057" y="107"/>
                    <a:pt x="8029" y="53"/>
                    <a:pt x="7976" y="27"/>
                  </a:cubicBezTo>
                  <a:cubicBezTo>
                    <a:pt x="7840" y="0"/>
                    <a:pt x="7732" y="0"/>
                    <a:pt x="7651" y="81"/>
                  </a:cubicBezTo>
                  <a:cubicBezTo>
                    <a:pt x="7651" y="107"/>
                    <a:pt x="7597" y="81"/>
                    <a:pt x="7516" y="107"/>
                  </a:cubicBezTo>
                  <a:cubicBezTo>
                    <a:pt x="7462" y="134"/>
                    <a:pt x="7435" y="107"/>
                    <a:pt x="7354" y="188"/>
                  </a:cubicBezTo>
                  <a:cubicBezTo>
                    <a:pt x="7327" y="322"/>
                    <a:pt x="7272" y="348"/>
                    <a:pt x="7219" y="456"/>
                  </a:cubicBezTo>
                  <a:cubicBezTo>
                    <a:pt x="7219" y="536"/>
                    <a:pt x="7083" y="482"/>
                    <a:pt x="6975" y="510"/>
                  </a:cubicBezTo>
                  <a:cubicBezTo>
                    <a:pt x="6894" y="536"/>
                    <a:pt x="6894" y="536"/>
                    <a:pt x="6813" y="536"/>
                  </a:cubicBezTo>
                  <a:cubicBezTo>
                    <a:pt x="6705" y="590"/>
                    <a:pt x="6759" y="590"/>
                    <a:pt x="6678" y="590"/>
                  </a:cubicBezTo>
                  <a:cubicBezTo>
                    <a:pt x="6570" y="617"/>
                    <a:pt x="6488" y="590"/>
                    <a:pt x="6353" y="617"/>
                  </a:cubicBezTo>
                  <a:cubicBezTo>
                    <a:pt x="6299" y="617"/>
                    <a:pt x="6245" y="644"/>
                    <a:pt x="6191" y="644"/>
                  </a:cubicBezTo>
                  <a:cubicBezTo>
                    <a:pt x="6137" y="644"/>
                    <a:pt x="6056" y="697"/>
                    <a:pt x="6029" y="751"/>
                  </a:cubicBezTo>
                  <a:cubicBezTo>
                    <a:pt x="6002" y="858"/>
                    <a:pt x="5921" y="911"/>
                    <a:pt x="5840" y="939"/>
                  </a:cubicBezTo>
                  <a:cubicBezTo>
                    <a:pt x="5787" y="965"/>
                    <a:pt x="5732" y="965"/>
                    <a:pt x="5732" y="965"/>
                  </a:cubicBezTo>
                  <a:cubicBezTo>
                    <a:pt x="5705" y="939"/>
                    <a:pt x="5679" y="858"/>
                    <a:pt x="5624" y="804"/>
                  </a:cubicBezTo>
                  <a:cubicBezTo>
                    <a:pt x="5543" y="751"/>
                    <a:pt x="5516" y="778"/>
                    <a:pt x="5516" y="751"/>
                  </a:cubicBezTo>
                  <a:cubicBezTo>
                    <a:pt x="5516" y="751"/>
                    <a:pt x="5516" y="697"/>
                    <a:pt x="5462" y="644"/>
                  </a:cubicBezTo>
                  <a:cubicBezTo>
                    <a:pt x="5435" y="617"/>
                    <a:pt x="5435" y="617"/>
                    <a:pt x="5408" y="590"/>
                  </a:cubicBezTo>
                  <a:cubicBezTo>
                    <a:pt x="5354" y="563"/>
                    <a:pt x="5273" y="536"/>
                    <a:pt x="5218" y="563"/>
                  </a:cubicBezTo>
                  <a:cubicBezTo>
                    <a:pt x="5191" y="563"/>
                    <a:pt x="5165" y="536"/>
                    <a:pt x="5110" y="590"/>
                  </a:cubicBezTo>
                  <a:cubicBezTo>
                    <a:pt x="5083" y="590"/>
                    <a:pt x="5083" y="617"/>
                    <a:pt x="5083" y="590"/>
                  </a:cubicBezTo>
                  <a:cubicBezTo>
                    <a:pt x="5110" y="590"/>
                    <a:pt x="5110" y="617"/>
                    <a:pt x="5083" y="590"/>
                  </a:cubicBezTo>
                  <a:cubicBezTo>
                    <a:pt x="5002" y="563"/>
                    <a:pt x="4922" y="644"/>
                    <a:pt x="4922" y="617"/>
                  </a:cubicBezTo>
                  <a:cubicBezTo>
                    <a:pt x="4948" y="644"/>
                    <a:pt x="4922" y="617"/>
                    <a:pt x="4867" y="617"/>
                  </a:cubicBezTo>
                  <a:cubicBezTo>
                    <a:pt x="4867" y="617"/>
                    <a:pt x="4840" y="617"/>
                    <a:pt x="4813" y="617"/>
                  </a:cubicBezTo>
                  <a:cubicBezTo>
                    <a:pt x="4786" y="617"/>
                    <a:pt x="4840" y="617"/>
                    <a:pt x="4786" y="590"/>
                  </a:cubicBezTo>
                  <a:cubicBezTo>
                    <a:pt x="4705" y="536"/>
                    <a:pt x="4678" y="536"/>
                    <a:pt x="4597" y="536"/>
                  </a:cubicBezTo>
                  <a:cubicBezTo>
                    <a:pt x="4543" y="563"/>
                    <a:pt x="4516" y="590"/>
                    <a:pt x="4516" y="590"/>
                  </a:cubicBezTo>
                  <a:cubicBezTo>
                    <a:pt x="4489" y="590"/>
                    <a:pt x="4516" y="590"/>
                    <a:pt x="4489" y="563"/>
                  </a:cubicBezTo>
                  <a:cubicBezTo>
                    <a:pt x="4353" y="456"/>
                    <a:pt x="4273" y="482"/>
                    <a:pt x="4137" y="456"/>
                  </a:cubicBezTo>
                  <a:cubicBezTo>
                    <a:pt x="4002" y="456"/>
                    <a:pt x="4083" y="510"/>
                    <a:pt x="4029" y="456"/>
                  </a:cubicBezTo>
                  <a:cubicBezTo>
                    <a:pt x="3948" y="429"/>
                    <a:pt x="3975" y="456"/>
                    <a:pt x="3948" y="429"/>
                  </a:cubicBezTo>
                  <a:cubicBezTo>
                    <a:pt x="3948" y="429"/>
                    <a:pt x="3920" y="429"/>
                    <a:pt x="3920" y="403"/>
                  </a:cubicBezTo>
                  <a:cubicBezTo>
                    <a:pt x="3894" y="403"/>
                    <a:pt x="3867" y="375"/>
                    <a:pt x="3894" y="403"/>
                  </a:cubicBezTo>
                  <a:cubicBezTo>
                    <a:pt x="3894" y="403"/>
                    <a:pt x="3894" y="348"/>
                    <a:pt x="3840" y="322"/>
                  </a:cubicBezTo>
                  <a:cubicBezTo>
                    <a:pt x="3732" y="268"/>
                    <a:pt x="3812" y="322"/>
                    <a:pt x="3759" y="268"/>
                  </a:cubicBezTo>
                  <a:cubicBezTo>
                    <a:pt x="3651" y="215"/>
                    <a:pt x="3569" y="322"/>
                    <a:pt x="3569" y="375"/>
                  </a:cubicBezTo>
                  <a:cubicBezTo>
                    <a:pt x="3569" y="403"/>
                    <a:pt x="3488" y="456"/>
                    <a:pt x="3516" y="456"/>
                  </a:cubicBezTo>
                  <a:cubicBezTo>
                    <a:pt x="3488" y="456"/>
                    <a:pt x="3488" y="429"/>
                    <a:pt x="3407" y="429"/>
                  </a:cubicBezTo>
                  <a:cubicBezTo>
                    <a:pt x="3353" y="510"/>
                    <a:pt x="3380" y="510"/>
                    <a:pt x="3353" y="510"/>
                  </a:cubicBezTo>
                  <a:cubicBezTo>
                    <a:pt x="3380" y="482"/>
                    <a:pt x="3380" y="482"/>
                    <a:pt x="3353" y="482"/>
                  </a:cubicBezTo>
                  <a:cubicBezTo>
                    <a:pt x="3245" y="536"/>
                    <a:pt x="3272" y="617"/>
                    <a:pt x="3245" y="617"/>
                  </a:cubicBezTo>
                  <a:cubicBezTo>
                    <a:pt x="3245" y="617"/>
                    <a:pt x="3218" y="617"/>
                    <a:pt x="3191" y="617"/>
                  </a:cubicBezTo>
                  <a:cubicBezTo>
                    <a:pt x="3163" y="644"/>
                    <a:pt x="3137" y="670"/>
                    <a:pt x="3137" y="697"/>
                  </a:cubicBezTo>
                  <a:cubicBezTo>
                    <a:pt x="3163" y="751"/>
                    <a:pt x="3163" y="778"/>
                    <a:pt x="3191" y="724"/>
                  </a:cubicBezTo>
                  <a:cubicBezTo>
                    <a:pt x="3218" y="697"/>
                    <a:pt x="3163" y="724"/>
                    <a:pt x="3137" y="724"/>
                  </a:cubicBezTo>
                  <a:cubicBezTo>
                    <a:pt x="3055" y="724"/>
                    <a:pt x="3055" y="778"/>
                    <a:pt x="3028" y="778"/>
                  </a:cubicBezTo>
                  <a:cubicBezTo>
                    <a:pt x="3028" y="832"/>
                    <a:pt x="2975" y="832"/>
                    <a:pt x="2947" y="804"/>
                  </a:cubicBezTo>
                  <a:cubicBezTo>
                    <a:pt x="2920" y="804"/>
                    <a:pt x="2893" y="804"/>
                    <a:pt x="2893" y="778"/>
                  </a:cubicBezTo>
                  <a:cubicBezTo>
                    <a:pt x="2867" y="778"/>
                    <a:pt x="2839" y="751"/>
                    <a:pt x="2812" y="778"/>
                  </a:cubicBezTo>
                  <a:cubicBezTo>
                    <a:pt x="2758" y="804"/>
                    <a:pt x="2758" y="804"/>
                    <a:pt x="2758" y="832"/>
                  </a:cubicBezTo>
                  <a:cubicBezTo>
                    <a:pt x="2731" y="885"/>
                    <a:pt x="2731" y="858"/>
                    <a:pt x="2650" y="858"/>
                  </a:cubicBezTo>
                  <a:cubicBezTo>
                    <a:pt x="2488" y="911"/>
                    <a:pt x="2488" y="1073"/>
                    <a:pt x="2434" y="1126"/>
                  </a:cubicBezTo>
                  <a:cubicBezTo>
                    <a:pt x="2434" y="1126"/>
                    <a:pt x="2326" y="1153"/>
                    <a:pt x="2298" y="1207"/>
                  </a:cubicBezTo>
                  <a:cubicBezTo>
                    <a:pt x="2271" y="1233"/>
                    <a:pt x="2298" y="1207"/>
                    <a:pt x="2245" y="1261"/>
                  </a:cubicBezTo>
                  <a:cubicBezTo>
                    <a:pt x="2218" y="1314"/>
                    <a:pt x="2218" y="1340"/>
                    <a:pt x="2218" y="1367"/>
                  </a:cubicBezTo>
                  <a:cubicBezTo>
                    <a:pt x="2218" y="1421"/>
                    <a:pt x="2245" y="1475"/>
                    <a:pt x="2218" y="1502"/>
                  </a:cubicBezTo>
                  <a:cubicBezTo>
                    <a:pt x="2218" y="1528"/>
                    <a:pt x="2136" y="1502"/>
                    <a:pt x="2082" y="1582"/>
                  </a:cubicBezTo>
                  <a:cubicBezTo>
                    <a:pt x="2055" y="1662"/>
                    <a:pt x="2082" y="1662"/>
                    <a:pt x="2028" y="1743"/>
                  </a:cubicBezTo>
                  <a:cubicBezTo>
                    <a:pt x="2028" y="1770"/>
                    <a:pt x="2028" y="1797"/>
                    <a:pt x="2001" y="1797"/>
                  </a:cubicBezTo>
                  <a:cubicBezTo>
                    <a:pt x="2001" y="1824"/>
                    <a:pt x="2001" y="1797"/>
                    <a:pt x="2001" y="1824"/>
                  </a:cubicBezTo>
                  <a:cubicBezTo>
                    <a:pt x="2001" y="1824"/>
                    <a:pt x="1974" y="1850"/>
                    <a:pt x="1974" y="1877"/>
                  </a:cubicBezTo>
                  <a:cubicBezTo>
                    <a:pt x="1947" y="1984"/>
                    <a:pt x="1893" y="1957"/>
                    <a:pt x="1785" y="2091"/>
                  </a:cubicBezTo>
                  <a:cubicBezTo>
                    <a:pt x="1785" y="2253"/>
                    <a:pt x="1812" y="2119"/>
                    <a:pt x="1785" y="2226"/>
                  </a:cubicBezTo>
                  <a:cubicBezTo>
                    <a:pt x="1757" y="2253"/>
                    <a:pt x="1757" y="2253"/>
                    <a:pt x="1757" y="2253"/>
                  </a:cubicBezTo>
                  <a:cubicBezTo>
                    <a:pt x="1731" y="2253"/>
                    <a:pt x="1731" y="2279"/>
                    <a:pt x="1731" y="2279"/>
                  </a:cubicBezTo>
                  <a:cubicBezTo>
                    <a:pt x="1704" y="2306"/>
                    <a:pt x="1677" y="2333"/>
                    <a:pt x="1704" y="2360"/>
                  </a:cubicBezTo>
                  <a:cubicBezTo>
                    <a:pt x="1704" y="2413"/>
                    <a:pt x="1704" y="2413"/>
                    <a:pt x="1731" y="2387"/>
                  </a:cubicBezTo>
                  <a:cubicBezTo>
                    <a:pt x="1704" y="2387"/>
                    <a:pt x="1677" y="2387"/>
                    <a:pt x="1649" y="2387"/>
                  </a:cubicBezTo>
                  <a:cubicBezTo>
                    <a:pt x="1569" y="2467"/>
                    <a:pt x="1596" y="2494"/>
                    <a:pt x="1569" y="2548"/>
                  </a:cubicBezTo>
                  <a:cubicBezTo>
                    <a:pt x="1541" y="2574"/>
                    <a:pt x="1569" y="2628"/>
                    <a:pt x="1569" y="2628"/>
                  </a:cubicBezTo>
                  <a:cubicBezTo>
                    <a:pt x="1569" y="2628"/>
                    <a:pt x="1569" y="2655"/>
                    <a:pt x="1596" y="2655"/>
                  </a:cubicBezTo>
                  <a:cubicBezTo>
                    <a:pt x="1569" y="2655"/>
                    <a:pt x="1596" y="2628"/>
                    <a:pt x="1596" y="2628"/>
                  </a:cubicBezTo>
                  <a:cubicBezTo>
                    <a:pt x="1569" y="2655"/>
                    <a:pt x="1541" y="2628"/>
                    <a:pt x="1487" y="2682"/>
                  </a:cubicBezTo>
                  <a:cubicBezTo>
                    <a:pt x="1461" y="2762"/>
                    <a:pt x="1487" y="2735"/>
                    <a:pt x="1487" y="2735"/>
                  </a:cubicBezTo>
                  <a:cubicBezTo>
                    <a:pt x="1487" y="2735"/>
                    <a:pt x="1461" y="2762"/>
                    <a:pt x="1433" y="2762"/>
                  </a:cubicBezTo>
                  <a:cubicBezTo>
                    <a:pt x="1461" y="2762"/>
                    <a:pt x="1433" y="2762"/>
                    <a:pt x="1406" y="2762"/>
                  </a:cubicBezTo>
                  <a:cubicBezTo>
                    <a:pt x="1379" y="2762"/>
                    <a:pt x="1352" y="2762"/>
                    <a:pt x="1325" y="2789"/>
                  </a:cubicBezTo>
                  <a:cubicBezTo>
                    <a:pt x="1325" y="2842"/>
                    <a:pt x="1325" y="2842"/>
                    <a:pt x="1325" y="2842"/>
                  </a:cubicBezTo>
                  <a:cubicBezTo>
                    <a:pt x="1298" y="2870"/>
                    <a:pt x="1298" y="2896"/>
                    <a:pt x="1298" y="2896"/>
                  </a:cubicBezTo>
                  <a:cubicBezTo>
                    <a:pt x="1298" y="2977"/>
                    <a:pt x="1271" y="2923"/>
                    <a:pt x="1243" y="3057"/>
                  </a:cubicBezTo>
                  <a:cubicBezTo>
                    <a:pt x="1271" y="3111"/>
                    <a:pt x="1271" y="3164"/>
                    <a:pt x="1298" y="3111"/>
                  </a:cubicBezTo>
                  <a:cubicBezTo>
                    <a:pt x="1271" y="3137"/>
                    <a:pt x="1217" y="3111"/>
                    <a:pt x="1163" y="3191"/>
                  </a:cubicBezTo>
                  <a:cubicBezTo>
                    <a:pt x="1136" y="3245"/>
                    <a:pt x="1136" y="3271"/>
                    <a:pt x="1136" y="3325"/>
                  </a:cubicBezTo>
                  <a:cubicBezTo>
                    <a:pt x="1109" y="3379"/>
                    <a:pt x="1163" y="3325"/>
                    <a:pt x="1082" y="3352"/>
                  </a:cubicBezTo>
                  <a:cubicBezTo>
                    <a:pt x="1000" y="3379"/>
                    <a:pt x="1028" y="3406"/>
                    <a:pt x="1000" y="3406"/>
                  </a:cubicBezTo>
                  <a:cubicBezTo>
                    <a:pt x="974" y="3433"/>
                    <a:pt x="1082" y="3406"/>
                    <a:pt x="1028" y="3406"/>
                  </a:cubicBezTo>
                  <a:cubicBezTo>
                    <a:pt x="1028" y="3379"/>
                    <a:pt x="892" y="3379"/>
                    <a:pt x="920" y="3379"/>
                  </a:cubicBezTo>
                  <a:cubicBezTo>
                    <a:pt x="920" y="3352"/>
                    <a:pt x="839" y="3352"/>
                    <a:pt x="839" y="3352"/>
                  </a:cubicBezTo>
                  <a:cubicBezTo>
                    <a:pt x="865" y="3379"/>
                    <a:pt x="839" y="3352"/>
                    <a:pt x="812" y="3352"/>
                  </a:cubicBezTo>
                  <a:cubicBezTo>
                    <a:pt x="757" y="3325"/>
                    <a:pt x="676" y="3325"/>
                    <a:pt x="649" y="3379"/>
                  </a:cubicBezTo>
                  <a:cubicBezTo>
                    <a:pt x="622" y="3379"/>
                    <a:pt x="622" y="3379"/>
                    <a:pt x="622" y="3379"/>
                  </a:cubicBezTo>
                  <a:cubicBezTo>
                    <a:pt x="622" y="3379"/>
                    <a:pt x="595" y="3433"/>
                    <a:pt x="595" y="3459"/>
                  </a:cubicBezTo>
                  <a:cubicBezTo>
                    <a:pt x="622" y="3486"/>
                    <a:pt x="622" y="3486"/>
                    <a:pt x="622" y="3512"/>
                  </a:cubicBezTo>
                  <a:cubicBezTo>
                    <a:pt x="622" y="3512"/>
                    <a:pt x="622" y="3512"/>
                    <a:pt x="622" y="3486"/>
                  </a:cubicBezTo>
                  <a:cubicBezTo>
                    <a:pt x="649" y="3486"/>
                    <a:pt x="649" y="3486"/>
                    <a:pt x="622" y="3486"/>
                  </a:cubicBezTo>
                  <a:cubicBezTo>
                    <a:pt x="622" y="3486"/>
                    <a:pt x="595" y="3486"/>
                    <a:pt x="568" y="3512"/>
                  </a:cubicBezTo>
                  <a:cubicBezTo>
                    <a:pt x="568" y="3512"/>
                    <a:pt x="568" y="3512"/>
                    <a:pt x="568" y="3540"/>
                  </a:cubicBezTo>
                  <a:cubicBezTo>
                    <a:pt x="541" y="3540"/>
                    <a:pt x="514" y="3566"/>
                    <a:pt x="487" y="3566"/>
                  </a:cubicBezTo>
                  <a:cubicBezTo>
                    <a:pt x="460" y="3566"/>
                    <a:pt x="460" y="3566"/>
                    <a:pt x="433" y="3540"/>
                  </a:cubicBezTo>
                  <a:cubicBezTo>
                    <a:pt x="406" y="3512"/>
                    <a:pt x="433" y="3459"/>
                    <a:pt x="298" y="3459"/>
                  </a:cubicBezTo>
                  <a:cubicBezTo>
                    <a:pt x="243" y="3540"/>
                    <a:pt x="271" y="3540"/>
                    <a:pt x="243" y="3540"/>
                  </a:cubicBezTo>
                  <a:cubicBezTo>
                    <a:pt x="271" y="3540"/>
                    <a:pt x="216" y="3540"/>
                    <a:pt x="216" y="3512"/>
                  </a:cubicBezTo>
                  <a:cubicBezTo>
                    <a:pt x="163" y="3512"/>
                    <a:pt x="135" y="3486"/>
                    <a:pt x="82" y="3512"/>
                  </a:cubicBezTo>
                  <a:cubicBezTo>
                    <a:pt x="55" y="3512"/>
                    <a:pt x="27" y="3512"/>
                    <a:pt x="27" y="3540"/>
                  </a:cubicBezTo>
                  <a:cubicBezTo>
                    <a:pt x="0" y="3593"/>
                    <a:pt x="27" y="3621"/>
                    <a:pt x="27" y="3621"/>
                  </a:cubicBezTo>
                  <a:cubicBezTo>
                    <a:pt x="55" y="3674"/>
                    <a:pt x="82" y="3728"/>
                    <a:pt x="82" y="3781"/>
                  </a:cubicBezTo>
                  <a:cubicBezTo>
                    <a:pt x="82" y="3808"/>
                    <a:pt x="135" y="3915"/>
                    <a:pt x="190" y="3915"/>
                  </a:cubicBezTo>
                  <a:cubicBezTo>
                    <a:pt x="216" y="3942"/>
                    <a:pt x="243" y="3969"/>
                    <a:pt x="298" y="4022"/>
                  </a:cubicBezTo>
                  <a:cubicBezTo>
                    <a:pt x="351" y="4050"/>
                    <a:pt x="379" y="4050"/>
                    <a:pt x="379" y="4050"/>
                  </a:cubicBezTo>
                  <a:cubicBezTo>
                    <a:pt x="406" y="4102"/>
                    <a:pt x="433" y="4128"/>
                    <a:pt x="433" y="4155"/>
                  </a:cubicBezTo>
                  <a:cubicBezTo>
                    <a:pt x="460" y="4182"/>
                    <a:pt x="487" y="4290"/>
                    <a:pt x="514" y="4316"/>
                  </a:cubicBezTo>
                  <a:cubicBezTo>
                    <a:pt x="514" y="4343"/>
                    <a:pt x="622" y="4370"/>
                    <a:pt x="622" y="4343"/>
                  </a:cubicBezTo>
                  <a:cubicBezTo>
                    <a:pt x="649" y="4316"/>
                    <a:pt x="676" y="4316"/>
                    <a:pt x="676" y="4290"/>
                  </a:cubicBezTo>
                  <a:cubicBezTo>
                    <a:pt x="676" y="4290"/>
                    <a:pt x="703" y="4290"/>
                    <a:pt x="676" y="4290"/>
                  </a:cubicBezTo>
                  <a:cubicBezTo>
                    <a:pt x="649" y="4290"/>
                    <a:pt x="649" y="4316"/>
                    <a:pt x="649" y="4290"/>
                  </a:cubicBezTo>
                  <a:cubicBezTo>
                    <a:pt x="595" y="4290"/>
                    <a:pt x="595" y="4263"/>
                    <a:pt x="595" y="4263"/>
                  </a:cubicBezTo>
                  <a:cubicBezTo>
                    <a:pt x="595" y="4263"/>
                    <a:pt x="595" y="4343"/>
                    <a:pt x="595" y="4424"/>
                  </a:cubicBezTo>
                  <a:cubicBezTo>
                    <a:pt x="595" y="4450"/>
                    <a:pt x="622" y="4397"/>
                    <a:pt x="568" y="4450"/>
                  </a:cubicBezTo>
                  <a:cubicBezTo>
                    <a:pt x="541" y="4504"/>
                    <a:pt x="568" y="4557"/>
                    <a:pt x="568" y="4585"/>
                  </a:cubicBezTo>
                  <a:cubicBezTo>
                    <a:pt x="595" y="4638"/>
                    <a:pt x="622" y="4665"/>
                    <a:pt x="595" y="4665"/>
                  </a:cubicBezTo>
                  <a:cubicBezTo>
                    <a:pt x="622" y="4665"/>
                    <a:pt x="595" y="4665"/>
                    <a:pt x="568" y="4719"/>
                  </a:cubicBezTo>
                  <a:cubicBezTo>
                    <a:pt x="541" y="4745"/>
                    <a:pt x="595" y="4826"/>
                    <a:pt x="622" y="4826"/>
                  </a:cubicBezTo>
                  <a:cubicBezTo>
                    <a:pt x="649" y="4826"/>
                    <a:pt x="676" y="4853"/>
                    <a:pt x="676" y="4853"/>
                  </a:cubicBezTo>
                  <a:cubicBezTo>
                    <a:pt x="649" y="4799"/>
                    <a:pt x="676" y="4879"/>
                    <a:pt x="676" y="4879"/>
                  </a:cubicBezTo>
                  <a:cubicBezTo>
                    <a:pt x="703" y="4907"/>
                    <a:pt x="703" y="4907"/>
                    <a:pt x="703" y="4907"/>
                  </a:cubicBezTo>
                  <a:cubicBezTo>
                    <a:pt x="757" y="4960"/>
                    <a:pt x="757" y="4960"/>
                    <a:pt x="812" y="5041"/>
                  </a:cubicBezTo>
                  <a:cubicBezTo>
                    <a:pt x="865" y="5067"/>
                    <a:pt x="892" y="5094"/>
                    <a:pt x="947" y="5121"/>
                  </a:cubicBezTo>
                  <a:cubicBezTo>
                    <a:pt x="974" y="5148"/>
                    <a:pt x="974" y="5148"/>
                    <a:pt x="1028" y="5148"/>
                  </a:cubicBezTo>
                  <a:cubicBezTo>
                    <a:pt x="1082" y="5121"/>
                    <a:pt x="1055" y="5121"/>
                    <a:pt x="1055" y="5121"/>
                  </a:cubicBezTo>
                  <a:cubicBezTo>
                    <a:pt x="1028" y="5121"/>
                    <a:pt x="1055" y="5148"/>
                    <a:pt x="1055" y="5174"/>
                  </a:cubicBezTo>
                  <a:cubicBezTo>
                    <a:pt x="1190" y="5336"/>
                    <a:pt x="1352" y="5255"/>
                    <a:pt x="1406" y="5389"/>
                  </a:cubicBezTo>
                  <a:cubicBezTo>
                    <a:pt x="1433" y="5389"/>
                    <a:pt x="1433" y="5470"/>
                    <a:pt x="1461" y="5389"/>
                  </a:cubicBezTo>
                  <a:cubicBezTo>
                    <a:pt x="1461" y="5389"/>
                    <a:pt x="1433" y="5389"/>
                    <a:pt x="1406" y="5416"/>
                  </a:cubicBezTo>
                  <a:cubicBezTo>
                    <a:pt x="1352" y="5416"/>
                    <a:pt x="1352" y="5470"/>
                    <a:pt x="1352" y="5496"/>
                  </a:cubicBezTo>
                  <a:cubicBezTo>
                    <a:pt x="1352" y="5523"/>
                    <a:pt x="1352" y="5523"/>
                    <a:pt x="1352" y="5550"/>
                  </a:cubicBezTo>
                  <a:cubicBezTo>
                    <a:pt x="1325" y="5550"/>
                    <a:pt x="1352" y="5523"/>
                    <a:pt x="1325" y="5550"/>
                  </a:cubicBezTo>
                  <a:cubicBezTo>
                    <a:pt x="1325" y="5550"/>
                    <a:pt x="1298" y="5550"/>
                    <a:pt x="1271" y="5550"/>
                  </a:cubicBezTo>
                  <a:cubicBezTo>
                    <a:pt x="1271" y="5577"/>
                    <a:pt x="1271" y="5550"/>
                    <a:pt x="1243" y="5604"/>
                  </a:cubicBezTo>
                  <a:cubicBezTo>
                    <a:pt x="1217" y="5658"/>
                    <a:pt x="1271" y="5658"/>
                    <a:pt x="1271" y="5658"/>
                  </a:cubicBezTo>
                  <a:cubicBezTo>
                    <a:pt x="1298" y="5684"/>
                    <a:pt x="1298" y="5684"/>
                    <a:pt x="1298" y="5684"/>
                  </a:cubicBezTo>
                  <a:cubicBezTo>
                    <a:pt x="1379" y="5818"/>
                    <a:pt x="1596" y="5791"/>
                    <a:pt x="1325" y="5818"/>
                  </a:cubicBezTo>
                  <a:cubicBezTo>
                    <a:pt x="1325" y="5818"/>
                    <a:pt x="1271" y="5818"/>
                    <a:pt x="1243" y="5872"/>
                  </a:cubicBezTo>
                  <a:cubicBezTo>
                    <a:pt x="1217" y="5899"/>
                    <a:pt x="1243" y="5925"/>
                    <a:pt x="1243" y="5952"/>
                  </a:cubicBezTo>
                  <a:cubicBezTo>
                    <a:pt x="1243" y="5979"/>
                    <a:pt x="1243" y="6006"/>
                    <a:pt x="1271" y="6033"/>
                  </a:cubicBezTo>
                  <a:cubicBezTo>
                    <a:pt x="1325" y="6087"/>
                    <a:pt x="1325" y="6059"/>
                    <a:pt x="1352" y="6087"/>
                  </a:cubicBezTo>
                  <a:cubicBezTo>
                    <a:pt x="1406" y="6087"/>
                    <a:pt x="1461" y="6087"/>
                    <a:pt x="1487" y="6087"/>
                  </a:cubicBezTo>
                  <a:cubicBezTo>
                    <a:pt x="1487" y="6087"/>
                    <a:pt x="1514" y="6113"/>
                    <a:pt x="1514" y="6166"/>
                  </a:cubicBezTo>
                  <a:cubicBezTo>
                    <a:pt x="1514" y="6194"/>
                    <a:pt x="1514" y="6194"/>
                    <a:pt x="1541" y="6247"/>
                  </a:cubicBezTo>
                  <a:cubicBezTo>
                    <a:pt x="1569" y="6300"/>
                    <a:pt x="1596" y="6274"/>
                    <a:pt x="1622" y="6300"/>
                  </a:cubicBezTo>
                  <a:cubicBezTo>
                    <a:pt x="1677" y="6300"/>
                    <a:pt x="1731" y="6300"/>
                    <a:pt x="1785" y="6300"/>
                  </a:cubicBezTo>
                  <a:cubicBezTo>
                    <a:pt x="1839" y="6328"/>
                    <a:pt x="1974" y="6354"/>
                    <a:pt x="2028" y="6381"/>
                  </a:cubicBezTo>
                  <a:cubicBezTo>
                    <a:pt x="2028" y="6381"/>
                    <a:pt x="2028" y="6354"/>
                    <a:pt x="2028" y="6381"/>
                  </a:cubicBezTo>
                  <a:cubicBezTo>
                    <a:pt x="2028" y="6408"/>
                    <a:pt x="2028" y="6462"/>
                    <a:pt x="2055" y="6488"/>
                  </a:cubicBezTo>
                  <a:cubicBezTo>
                    <a:pt x="2110" y="6542"/>
                    <a:pt x="2055" y="6462"/>
                    <a:pt x="2082" y="6542"/>
                  </a:cubicBezTo>
                  <a:cubicBezTo>
                    <a:pt x="2110" y="6596"/>
                    <a:pt x="2136" y="6596"/>
                    <a:pt x="2163" y="6622"/>
                  </a:cubicBezTo>
                  <a:cubicBezTo>
                    <a:pt x="2190" y="6622"/>
                    <a:pt x="2190" y="6676"/>
                    <a:pt x="2271" y="6622"/>
                  </a:cubicBezTo>
                  <a:cubicBezTo>
                    <a:pt x="2298" y="6596"/>
                    <a:pt x="2326" y="6569"/>
                    <a:pt x="2326" y="6542"/>
                  </a:cubicBezTo>
                  <a:cubicBezTo>
                    <a:pt x="2353" y="6516"/>
                    <a:pt x="2380" y="6462"/>
                    <a:pt x="2406" y="6435"/>
                  </a:cubicBezTo>
                  <a:cubicBezTo>
                    <a:pt x="2461" y="6381"/>
                    <a:pt x="2488" y="6354"/>
                    <a:pt x="2515" y="6300"/>
                  </a:cubicBezTo>
                  <a:cubicBezTo>
                    <a:pt x="2515" y="6300"/>
                    <a:pt x="2488" y="6328"/>
                    <a:pt x="2515" y="6300"/>
                  </a:cubicBezTo>
                  <a:cubicBezTo>
                    <a:pt x="2542" y="6300"/>
                    <a:pt x="2542" y="6274"/>
                    <a:pt x="2569" y="6274"/>
                  </a:cubicBezTo>
                  <a:cubicBezTo>
                    <a:pt x="2596" y="6274"/>
                    <a:pt x="2596" y="6247"/>
                    <a:pt x="2623" y="6247"/>
                  </a:cubicBezTo>
                  <a:cubicBezTo>
                    <a:pt x="2569" y="6221"/>
                    <a:pt x="2650" y="6274"/>
                    <a:pt x="2677" y="6328"/>
                  </a:cubicBezTo>
                  <a:cubicBezTo>
                    <a:pt x="2704" y="6354"/>
                    <a:pt x="2731" y="6408"/>
                    <a:pt x="2839" y="6435"/>
                  </a:cubicBezTo>
                  <a:cubicBezTo>
                    <a:pt x="2893" y="6381"/>
                    <a:pt x="3002" y="6542"/>
                    <a:pt x="2893" y="6516"/>
                  </a:cubicBezTo>
                  <a:cubicBezTo>
                    <a:pt x="2893" y="6516"/>
                    <a:pt x="2893" y="6516"/>
                    <a:pt x="2867" y="6488"/>
                  </a:cubicBezTo>
                  <a:cubicBezTo>
                    <a:pt x="2839" y="6462"/>
                    <a:pt x="2839" y="6462"/>
                    <a:pt x="2839" y="6462"/>
                  </a:cubicBezTo>
                  <a:cubicBezTo>
                    <a:pt x="2812" y="6435"/>
                    <a:pt x="2758" y="6462"/>
                    <a:pt x="2731" y="6488"/>
                  </a:cubicBezTo>
                  <a:cubicBezTo>
                    <a:pt x="2704" y="6542"/>
                    <a:pt x="2677" y="6596"/>
                    <a:pt x="2677" y="6569"/>
                  </a:cubicBezTo>
                  <a:cubicBezTo>
                    <a:pt x="2677" y="6569"/>
                    <a:pt x="2650" y="6569"/>
                    <a:pt x="2623" y="6569"/>
                  </a:cubicBezTo>
                  <a:cubicBezTo>
                    <a:pt x="2596" y="6542"/>
                    <a:pt x="2542" y="6622"/>
                    <a:pt x="2569" y="6650"/>
                  </a:cubicBezTo>
                  <a:cubicBezTo>
                    <a:pt x="2569" y="6703"/>
                    <a:pt x="2596" y="6703"/>
                    <a:pt x="2596" y="6730"/>
                  </a:cubicBezTo>
                  <a:cubicBezTo>
                    <a:pt x="2623" y="6730"/>
                    <a:pt x="2623" y="6838"/>
                    <a:pt x="2650" y="6864"/>
                  </a:cubicBezTo>
                  <a:cubicBezTo>
                    <a:pt x="2677" y="6917"/>
                    <a:pt x="2758" y="6998"/>
                    <a:pt x="2812" y="6998"/>
                  </a:cubicBezTo>
                  <a:cubicBezTo>
                    <a:pt x="2867" y="7025"/>
                    <a:pt x="2812" y="6944"/>
                    <a:pt x="2839" y="7105"/>
                  </a:cubicBezTo>
                  <a:cubicBezTo>
                    <a:pt x="2893" y="7159"/>
                    <a:pt x="2893" y="7132"/>
                    <a:pt x="2947" y="7159"/>
                  </a:cubicBezTo>
                  <a:cubicBezTo>
                    <a:pt x="2975" y="7159"/>
                    <a:pt x="2975" y="7159"/>
                    <a:pt x="2975" y="7159"/>
                  </a:cubicBezTo>
                  <a:cubicBezTo>
                    <a:pt x="2975" y="7159"/>
                    <a:pt x="3002" y="7186"/>
                    <a:pt x="2947" y="7132"/>
                  </a:cubicBezTo>
                  <a:cubicBezTo>
                    <a:pt x="2947" y="7079"/>
                    <a:pt x="2975" y="7105"/>
                    <a:pt x="2947" y="7105"/>
                  </a:cubicBezTo>
                  <a:cubicBezTo>
                    <a:pt x="2947" y="7132"/>
                    <a:pt x="2947" y="7159"/>
                    <a:pt x="2947" y="7159"/>
                  </a:cubicBezTo>
                  <a:cubicBezTo>
                    <a:pt x="2975" y="7239"/>
                    <a:pt x="3055" y="7267"/>
                    <a:pt x="3083" y="7293"/>
                  </a:cubicBezTo>
                  <a:cubicBezTo>
                    <a:pt x="3218" y="7374"/>
                    <a:pt x="3353" y="7320"/>
                    <a:pt x="3245" y="7400"/>
                  </a:cubicBezTo>
                  <a:cubicBezTo>
                    <a:pt x="3218" y="7454"/>
                    <a:pt x="3191" y="7427"/>
                    <a:pt x="3110" y="7454"/>
                  </a:cubicBezTo>
                  <a:cubicBezTo>
                    <a:pt x="3028" y="7508"/>
                    <a:pt x="3028" y="7588"/>
                    <a:pt x="3028" y="7642"/>
                  </a:cubicBezTo>
                  <a:cubicBezTo>
                    <a:pt x="3002" y="7696"/>
                    <a:pt x="3083" y="7803"/>
                    <a:pt x="3137" y="7803"/>
                  </a:cubicBezTo>
                  <a:cubicBezTo>
                    <a:pt x="3191" y="7830"/>
                    <a:pt x="3245" y="7856"/>
                    <a:pt x="3299" y="7856"/>
                  </a:cubicBezTo>
                  <a:cubicBezTo>
                    <a:pt x="3353" y="7856"/>
                    <a:pt x="3434" y="7883"/>
                    <a:pt x="3488" y="7856"/>
                  </a:cubicBezTo>
                  <a:cubicBezTo>
                    <a:pt x="3516" y="7830"/>
                    <a:pt x="3542" y="7830"/>
                    <a:pt x="3569" y="7803"/>
                  </a:cubicBezTo>
                  <a:cubicBezTo>
                    <a:pt x="3569" y="7803"/>
                    <a:pt x="3596" y="7803"/>
                    <a:pt x="3624" y="7803"/>
                  </a:cubicBezTo>
                  <a:cubicBezTo>
                    <a:pt x="3759" y="7803"/>
                    <a:pt x="3840" y="7803"/>
                    <a:pt x="3920" y="7856"/>
                  </a:cubicBezTo>
                  <a:cubicBezTo>
                    <a:pt x="3975" y="7910"/>
                    <a:pt x="4083" y="7910"/>
                    <a:pt x="4137" y="7883"/>
                  </a:cubicBezTo>
                  <a:cubicBezTo>
                    <a:pt x="4164" y="7856"/>
                    <a:pt x="4191" y="7883"/>
                    <a:pt x="4245" y="7910"/>
                  </a:cubicBezTo>
                  <a:cubicBezTo>
                    <a:pt x="4353" y="7963"/>
                    <a:pt x="4461" y="7990"/>
                    <a:pt x="4569" y="8044"/>
                  </a:cubicBezTo>
                  <a:cubicBezTo>
                    <a:pt x="4651" y="8097"/>
                    <a:pt x="4813" y="8125"/>
                    <a:pt x="4922" y="8125"/>
                  </a:cubicBezTo>
                  <a:cubicBezTo>
                    <a:pt x="5030" y="8125"/>
                    <a:pt x="5165" y="7990"/>
                    <a:pt x="5218" y="7990"/>
                  </a:cubicBezTo>
                  <a:cubicBezTo>
                    <a:pt x="5246" y="7990"/>
                    <a:pt x="5300" y="8017"/>
                    <a:pt x="5326" y="8044"/>
                  </a:cubicBezTo>
                  <a:cubicBezTo>
                    <a:pt x="5435" y="8071"/>
                    <a:pt x="5462" y="8071"/>
                    <a:pt x="5516" y="8071"/>
                  </a:cubicBezTo>
                  <a:cubicBezTo>
                    <a:pt x="5624" y="8071"/>
                    <a:pt x="5759" y="8044"/>
                    <a:pt x="5814" y="8071"/>
                  </a:cubicBezTo>
                  <a:cubicBezTo>
                    <a:pt x="5921" y="8125"/>
                    <a:pt x="6083" y="8097"/>
                    <a:pt x="6137" y="8151"/>
                  </a:cubicBezTo>
                  <a:cubicBezTo>
                    <a:pt x="6164" y="8178"/>
                    <a:pt x="6245" y="8232"/>
                    <a:pt x="6299" y="8205"/>
                  </a:cubicBezTo>
                  <a:cubicBezTo>
                    <a:pt x="6353" y="8205"/>
                    <a:pt x="6407" y="8205"/>
                    <a:pt x="6461" y="8205"/>
                  </a:cubicBezTo>
                  <a:cubicBezTo>
                    <a:pt x="6488" y="8205"/>
                    <a:pt x="6623" y="8151"/>
                    <a:pt x="6623" y="8125"/>
                  </a:cubicBezTo>
                  <a:cubicBezTo>
                    <a:pt x="6678" y="8125"/>
                    <a:pt x="6705" y="8097"/>
                    <a:pt x="6759" y="8097"/>
                  </a:cubicBezTo>
                  <a:cubicBezTo>
                    <a:pt x="6840" y="8125"/>
                    <a:pt x="6894" y="7990"/>
                    <a:pt x="6894" y="7990"/>
                  </a:cubicBezTo>
                  <a:cubicBezTo>
                    <a:pt x="6921" y="7990"/>
                    <a:pt x="7002" y="7910"/>
                    <a:pt x="7002" y="7883"/>
                  </a:cubicBezTo>
                  <a:cubicBezTo>
                    <a:pt x="7083" y="7803"/>
                    <a:pt x="7164" y="7749"/>
                    <a:pt x="7219" y="7642"/>
                  </a:cubicBezTo>
                  <a:cubicBezTo>
                    <a:pt x="7245" y="7615"/>
                    <a:pt x="7272" y="7588"/>
                    <a:pt x="7300" y="7588"/>
                  </a:cubicBezTo>
                  <a:cubicBezTo>
                    <a:pt x="7380" y="7561"/>
                    <a:pt x="7408" y="7534"/>
                    <a:pt x="7435" y="7508"/>
                  </a:cubicBezTo>
                  <a:cubicBezTo>
                    <a:pt x="7489" y="7481"/>
                    <a:pt x="7624" y="7508"/>
                    <a:pt x="7705" y="7481"/>
                  </a:cubicBezTo>
                  <a:cubicBezTo>
                    <a:pt x="7813" y="7454"/>
                    <a:pt x="7921" y="7427"/>
                    <a:pt x="8002" y="7400"/>
                  </a:cubicBezTo>
                  <a:cubicBezTo>
                    <a:pt x="8029" y="7400"/>
                    <a:pt x="8111" y="7400"/>
                    <a:pt x="8137" y="7374"/>
                  </a:cubicBezTo>
                  <a:cubicBezTo>
                    <a:pt x="8192" y="7346"/>
                    <a:pt x="8219" y="7346"/>
                    <a:pt x="8273" y="7320"/>
                  </a:cubicBezTo>
                  <a:cubicBezTo>
                    <a:pt x="8354" y="7293"/>
                    <a:pt x="8435" y="7293"/>
                    <a:pt x="8516" y="7320"/>
                  </a:cubicBezTo>
                  <a:cubicBezTo>
                    <a:pt x="8543" y="7320"/>
                    <a:pt x="8598" y="7346"/>
                    <a:pt x="8651" y="7346"/>
                  </a:cubicBezTo>
                  <a:cubicBezTo>
                    <a:pt x="8625" y="7320"/>
                    <a:pt x="8678" y="7400"/>
                    <a:pt x="8733" y="7427"/>
                  </a:cubicBezTo>
                  <a:cubicBezTo>
                    <a:pt x="8760" y="7427"/>
                    <a:pt x="8760" y="7454"/>
                    <a:pt x="8841" y="7481"/>
                  </a:cubicBezTo>
                  <a:cubicBezTo>
                    <a:pt x="8894" y="7508"/>
                    <a:pt x="8922" y="7481"/>
                    <a:pt x="8976" y="7481"/>
                  </a:cubicBezTo>
                  <a:cubicBezTo>
                    <a:pt x="9030" y="7481"/>
                    <a:pt x="9057" y="7481"/>
                    <a:pt x="9111" y="7481"/>
                  </a:cubicBezTo>
                  <a:cubicBezTo>
                    <a:pt x="9111" y="7481"/>
                    <a:pt x="9165" y="7481"/>
                    <a:pt x="9192" y="7454"/>
                  </a:cubicBezTo>
                  <a:cubicBezTo>
                    <a:pt x="9192" y="7454"/>
                    <a:pt x="9138" y="7454"/>
                    <a:pt x="9165" y="7454"/>
                  </a:cubicBezTo>
                  <a:cubicBezTo>
                    <a:pt x="9192" y="7481"/>
                    <a:pt x="9192" y="7508"/>
                    <a:pt x="9219" y="7561"/>
                  </a:cubicBezTo>
                  <a:cubicBezTo>
                    <a:pt x="9300" y="7615"/>
                    <a:pt x="9327" y="7588"/>
                    <a:pt x="9382" y="7588"/>
                  </a:cubicBezTo>
                  <a:cubicBezTo>
                    <a:pt x="9408" y="7588"/>
                    <a:pt x="9408" y="7588"/>
                    <a:pt x="9435" y="7588"/>
                  </a:cubicBezTo>
                  <a:cubicBezTo>
                    <a:pt x="9490" y="7561"/>
                    <a:pt x="9490" y="7534"/>
                    <a:pt x="9517" y="7534"/>
                  </a:cubicBezTo>
                  <a:cubicBezTo>
                    <a:pt x="9517" y="7481"/>
                    <a:pt x="9543" y="7481"/>
                    <a:pt x="9517" y="7481"/>
                  </a:cubicBezTo>
                  <a:cubicBezTo>
                    <a:pt x="9543" y="7534"/>
                    <a:pt x="9543" y="7615"/>
                    <a:pt x="9571" y="7668"/>
                  </a:cubicBezTo>
                  <a:cubicBezTo>
                    <a:pt x="9652" y="7856"/>
                    <a:pt x="9814" y="7856"/>
                    <a:pt x="9922" y="7883"/>
                  </a:cubicBezTo>
                  <a:cubicBezTo>
                    <a:pt x="9976" y="7910"/>
                    <a:pt x="10057" y="7910"/>
                    <a:pt x="10084" y="7910"/>
                  </a:cubicBezTo>
                  <a:cubicBezTo>
                    <a:pt x="10112" y="7937"/>
                    <a:pt x="10220" y="7963"/>
                    <a:pt x="10247" y="7937"/>
                  </a:cubicBezTo>
                  <a:cubicBezTo>
                    <a:pt x="10328" y="7937"/>
                    <a:pt x="10328" y="7937"/>
                    <a:pt x="10328" y="7937"/>
                  </a:cubicBezTo>
                  <a:cubicBezTo>
                    <a:pt x="10355" y="7937"/>
                    <a:pt x="10355" y="7937"/>
                    <a:pt x="10355" y="7937"/>
                  </a:cubicBezTo>
                  <a:cubicBezTo>
                    <a:pt x="10328" y="7963"/>
                    <a:pt x="10409" y="7883"/>
                    <a:pt x="10409" y="7883"/>
                  </a:cubicBezTo>
                  <a:cubicBezTo>
                    <a:pt x="10409" y="7856"/>
                    <a:pt x="10409" y="7856"/>
                    <a:pt x="10409" y="7856"/>
                  </a:cubicBezTo>
                  <a:cubicBezTo>
                    <a:pt x="10409" y="7803"/>
                    <a:pt x="10409" y="7775"/>
                    <a:pt x="10436" y="7722"/>
                  </a:cubicBezTo>
                  <a:cubicBezTo>
                    <a:pt x="10436" y="7642"/>
                    <a:pt x="10463" y="7588"/>
                    <a:pt x="10463" y="7508"/>
                  </a:cubicBezTo>
                  <a:cubicBezTo>
                    <a:pt x="10517" y="7400"/>
                    <a:pt x="10463" y="7346"/>
                    <a:pt x="10463" y="7293"/>
                  </a:cubicBezTo>
                  <a:cubicBezTo>
                    <a:pt x="10436" y="7213"/>
                    <a:pt x="10463" y="7186"/>
                    <a:pt x="10463" y="7079"/>
                  </a:cubicBezTo>
                  <a:cubicBezTo>
                    <a:pt x="10436" y="7025"/>
                    <a:pt x="10409" y="6944"/>
                    <a:pt x="10409" y="6891"/>
                  </a:cubicBezTo>
                  <a:cubicBezTo>
                    <a:pt x="10436" y="6864"/>
                    <a:pt x="10436" y="6864"/>
                    <a:pt x="10436" y="6864"/>
                  </a:cubicBezTo>
                  <a:cubicBezTo>
                    <a:pt x="10436" y="6864"/>
                    <a:pt x="10436" y="6891"/>
                    <a:pt x="10409" y="6864"/>
                  </a:cubicBezTo>
                  <a:cubicBezTo>
                    <a:pt x="10409" y="6864"/>
                    <a:pt x="10436" y="6864"/>
                    <a:pt x="10463" y="6864"/>
                  </a:cubicBezTo>
                  <a:cubicBezTo>
                    <a:pt x="10517" y="6838"/>
                    <a:pt x="10517" y="6783"/>
                    <a:pt x="10544" y="6783"/>
                  </a:cubicBezTo>
                  <a:cubicBezTo>
                    <a:pt x="10571" y="6730"/>
                    <a:pt x="10598" y="6676"/>
                    <a:pt x="10653" y="6622"/>
                  </a:cubicBezTo>
                  <a:cubicBezTo>
                    <a:pt x="10679" y="6596"/>
                    <a:pt x="10706" y="6569"/>
                    <a:pt x="10706" y="6542"/>
                  </a:cubicBezTo>
                  <a:cubicBezTo>
                    <a:pt x="10706" y="6488"/>
                    <a:pt x="10761" y="6516"/>
                    <a:pt x="10706" y="6381"/>
                  </a:cubicBezTo>
                  <a:cubicBezTo>
                    <a:pt x="10598" y="6408"/>
                    <a:pt x="10625" y="6435"/>
                    <a:pt x="10571" y="6462"/>
                  </a:cubicBezTo>
                  <a:cubicBezTo>
                    <a:pt x="10571" y="6462"/>
                    <a:pt x="10544" y="6488"/>
                    <a:pt x="10517" y="6542"/>
                  </a:cubicBezTo>
                  <a:cubicBezTo>
                    <a:pt x="10517" y="6569"/>
                    <a:pt x="10517" y="6569"/>
                    <a:pt x="10517" y="6569"/>
                  </a:cubicBezTo>
                  <a:cubicBezTo>
                    <a:pt x="10517" y="6542"/>
                    <a:pt x="10571" y="6596"/>
                    <a:pt x="10544" y="6596"/>
                  </a:cubicBezTo>
                  <a:cubicBezTo>
                    <a:pt x="10544" y="6569"/>
                    <a:pt x="10571" y="6542"/>
                    <a:pt x="10571" y="6516"/>
                  </a:cubicBezTo>
                  <a:cubicBezTo>
                    <a:pt x="10571" y="6488"/>
                    <a:pt x="10517" y="6354"/>
                    <a:pt x="10517" y="6462"/>
                  </a:cubicBezTo>
                  <a:cubicBezTo>
                    <a:pt x="10544" y="6435"/>
                    <a:pt x="10544" y="6516"/>
                    <a:pt x="10571" y="6408"/>
                  </a:cubicBezTo>
                  <a:cubicBezTo>
                    <a:pt x="10571" y="6381"/>
                    <a:pt x="10544" y="6354"/>
                    <a:pt x="10544" y="6354"/>
                  </a:cubicBezTo>
                  <a:cubicBezTo>
                    <a:pt x="10544" y="6381"/>
                    <a:pt x="10544" y="6381"/>
                    <a:pt x="10571" y="6354"/>
                  </a:cubicBezTo>
                  <a:cubicBezTo>
                    <a:pt x="10571" y="6354"/>
                    <a:pt x="10571" y="6354"/>
                    <a:pt x="10544" y="6354"/>
                  </a:cubicBezTo>
                  <a:cubicBezTo>
                    <a:pt x="10490" y="6328"/>
                    <a:pt x="10517" y="6328"/>
                    <a:pt x="10490" y="6354"/>
                  </a:cubicBezTo>
                  <a:cubicBezTo>
                    <a:pt x="10517" y="6408"/>
                    <a:pt x="10544" y="6408"/>
                    <a:pt x="10544" y="6408"/>
                  </a:cubicBezTo>
                  <a:cubicBezTo>
                    <a:pt x="10571" y="6408"/>
                    <a:pt x="10571" y="6408"/>
                    <a:pt x="10571" y="6408"/>
                  </a:cubicBezTo>
                  <a:cubicBezTo>
                    <a:pt x="10598" y="6381"/>
                    <a:pt x="10625" y="6381"/>
                    <a:pt x="10625" y="6381"/>
                  </a:cubicBezTo>
                  <a:cubicBezTo>
                    <a:pt x="10706" y="6300"/>
                    <a:pt x="10679" y="6274"/>
                    <a:pt x="10761" y="6274"/>
                  </a:cubicBezTo>
                  <a:cubicBezTo>
                    <a:pt x="10814" y="6247"/>
                    <a:pt x="10788" y="6221"/>
                    <a:pt x="10788" y="6194"/>
                  </a:cubicBezTo>
                  <a:cubicBezTo>
                    <a:pt x="10761" y="6140"/>
                    <a:pt x="10706" y="6166"/>
                    <a:pt x="10679" y="6166"/>
                  </a:cubicBezTo>
                  <a:cubicBezTo>
                    <a:pt x="10653" y="6194"/>
                    <a:pt x="10653" y="6221"/>
                    <a:pt x="10625" y="6221"/>
                  </a:cubicBezTo>
                  <a:cubicBezTo>
                    <a:pt x="10598" y="6247"/>
                    <a:pt x="10571" y="6274"/>
                    <a:pt x="10571" y="6274"/>
                  </a:cubicBezTo>
                  <a:cubicBezTo>
                    <a:pt x="10571" y="6274"/>
                    <a:pt x="10544" y="6274"/>
                    <a:pt x="10598" y="6300"/>
                  </a:cubicBezTo>
                  <a:cubicBezTo>
                    <a:pt x="10598" y="6300"/>
                    <a:pt x="10598" y="6328"/>
                    <a:pt x="10598" y="6300"/>
                  </a:cubicBezTo>
                  <a:cubicBezTo>
                    <a:pt x="10490" y="6221"/>
                    <a:pt x="10571" y="6247"/>
                    <a:pt x="10571" y="6274"/>
                  </a:cubicBezTo>
                  <a:cubicBezTo>
                    <a:pt x="10571" y="6300"/>
                    <a:pt x="10571" y="6274"/>
                    <a:pt x="10571" y="6274"/>
                  </a:cubicBezTo>
                  <a:cubicBezTo>
                    <a:pt x="10571" y="6274"/>
                    <a:pt x="10625" y="6247"/>
                    <a:pt x="10598" y="6194"/>
                  </a:cubicBezTo>
                  <a:cubicBezTo>
                    <a:pt x="10571" y="6194"/>
                    <a:pt x="10571" y="6194"/>
                    <a:pt x="10571" y="6194"/>
                  </a:cubicBezTo>
                  <a:cubicBezTo>
                    <a:pt x="10571" y="6194"/>
                    <a:pt x="10571" y="6194"/>
                    <a:pt x="10598" y="6166"/>
                  </a:cubicBezTo>
                  <a:cubicBezTo>
                    <a:pt x="10625" y="6166"/>
                    <a:pt x="10653" y="6140"/>
                    <a:pt x="10653" y="6140"/>
                  </a:cubicBezTo>
                  <a:cubicBezTo>
                    <a:pt x="10679" y="6140"/>
                    <a:pt x="10653" y="6140"/>
                    <a:pt x="10679" y="6140"/>
                  </a:cubicBezTo>
                  <a:cubicBezTo>
                    <a:pt x="10679" y="6140"/>
                    <a:pt x="10733" y="6140"/>
                    <a:pt x="10733" y="6113"/>
                  </a:cubicBezTo>
                  <a:cubicBezTo>
                    <a:pt x="10733" y="6087"/>
                    <a:pt x="10733" y="6087"/>
                    <a:pt x="10733" y="6059"/>
                  </a:cubicBezTo>
                  <a:cubicBezTo>
                    <a:pt x="10733" y="6033"/>
                    <a:pt x="10733" y="6006"/>
                    <a:pt x="10733" y="6006"/>
                  </a:cubicBezTo>
                  <a:cubicBezTo>
                    <a:pt x="10733" y="6006"/>
                    <a:pt x="10733" y="6006"/>
                    <a:pt x="10761" y="6006"/>
                  </a:cubicBezTo>
                  <a:cubicBezTo>
                    <a:pt x="10761" y="5925"/>
                    <a:pt x="10733" y="5952"/>
                    <a:pt x="10733" y="5925"/>
                  </a:cubicBezTo>
                  <a:cubicBezTo>
                    <a:pt x="10733" y="5925"/>
                    <a:pt x="10706" y="5925"/>
                    <a:pt x="10706" y="5899"/>
                  </a:cubicBezTo>
                  <a:cubicBezTo>
                    <a:pt x="10653" y="5872"/>
                    <a:pt x="10625" y="5845"/>
                    <a:pt x="10653" y="5818"/>
                  </a:cubicBezTo>
                  <a:cubicBezTo>
                    <a:pt x="10679" y="5765"/>
                    <a:pt x="10733" y="5737"/>
                    <a:pt x="10761" y="5711"/>
                  </a:cubicBezTo>
                  <a:cubicBezTo>
                    <a:pt x="10788" y="5684"/>
                    <a:pt x="10761" y="5684"/>
                    <a:pt x="10814" y="5684"/>
                  </a:cubicBezTo>
                  <a:cubicBezTo>
                    <a:pt x="10841" y="5711"/>
                    <a:pt x="10869" y="5711"/>
                    <a:pt x="10869" y="5711"/>
                  </a:cubicBezTo>
                  <a:cubicBezTo>
                    <a:pt x="10896" y="5711"/>
                    <a:pt x="10923" y="5737"/>
                    <a:pt x="10896" y="5711"/>
                  </a:cubicBezTo>
                  <a:cubicBezTo>
                    <a:pt x="10896" y="5737"/>
                    <a:pt x="10869" y="5737"/>
                    <a:pt x="10841" y="5765"/>
                  </a:cubicBezTo>
                  <a:cubicBezTo>
                    <a:pt x="10788" y="5845"/>
                    <a:pt x="10841" y="5872"/>
                    <a:pt x="10841" y="5952"/>
                  </a:cubicBezTo>
                  <a:cubicBezTo>
                    <a:pt x="10869" y="5952"/>
                    <a:pt x="10869" y="5979"/>
                    <a:pt x="10923" y="5979"/>
                  </a:cubicBezTo>
                  <a:cubicBezTo>
                    <a:pt x="10949" y="5952"/>
                    <a:pt x="10949" y="5925"/>
                    <a:pt x="10949" y="5925"/>
                  </a:cubicBezTo>
                  <a:cubicBezTo>
                    <a:pt x="10923" y="5925"/>
                    <a:pt x="10949" y="5925"/>
                    <a:pt x="10949" y="5952"/>
                  </a:cubicBezTo>
                  <a:cubicBezTo>
                    <a:pt x="11004" y="6006"/>
                    <a:pt x="10923" y="6033"/>
                    <a:pt x="10896" y="6059"/>
                  </a:cubicBezTo>
                  <a:cubicBezTo>
                    <a:pt x="10869" y="6087"/>
                    <a:pt x="10761" y="6059"/>
                    <a:pt x="10761" y="6166"/>
                  </a:cubicBezTo>
                  <a:cubicBezTo>
                    <a:pt x="10788" y="6194"/>
                    <a:pt x="10788" y="6221"/>
                    <a:pt x="10814" y="6194"/>
                  </a:cubicBezTo>
                  <a:cubicBezTo>
                    <a:pt x="10841" y="6194"/>
                    <a:pt x="10841" y="6194"/>
                    <a:pt x="10869" y="6166"/>
                  </a:cubicBezTo>
                  <a:cubicBezTo>
                    <a:pt x="10869" y="6140"/>
                    <a:pt x="10896" y="6113"/>
                    <a:pt x="10923" y="6113"/>
                  </a:cubicBezTo>
                  <a:cubicBezTo>
                    <a:pt x="11004" y="6033"/>
                    <a:pt x="11112" y="6033"/>
                    <a:pt x="11220" y="6006"/>
                  </a:cubicBezTo>
                  <a:cubicBezTo>
                    <a:pt x="11328" y="5952"/>
                    <a:pt x="11463" y="5952"/>
                    <a:pt x="11571" y="5899"/>
                  </a:cubicBezTo>
                  <a:cubicBezTo>
                    <a:pt x="11545" y="5765"/>
                    <a:pt x="11598" y="5658"/>
                    <a:pt x="11598" y="5523"/>
                  </a:cubicBezTo>
                  <a:cubicBezTo>
                    <a:pt x="11598" y="5658"/>
                    <a:pt x="11545" y="5765"/>
                    <a:pt x="11545" y="5899"/>
                  </a:cubicBezTo>
                  <a:cubicBezTo>
                    <a:pt x="11463" y="5952"/>
                    <a:pt x="11328" y="5952"/>
                    <a:pt x="11220" y="5979"/>
                  </a:cubicBezTo>
                  <a:cubicBezTo>
                    <a:pt x="11112" y="6006"/>
                    <a:pt x="10977" y="6033"/>
                    <a:pt x="10896" y="6087"/>
                  </a:cubicBezTo>
                  <a:cubicBezTo>
                    <a:pt x="10841" y="6113"/>
                    <a:pt x="10814" y="6221"/>
                    <a:pt x="10814" y="6166"/>
                  </a:cubicBezTo>
                  <a:cubicBezTo>
                    <a:pt x="10788" y="6140"/>
                    <a:pt x="10869" y="6113"/>
                    <a:pt x="10923" y="6087"/>
                  </a:cubicBezTo>
                  <a:cubicBezTo>
                    <a:pt x="10949" y="6087"/>
                    <a:pt x="11031" y="6006"/>
                    <a:pt x="11004" y="5952"/>
                  </a:cubicBezTo>
                  <a:cubicBezTo>
                    <a:pt x="10977" y="5925"/>
                    <a:pt x="10977" y="5845"/>
                    <a:pt x="10896" y="5899"/>
                  </a:cubicBezTo>
                  <a:cubicBezTo>
                    <a:pt x="10896" y="5952"/>
                    <a:pt x="10896" y="5925"/>
                    <a:pt x="10896" y="5925"/>
                  </a:cubicBezTo>
                  <a:cubicBezTo>
                    <a:pt x="10896" y="5899"/>
                    <a:pt x="10841" y="5791"/>
                    <a:pt x="10869" y="5791"/>
                  </a:cubicBezTo>
                  <a:cubicBezTo>
                    <a:pt x="10896" y="5791"/>
                    <a:pt x="10923" y="5765"/>
                    <a:pt x="10949" y="5765"/>
                  </a:cubicBezTo>
                  <a:cubicBezTo>
                    <a:pt x="10949" y="5765"/>
                    <a:pt x="10949" y="5765"/>
                    <a:pt x="10949" y="5711"/>
                  </a:cubicBezTo>
                  <a:cubicBezTo>
                    <a:pt x="10949" y="5684"/>
                    <a:pt x="10949" y="5711"/>
                    <a:pt x="10949" y="5684"/>
                  </a:cubicBezTo>
                  <a:cubicBezTo>
                    <a:pt x="10923" y="5684"/>
                    <a:pt x="10923" y="5658"/>
                    <a:pt x="10896" y="5658"/>
                  </a:cubicBezTo>
                  <a:cubicBezTo>
                    <a:pt x="10869" y="5630"/>
                    <a:pt x="10841" y="5658"/>
                    <a:pt x="10814" y="5630"/>
                  </a:cubicBezTo>
                  <a:cubicBezTo>
                    <a:pt x="10814" y="5604"/>
                    <a:pt x="10733" y="5630"/>
                    <a:pt x="10706" y="5658"/>
                  </a:cubicBezTo>
                  <a:cubicBezTo>
                    <a:pt x="10679" y="5684"/>
                    <a:pt x="10653" y="5711"/>
                    <a:pt x="10598" y="5791"/>
                  </a:cubicBezTo>
                  <a:cubicBezTo>
                    <a:pt x="10544" y="5845"/>
                    <a:pt x="10625" y="5925"/>
                    <a:pt x="10653" y="5952"/>
                  </a:cubicBezTo>
                  <a:cubicBezTo>
                    <a:pt x="10679" y="5952"/>
                    <a:pt x="10679" y="5979"/>
                    <a:pt x="10679" y="5979"/>
                  </a:cubicBezTo>
                  <a:cubicBezTo>
                    <a:pt x="10706" y="5979"/>
                    <a:pt x="10706" y="5979"/>
                    <a:pt x="10706" y="5979"/>
                  </a:cubicBezTo>
                  <a:cubicBezTo>
                    <a:pt x="10679" y="5925"/>
                    <a:pt x="10706" y="5979"/>
                    <a:pt x="10679" y="5979"/>
                  </a:cubicBezTo>
                  <a:cubicBezTo>
                    <a:pt x="10653" y="6006"/>
                    <a:pt x="10679" y="6059"/>
                    <a:pt x="10679" y="6059"/>
                  </a:cubicBezTo>
                  <a:cubicBezTo>
                    <a:pt x="10679" y="6087"/>
                    <a:pt x="10653" y="6059"/>
                    <a:pt x="10679" y="6087"/>
                  </a:cubicBezTo>
                  <a:cubicBezTo>
                    <a:pt x="10706" y="6087"/>
                    <a:pt x="10679" y="6059"/>
                    <a:pt x="10679" y="6059"/>
                  </a:cubicBezTo>
                  <a:cubicBezTo>
                    <a:pt x="10679" y="6059"/>
                    <a:pt x="10653" y="6059"/>
                    <a:pt x="10625" y="6087"/>
                  </a:cubicBezTo>
                  <a:cubicBezTo>
                    <a:pt x="10598" y="6087"/>
                    <a:pt x="10571" y="6113"/>
                    <a:pt x="10544" y="6113"/>
                  </a:cubicBezTo>
                  <a:cubicBezTo>
                    <a:pt x="10544" y="6140"/>
                    <a:pt x="10544" y="6140"/>
                    <a:pt x="10517" y="6166"/>
                  </a:cubicBezTo>
                  <a:cubicBezTo>
                    <a:pt x="10490" y="6166"/>
                    <a:pt x="10490" y="6247"/>
                    <a:pt x="10517" y="6247"/>
                  </a:cubicBezTo>
                  <a:cubicBezTo>
                    <a:pt x="10544" y="6247"/>
                    <a:pt x="10544" y="6247"/>
                    <a:pt x="10544" y="6247"/>
                  </a:cubicBezTo>
                  <a:cubicBezTo>
                    <a:pt x="10571" y="6221"/>
                    <a:pt x="10544" y="6247"/>
                    <a:pt x="10544" y="6221"/>
                  </a:cubicBezTo>
                  <a:cubicBezTo>
                    <a:pt x="10517" y="6221"/>
                    <a:pt x="10517" y="6221"/>
                    <a:pt x="10517" y="6221"/>
                  </a:cubicBezTo>
                  <a:cubicBezTo>
                    <a:pt x="10517" y="6221"/>
                    <a:pt x="10517" y="6247"/>
                    <a:pt x="10490" y="6274"/>
                  </a:cubicBezTo>
                  <a:cubicBezTo>
                    <a:pt x="10463" y="6354"/>
                    <a:pt x="10625" y="6328"/>
                    <a:pt x="10517" y="6300"/>
                  </a:cubicBezTo>
                  <a:cubicBezTo>
                    <a:pt x="10517" y="6274"/>
                    <a:pt x="10517" y="6328"/>
                    <a:pt x="10544" y="6354"/>
                  </a:cubicBezTo>
                  <a:cubicBezTo>
                    <a:pt x="10598" y="6354"/>
                    <a:pt x="10598" y="6354"/>
                    <a:pt x="10598" y="6354"/>
                  </a:cubicBezTo>
                  <a:cubicBezTo>
                    <a:pt x="10625" y="6328"/>
                    <a:pt x="10653" y="6300"/>
                    <a:pt x="10679" y="6300"/>
                  </a:cubicBezTo>
                  <a:cubicBezTo>
                    <a:pt x="10679" y="6274"/>
                    <a:pt x="10733" y="6247"/>
                    <a:pt x="10733" y="6221"/>
                  </a:cubicBezTo>
                  <a:cubicBezTo>
                    <a:pt x="10733" y="6247"/>
                    <a:pt x="10733" y="6194"/>
                    <a:pt x="10733" y="6221"/>
                  </a:cubicBezTo>
                  <a:cubicBezTo>
                    <a:pt x="10706" y="6221"/>
                    <a:pt x="10706" y="6221"/>
                    <a:pt x="10706" y="6221"/>
                  </a:cubicBezTo>
                  <a:cubicBezTo>
                    <a:pt x="10733" y="6221"/>
                    <a:pt x="10679" y="6221"/>
                    <a:pt x="10733" y="6221"/>
                  </a:cubicBezTo>
                  <a:cubicBezTo>
                    <a:pt x="10733" y="6221"/>
                    <a:pt x="10733" y="6221"/>
                    <a:pt x="10733" y="6194"/>
                  </a:cubicBezTo>
                  <a:cubicBezTo>
                    <a:pt x="10679" y="6194"/>
                    <a:pt x="10598" y="6300"/>
                    <a:pt x="10598" y="6300"/>
                  </a:cubicBezTo>
                  <a:cubicBezTo>
                    <a:pt x="10571" y="6328"/>
                    <a:pt x="10517" y="6300"/>
                    <a:pt x="10571" y="6354"/>
                  </a:cubicBezTo>
                  <a:cubicBezTo>
                    <a:pt x="10571" y="6354"/>
                    <a:pt x="10598" y="6328"/>
                    <a:pt x="10544" y="6274"/>
                  </a:cubicBezTo>
                  <a:cubicBezTo>
                    <a:pt x="10490" y="6300"/>
                    <a:pt x="10490" y="6328"/>
                    <a:pt x="10490" y="6328"/>
                  </a:cubicBezTo>
                  <a:cubicBezTo>
                    <a:pt x="10490" y="6328"/>
                    <a:pt x="10463" y="6354"/>
                    <a:pt x="10463" y="6408"/>
                  </a:cubicBezTo>
                  <a:cubicBezTo>
                    <a:pt x="10517" y="6435"/>
                    <a:pt x="10490" y="6435"/>
                    <a:pt x="10517" y="6408"/>
                  </a:cubicBezTo>
                  <a:cubicBezTo>
                    <a:pt x="10517" y="6354"/>
                    <a:pt x="10517" y="6408"/>
                    <a:pt x="10490" y="6381"/>
                  </a:cubicBezTo>
                  <a:cubicBezTo>
                    <a:pt x="10436" y="6569"/>
                    <a:pt x="10544" y="6462"/>
                    <a:pt x="10490" y="6488"/>
                  </a:cubicBezTo>
                  <a:cubicBezTo>
                    <a:pt x="10490" y="6516"/>
                    <a:pt x="10463" y="6542"/>
                    <a:pt x="10463" y="6596"/>
                  </a:cubicBezTo>
                  <a:cubicBezTo>
                    <a:pt x="10463" y="6650"/>
                    <a:pt x="10571" y="6676"/>
                    <a:pt x="10571" y="6622"/>
                  </a:cubicBezTo>
                  <a:cubicBezTo>
                    <a:pt x="10598" y="6596"/>
                    <a:pt x="10598" y="6569"/>
                    <a:pt x="10598" y="6569"/>
                  </a:cubicBezTo>
                  <a:cubicBezTo>
                    <a:pt x="10598" y="6542"/>
                    <a:pt x="10706" y="6516"/>
                    <a:pt x="10679" y="6435"/>
                  </a:cubicBezTo>
                  <a:cubicBezTo>
                    <a:pt x="10598" y="6462"/>
                    <a:pt x="10625" y="6542"/>
                    <a:pt x="10598" y="6569"/>
                  </a:cubicBezTo>
                  <a:cubicBezTo>
                    <a:pt x="10544" y="6622"/>
                    <a:pt x="10490" y="6650"/>
                    <a:pt x="10463" y="6730"/>
                  </a:cubicBezTo>
                  <a:cubicBezTo>
                    <a:pt x="10436" y="6757"/>
                    <a:pt x="10436" y="6783"/>
                    <a:pt x="10409" y="6783"/>
                  </a:cubicBezTo>
                  <a:cubicBezTo>
                    <a:pt x="10382" y="6783"/>
                    <a:pt x="10355" y="6810"/>
                    <a:pt x="10355" y="6810"/>
                  </a:cubicBezTo>
                  <a:cubicBezTo>
                    <a:pt x="10328" y="6838"/>
                    <a:pt x="10328" y="6864"/>
                    <a:pt x="10328" y="6891"/>
                  </a:cubicBezTo>
                  <a:cubicBezTo>
                    <a:pt x="10328" y="6971"/>
                    <a:pt x="10355" y="7025"/>
                    <a:pt x="10382" y="7105"/>
                  </a:cubicBezTo>
                  <a:cubicBezTo>
                    <a:pt x="10382" y="7132"/>
                    <a:pt x="10355" y="7213"/>
                    <a:pt x="10355" y="7293"/>
                  </a:cubicBezTo>
                  <a:cubicBezTo>
                    <a:pt x="10382" y="7374"/>
                    <a:pt x="10409" y="7454"/>
                    <a:pt x="10382" y="7481"/>
                  </a:cubicBezTo>
                  <a:cubicBezTo>
                    <a:pt x="10355" y="7561"/>
                    <a:pt x="10328" y="7615"/>
                    <a:pt x="10328" y="7722"/>
                  </a:cubicBezTo>
                  <a:cubicBezTo>
                    <a:pt x="10328" y="7749"/>
                    <a:pt x="10328" y="7775"/>
                    <a:pt x="10300" y="7830"/>
                  </a:cubicBezTo>
                  <a:cubicBezTo>
                    <a:pt x="10300" y="7883"/>
                    <a:pt x="10300" y="7883"/>
                    <a:pt x="10300" y="7883"/>
                  </a:cubicBezTo>
                  <a:cubicBezTo>
                    <a:pt x="10300" y="7883"/>
                    <a:pt x="10382" y="7803"/>
                    <a:pt x="10355" y="7830"/>
                  </a:cubicBezTo>
                  <a:cubicBezTo>
                    <a:pt x="10328" y="7830"/>
                    <a:pt x="10328" y="7830"/>
                    <a:pt x="10328" y="7830"/>
                  </a:cubicBezTo>
                  <a:cubicBezTo>
                    <a:pt x="10247" y="7856"/>
                    <a:pt x="10247" y="7856"/>
                    <a:pt x="10247" y="7856"/>
                  </a:cubicBezTo>
                  <a:cubicBezTo>
                    <a:pt x="10192" y="7856"/>
                    <a:pt x="10192" y="7856"/>
                    <a:pt x="10112" y="7830"/>
                  </a:cubicBezTo>
                  <a:cubicBezTo>
                    <a:pt x="10031" y="7803"/>
                    <a:pt x="10004" y="7830"/>
                    <a:pt x="9949" y="7803"/>
                  </a:cubicBezTo>
                  <a:cubicBezTo>
                    <a:pt x="9841" y="7775"/>
                    <a:pt x="9679" y="7749"/>
                    <a:pt x="9679" y="7642"/>
                  </a:cubicBezTo>
                  <a:cubicBezTo>
                    <a:pt x="9652" y="7588"/>
                    <a:pt x="9625" y="7508"/>
                    <a:pt x="9598" y="7427"/>
                  </a:cubicBezTo>
                  <a:cubicBezTo>
                    <a:pt x="9355" y="7346"/>
                    <a:pt x="9490" y="7588"/>
                    <a:pt x="9355" y="7481"/>
                  </a:cubicBezTo>
                  <a:cubicBezTo>
                    <a:pt x="9327" y="7508"/>
                    <a:pt x="9273" y="7481"/>
                    <a:pt x="9300" y="7508"/>
                  </a:cubicBezTo>
                  <a:cubicBezTo>
                    <a:pt x="9273" y="7481"/>
                    <a:pt x="9273" y="7427"/>
                    <a:pt x="9247" y="7400"/>
                  </a:cubicBezTo>
                  <a:cubicBezTo>
                    <a:pt x="9247" y="7374"/>
                    <a:pt x="9138" y="7346"/>
                    <a:pt x="9111" y="7400"/>
                  </a:cubicBezTo>
                  <a:cubicBezTo>
                    <a:pt x="9111" y="7400"/>
                    <a:pt x="9111" y="7374"/>
                    <a:pt x="9084" y="7400"/>
                  </a:cubicBezTo>
                  <a:cubicBezTo>
                    <a:pt x="9057" y="7400"/>
                    <a:pt x="9003" y="7400"/>
                    <a:pt x="8976" y="7400"/>
                  </a:cubicBezTo>
                  <a:cubicBezTo>
                    <a:pt x="8949" y="7400"/>
                    <a:pt x="8894" y="7400"/>
                    <a:pt x="8868" y="7400"/>
                  </a:cubicBezTo>
                  <a:cubicBezTo>
                    <a:pt x="8868" y="7400"/>
                    <a:pt x="8814" y="7346"/>
                    <a:pt x="8760" y="7320"/>
                  </a:cubicBezTo>
                  <a:cubicBezTo>
                    <a:pt x="8733" y="7320"/>
                    <a:pt x="8760" y="7293"/>
                    <a:pt x="8651" y="7267"/>
                  </a:cubicBezTo>
                  <a:cubicBezTo>
                    <a:pt x="8598" y="7239"/>
                    <a:pt x="8570" y="7239"/>
                    <a:pt x="8516" y="7239"/>
                  </a:cubicBezTo>
                  <a:cubicBezTo>
                    <a:pt x="8435" y="7213"/>
                    <a:pt x="8327" y="7213"/>
                    <a:pt x="8246" y="7239"/>
                  </a:cubicBezTo>
                  <a:cubicBezTo>
                    <a:pt x="8192" y="7239"/>
                    <a:pt x="8137" y="7267"/>
                    <a:pt x="8111" y="7293"/>
                  </a:cubicBezTo>
                  <a:cubicBezTo>
                    <a:pt x="8057" y="7320"/>
                    <a:pt x="8029" y="7293"/>
                    <a:pt x="7976" y="7320"/>
                  </a:cubicBezTo>
                  <a:cubicBezTo>
                    <a:pt x="7894" y="7346"/>
                    <a:pt x="7786" y="7374"/>
                    <a:pt x="7705" y="7400"/>
                  </a:cubicBezTo>
                  <a:cubicBezTo>
                    <a:pt x="7624" y="7400"/>
                    <a:pt x="7516" y="7374"/>
                    <a:pt x="7408" y="7427"/>
                  </a:cubicBezTo>
                  <a:cubicBezTo>
                    <a:pt x="7354" y="7454"/>
                    <a:pt x="7300" y="7481"/>
                    <a:pt x="7272" y="7481"/>
                  </a:cubicBezTo>
                  <a:cubicBezTo>
                    <a:pt x="7192" y="7508"/>
                    <a:pt x="7164" y="7561"/>
                    <a:pt x="7137" y="7588"/>
                  </a:cubicBezTo>
                  <a:cubicBezTo>
                    <a:pt x="7083" y="7668"/>
                    <a:pt x="7002" y="7749"/>
                    <a:pt x="6948" y="7830"/>
                  </a:cubicBezTo>
                  <a:cubicBezTo>
                    <a:pt x="6894" y="7856"/>
                    <a:pt x="6894" y="7856"/>
                    <a:pt x="6813" y="7937"/>
                  </a:cubicBezTo>
                  <a:cubicBezTo>
                    <a:pt x="6786" y="7990"/>
                    <a:pt x="6813" y="7990"/>
                    <a:pt x="6759" y="7990"/>
                  </a:cubicBezTo>
                  <a:cubicBezTo>
                    <a:pt x="6678" y="8017"/>
                    <a:pt x="6623" y="8017"/>
                    <a:pt x="6570" y="8044"/>
                  </a:cubicBezTo>
                  <a:cubicBezTo>
                    <a:pt x="6515" y="8097"/>
                    <a:pt x="6542" y="8097"/>
                    <a:pt x="6461" y="8097"/>
                  </a:cubicBezTo>
                  <a:cubicBezTo>
                    <a:pt x="6407" y="8097"/>
                    <a:pt x="6353" y="8125"/>
                    <a:pt x="6299" y="8125"/>
                  </a:cubicBezTo>
                  <a:cubicBezTo>
                    <a:pt x="6272" y="8125"/>
                    <a:pt x="6245" y="8097"/>
                    <a:pt x="6191" y="8071"/>
                  </a:cubicBezTo>
                  <a:cubicBezTo>
                    <a:pt x="6056" y="7990"/>
                    <a:pt x="5948" y="8017"/>
                    <a:pt x="5867" y="7990"/>
                  </a:cubicBezTo>
                  <a:cubicBezTo>
                    <a:pt x="5732" y="7937"/>
                    <a:pt x="5624" y="7963"/>
                    <a:pt x="5516" y="7963"/>
                  </a:cubicBezTo>
                  <a:cubicBezTo>
                    <a:pt x="5462" y="7963"/>
                    <a:pt x="5408" y="7963"/>
                    <a:pt x="5381" y="7963"/>
                  </a:cubicBezTo>
                  <a:cubicBezTo>
                    <a:pt x="5326" y="7937"/>
                    <a:pt x="5273" y="7910"/>
                    <a:pt x="5218" y="7910"/>
                  </a:cubicBezTo>
                  <a:cubicBezTo>
                    <a:pt x="5057" y="7937"/>
                    <a:pt x="5002" y="8044"/>
                    <a:pt x="4894" y="8017"/>
                  </a:cubicBezTo>
                  <a:cubicBezTo>
                    <a:pt x="4786" y="8044"/>
                    <a:pt x="4705" y="8017"/>
                    <a:pt x="4597" y="7963"/>
                  </a:cubicBezTo>
                  <a:cubicBezTo>
                    <a:pt x="4516" y="7910"/>
                    <a:pt x="4381" y="7883"/>
                    <a:pt x="4299" y="7830"/>
                  </a:cubicBezTo>
                  <a:cubicBezTo>
                    <a:pt x="4245" y="7803"/>
                    <a:pt x="4164" y="7775"/>
                    <a:pt x="4110" y="7803"/>
                  </a:cubicBezTo>
                  <a:cubicBezTo>
                    <a:pt x="4056" y="7830"/>
                    <a:pt x="4029" y="7803"/>
                    <a:pt x="3975" y="7775"/>
                  </a:cubicBezTo>
                  <a:cubicBezTo>
                    <a:pt x="3920" y="7749"/>
                    <a:pt x="3894" y="7722"/>
                    <a:pt x="3812" y="7722"/>
                  </a:cubicBezTo>
                  <a:cubicBezTo>
                    <a:pt x="3732" y="7696"/>
                    <a:pt x="3677" y="7722"/>
                    <a:pt x="3624" y="7722"/>
                  </a:cubicBezTo>
                  <a:cubicBezTo>
                    <a:pt x="3596" y="7722"/>
                    <a:pt x="3569" y="7696"/>
                    <a:pt x="3516" y="7722"/>
                  </a:cubicBezTo>
                  <a:cubicBezTo>
                    <a:pt x="3488" y="7749"/>
                    <a:pt x="3488" y="7749"/>
                    <a:pt x="3461" y="7775"/>
                  </a:cubicBezTo>
                  <a:cubicBezTo>
                    <a:pt x="3407" y="7775"/>
                    <a:pt x="3380" y="7775"/>
                    <a:pt x="3326" y="7775"/>
                  </a:cubicBezTo>
                  <a:cubicBezTo>
                    <a:pt x="3218" y="7749"/>
                    <a:pt x="3083" y="7722"/>
                    <a:pt x="3110" y="7642"/>
                  </a:cubicBezTo>
                  <a:cubicBezTo>
                    <a:pt x="3110" y="7588"/>
                    <a:pt x="3137" y="7534"/>
                    <a:pt x="3137" y="7534"/>
                  </a:cubicBezTo>
                  <a:cubicBezTo>
                    <a:pt x="3163" y="7534"/>
                    <a:pt x="3272" y="7534"/>
                    <a:pt x="3326" y="7481"/>
                  </a:cubicBezTo>
                  <a:cubicBezTo>
                    <a:pt x="3326" y="7454"/>
                    <a:pt x="3353" y="7427"/>
                    <a:pt x="3380" y="7374"/>
                  </a:cubicBezTo>
                  <a:cubicBezTo>
                    <a:pt x="3380" y="7293"/>
                    <a:pt x="3326" y="7293"/>
                    <a:pt x="3299" y="7267"/>
                  </a:cubicBezTo>
                  <a:cubicBezTo>
                    <a:pt x="3218" y="7239"/>
                    <a:pt x="3191" y="7239"/>
                    <a:pt x="3137" y="7213"/>
                  </a:cubicBezTo>
                  <a:cubicBezTo>
                    <a:pt x="3083" y="7186"/>
                    <a:pt x="3055" y="7159"/>
                    <a:pt x="3028" y="7132"/>
                  </a:cubicBezTo>
                  <a:cubicBezTo>
                    <a:pt x="3028" y="7159"/>
                    <a:pt x="2975" y="7132"/>
                    <a:pt x="3028" y="7159"/>
                  </a:cubicBezTo>
                  <a:cubicBezTo>
                    <a:pt x="3028" y="7159"/>
                    <a:pt x="3028" y="7186"/>
                    <a:pt x="3055" y="7105"/>
                  </a:cubicBezTo>
                  <a:cubicBezTo>
                    <a:pt x="3002" y="7052"/>
                    <a:pt x="3028" y="7105"/>
                    <a:pt x="3002" y="7079"/>
                  </a:cubicBezTo>
                  <a:cubicBezTo>
                    <a:pt x="3002" y="7079"/>
                    <a:pt x="2975" y="7079"/>
                    <a:pt x="2975" y="7052"/>
                  </a:cubicBezTo>
                  <a:cubicBezTo>
                    <a:pt x="2947" y="7079"/>
                    <a:pt x="2920" y="7025"/>
                    <a:pt x="2893" y="7079"/>
                  </a:cubicBezTo>
                  <a:cubicBezTo>
                    <a:pt x="2947" y="7079"/>
                    <a:pt x="2920" y="7052"/>
                    <a:pt x="2920" y="6998"/>
                  </a:cubicBezTo>
                  <a:cubicBezTo>
                    <a:pt x="2920" y="6944"/>
                    <a:pt x="2867" y="6917"/>
                    <a:pt x="2839" y="6917"/>
                  </a:cubicBezTo>
                  <a:cubicBezTo>
                    <a:pt x="2785" y="6891"/>
                    <a:pt x="2785" y="6891"/>
                    <a:pt x="2758" y="6838"/>
                  </a:cubicBezTo>
                  <a:cubicBezTo>
                    <a:pt x="2704" y="6783"/>
                    <a:pt x="2731" y="6783"/>
                    <a:pt x="2677" y="6676"/>
                  </a:cubicBezTo>
                  <a:cubicBezTo>
                    <a:pt x="2677" y="6650"/>
                    <a:pt x="2650" y="6622"/>
                    <a:pt x="2650" y="6622"/>
                  </a:cubicBezTo>
                  <a:cubicBezTo>
                    <a:pt x="2623" y="6622"/>
                    <a:pt x="2623" y="6676"/>
                    <a:pt x="2650" y="6650"/>
                  </a:cubicBezTo>
                  <a:cubicBezTo>
                    <a:pt x="3326" y="6838"/>
                    <a:pt x="2542" y="5684"/>
                    <a:pt x="2353" y="6381"/>
                  </a:cubicBezTo>
                  <a:cubicBezTo>
                    <a:pt x="2298" y="6435"/>
                    <a:pt x="2218" y="6596"/>
                    <a:pt x="2190" y="6542"/>
                  </a:cubicBezTo>
                  <a:cubicBezTo>
                    <a:pt x="2190" y="6516"/>
                    <a:pt x="2163" y="6516"/>
                    <a:pt x="2163" y="6516"/>
                  </a:cubicBezTo>
                  <a:cubicBezTo>
                    <a:pt x="2163" y="6516"/>
                    <a:pt x="2163" y="6488"/>
                    <a:pt x="2163" y="6462"/>
                  </a:cubicBezTo>
                  <a:cubicBezTo>
                    <a:pt x="2136" y="6435"/>
                    <a:pt x="2136" y="6435"/>
                    <a:pt x="2136" y="6435"/>
                  </a:cubicBezTo>
                  <a:cubicBezTo>
                    <a:pt x="2136" y="6435"/>
                    <a:pt x="2110" y="6408"/>
                    <a:pt x="2136" y="6408"/>
                  </a:cubicBezTo>
                  <a:cubicBezTo>
                    <a:pt x="2136" y="6408"/>
                    <a:pt x="2136" y="6354"/>
                    <a:pt x="2110" y="6328"/>
                  </a:cubicBezTo>
                  <a:cubicBezTo>
                    <a:pt x="2082" y="6300"/>
                    <a:pt x="2082" y="6300"/>
                    <a:pt x="2082" y="6300"/>
                  </a:cubicBezTo>
                  <a:cubicBezTo>
                    <a:pt x="1974" y="6247"/>
                    <a:pt x="1893" y="6221"/>
                    <a:pt x="1785" y="6221"/>
                  </a:cubicBezTo>
                  <a:cubicBezTo>
                    <a:pt x="1731" y="6221"/>
                    <a:pt x="1677" y="6221"/>
                    <a:pt x="1649" y="6194"/>
                  </a:cubicBezTo>
                  <a:cubicBezTo>
                    <a:pt x="1622" y="6221"/>
                    <a:pt x="1622" y="6166"/>
                    <a:pt x="1596" y="6221"/>
                  </a:cubicBezTo>
                  <a:cubicBezTo>
                    <a:pt x="1649" y="6194"/>
                    <a:pt x="1596" y="6166"/>
                    <a:pt x="1596" y="6140"/>
                  </a:cubicBezTo>
                  <a:cubicBezTo>
                    <a:pt x="1596" y="6113"/>
                    <a:pt x="1596" y="6033"/>
                    <a:pt x="1514" y="6006"/>
                  </a:cubicBezTo>
                  <a:cubicBezTo>
                    <a:pt x="1461" y="6006"/>
                    <a:pt x="1406" y="6006"/>
                    <a:pt x="1379" y="5979"/>
                  </a:cubicBezTo>
                  <a:cubicBezTo>
                    <a:pt x="1352" y="5979"/>
                    <a:pt x="1352" y="5952"/>
                    <a:pt x="1325" y="6006"/>
                  </a:cubicBezTo>
                  <a:cubicBezTo>
                    <a:pt x="1352" y="5979"/>
                    <a:pt x="1325" y="5952"/>
                    <a:pt x="1325" y="5952"/>
                  </a:cubicBezTo>
                  <a:cubicBezTo>
                    <a:pt x="1325" y="5899"/>
                    <a:pt x="1298" y="5925"/>
                    <a:pt x="1352" y="5899"/>
                  </a:cubicBezTo>
                  <a:cubicBezTo>
                    <a:pt x="1379" y="5899"/>
                    <a:pt x="1433" y="5899"/>
                    <a:pt x="1487" y="5899"/>
                  </a:cubicBezTo>
                  <a:cubicBezTo>
                    <a:pt x="1487" y="5899"/>
                    <a:pt x="1541" y="5872"/>
                    <a:pt x="1569" y="5818"/>
                  </a:cubicBezTo>
                  <a:cubicBezTo>
                    <a:pt x="1541" y="5765"/>
                    <a:pt x="1541" y="5737"/>
                    <a:pt x="1514" y="5737"/>
                  </a:cubicBezTo>
                  <a:cubicBezTo>
                    <a:pt x="1487" y="5684"/>
                    <a:pt x="1433" y="5658"/>
                    <a:pt x="1379" y="5658"/>
                  </a:cubicBezTo>
                  <a:cubicBezTo>
                    <a:pt x="1352" y="5658"/>
                    <a:pt x="1352" y="5658"/>
                    <a:pt x="1352" y="5658"/>
                  </a:cubicBezTo>
                  <a:cubicBezTo>
                    <a:pt x="1352" y="5711"/>
                    <a:pt x="1352" y="5684"/>
                    <a:pt x="1352" y="5684"/>
                  </a:cubicBezTo>
                  <a:cubicBezTo>
                    <a:pt x="1352" y="5711"/>
                    <a:pt x="1352" y="5711"/>
                    <a:pt x="1352" y="5711"/>
                  </a:cubicBezTo>
                  <a:cubicBezTo>
                    <a:pt x="1406" y="5684"/>
                    <a:pt x="1352" y="5711"/>
                    <a:pt x="1379" y="5684"/>
                  </a:cubicBezTo>
                  <a:cubicBezTo>
                    <a:pt x="1379" y="5711"/>
                    <a:pt x="1379" y="5604"/>
                    <a:pt x="1352" y="5604"/>
                  </a:cubicBezTo>
                  <a:cubicBezTo>
                    <a:pt x="1325" y="5604"/>
                    <a:pt x="1325" y="5577"/>
                    <a:pt x="1325" y="5577"/>
                  </a:cubicBezTo>
                  <a:cubicBezTo>
                    <a:pt x="1325" y="5577"/>
                    <a:pt x="1271" y="5630"/>
                    <a:pt x="1298" y="5604"/>
                  </a:cubicBezTo>
                  <a:cubicBezTo>
                    <a:pt x="1298" y="5630"/>
                    <a:pt x="1298" y="5630"/>
                    <a:pt x="1298" y="5658"/>
                  </a:cubicBezTo>
                  <a:cubicBezTo>
                    <a:pt x="1325" y="5658"/>
                    <a:pt x="1325" y="5658"/>
                    <a:pt x="1325" y="5658"/>
                  </a:cubicBezTo>
                  <a:cubicBezTo>
                    <a:pt x="1325" y="5658"/>
                    <a:pt x="1352" y="5630"/>
                    <a:pt x="1379" y="5630"/>
                  </a:cubicBezTo>
                  <a:cubicBezTo>
                    <a:pt x="1379" y="5630"/>
                    <a:pt x="1433" y="5577"/>
                    <a:pt x="1433" y="5550"/>
                  </a:cubicBezTo>
                  <a:cubicBezTo>
                    <a:pt x="1433" y="5523"/>
                    <a:pt x="1433" y="5523"/>
                    <a:pt x="1433" y="5496"/>
                  </a:cubicBezTo>
                  <a:cubicBezTo>
                    <a:pt x="1461" y="5470"/>
                    <a:pt x="1406" y="5496"/>
                    <a:pt x="1487" y="5496"/>
                  </a:cubicBezTo>
                  <a:cubicBezTo>
                    <a:pt x="1487" y="5496"/>
                    <a:pt x="1541" y="5443"/>
                    <a:pt x="1541" y="5416"/>
                  </a:cubicBezTo>
                  <a:cubicBezTo>
                    <a:pt x="1514" y="5416"/>
                    <a:pt x="1514" y="5389"/>
                    <a:pt x="1514" y="5362"/>
                  </a:cubicBezTo>
                  <a:cubicBezTo>
                    <a:pt x="1487" y="5336"/>
                    <a:pt x="1487" y="5336"/>
                    <a:pt x="1487" y="5336"/>
                  </a:cubicBezTo>
                  <a:cubicBezTo>
                    <a:pt x="1379" y="5174"/>
                    <a:pt x="1163" y="5201"/>
                    <a:pt x="1136" y="5148"/>
                  </a:cubicBezTo>
                  <a:cubicBezTo>
                    <a:pt x="1109" y="5121"/>
                    <a:pt x="1163" y="5094"/>
                    <a:pt x="1055" y="5041"/>
                  </a:cubicBezTo>
                  <a:cubicBezTo>
                    <a:pt x="1028" y="5041"/>
                    <a:pt x="974" y="5067"/>
                    <a:pt x="1000" y="5094"/>
                  </a:cubicBezTo>
                  <a:cubicBezTo>
                    <a:pt x="1028" y="5041"/>
                    <a:pt x="1028" y="5067"/>
                    <a:pt x="1000" y="5041"/>
                  </a:cubicBezTo>
                  <a:cubicBezTo>
                    <a:pt x="947" y="5014"/>
                    <a:pt x="892" y="4987"/>
                    <a:pt x="865" y="4960"/>
                  </a:cubicBezTo>
                  <a:cubicBezTo>
                    <a:pt x="865" y="4960"/>
                    <a:pt x="812" y="4853"/>
                    <a:pt x="784" y="4853"/>
                  </a:cubicBezTo>
                  <a:cubicBezTo>
                    <a:pt x="757" y="4826"/>
                    <a:pt x="757" y="4826"/>
                    <a:pt x="757" y="4826"/>
                  </a:cubicBezTo>
                  <a:cubicBezTo>
                    <a:pt x="757" y="4826"/>
                    <a:pt x="757" y="4826"/>
                    <a:pt x="730" y="4826"/>
                  </a:cubicBezTo>
                  <a:cubicBezTo>
                    <a:pt x="703" y="4826"/>
                    <a:pt x="757" y="4826"/>
                    <a:pt x="757" y="4826"/>
                  </a:cubicBezTo>
                  <a:cubicBezTo>
                    <a:pt x="757" y="4799"/>
                    <a:pt x="757" y="4799"/>
                    <a:pt x="730" y="4799"/>
                  </a:cubicBezTo>
                  <a:cubicBezTo>
                    <a:pt x="703" y="4745"/>
                    <a:pt x="676" y="4745"/>
                    <a:pt x="676" y="4745"/>
                  </a:cubicBezTo>
                  <a:cubicBezTo>
                    <a:pt x="676" y="4745"/>
                    <a:pt x="649" y="4719"/>
                    <a:pt x="649" y="4745"/>
                  </a:cubicBezTo>
                  <a:cubicBezTo>
                    <a:pt x="676" y="4745"/>
                    <a:pt x="649" y="4745"/>
                    <a:pt x="649" y="4745"/>
                  </a:cubicBezTo>
                  <a:cubicBezTo>
                    <a:pt x="676" y="4745"/>
                    <a:pt x="676" y="4745"/>
                    <a:pt x="676" y="4745"/>
                  </a:cubicBezTo>
                  <a:cubicBezTo>
                    <a:pt x="649" y="4745"/>
                    <a:pt x="676" y="4745"/>
                    <a:pt x="703" y="4692"/>
                  </a:cubicBezTo>
                  <a:cubicBezTo>
                    <a:pt x="703" y="4612"/>
                    <a:pt x="649" y="4585"/>
                    <a:pt x="649" y="4557"/>
                  </a:cubicBezTo>
                  <a:cubicBezTo>
                    <a:pt x="622" y="4478"/>
                    <a:pt x="676" y="4557"/>
                    <a:pt x="703" y="4424"/>
                  </a:cubicBezTo>
                  <a:cubicBezTo>
                    <a:pt x="703" y="4316"/>
                    <a:pt x="703" y="4290"/>
                    <a:pt x="703" y="4290"/>
                  </a:cubicBezTo>
                  <a:cubicBezTo>
                    <a:pt x="703" y="4290"/>
                    <a:pt x="703" y="4290"/>
                    <a:pt x="703" y="4263"/>
                  </a:cubicBezTo>
                  <a:cubicBezTo>
                    <a:pt x="703" y="4263"/>
                    <a:pt x="703" y="4290"/>
                    <a:pt x="703" y="4263"/>
                  </a:cubicBezTo>
                  <a:cubicBezTo>
                    <a:pt x="703" y="4263"/>
                    <a:pt x="703" y="4236"/>
                    <a:pt x="676" y="4209"/>
                  </a:cubicBezTo>
                  <a:cubicBezTo>
                    <a:pt x="649" y="4209"/>
                    <a:pt x="649" y="4209"/>
                    <a:pt x="622" y="4209"/>
                  </a:cubicBezTo>
                  <a:cubicBezTo>
                    <a:pt x="595" y="4236"/>
                    <a:pt x="622" y="4236"/>
                    <a:pt x="595" y="4236"/>
                  </a:cubicBezTo>
                  <a:cubicBezTo>
                    <a:pt x="595" y="4236"/>
                    <a:pt x="595" y="4263"/>
                    <a:pt x="568" y="4263"/>
                  </a:cubicBezTo>
                  <a:cubicBezTo>
                    <a:pt x="595" y="4290"/>
                    <a:pt x="595" y="4290"/>
                    <a:pt x="595" y="4290"/>
                  </a:cubicBezTo>
                  <a:cubicBezTo>
                    <a:pt x="595" y="4290"/>
                    <a:pt x="622" y="4263"/>
                    <a:pt x="595" y="4263"/>
                  </a:cubicBezTo>
                  <a:cubicBezTo>
                    <a:pt x="514" y="4209"/>
                    <a:pt x="568" y="4022"/>
                    <a:pt x="351" y="3942"/>
                  </a:cubicBezTo>
                  <a:cubicBezTo>
                    <a:pt x="325" y="3942"/>
                    <a:pt x="298" y="3862"/>
                    <a:pt x="216" y="3834"/>
                  </a:cubicBezTo>
                  <a:cubicBezTo>
                    <a:pt x="190" y="3808"/>
                    <a:pt x="190" y="3834"/>
                    <a:pt x="190" y="3754"/>
                  </a:cubicBezTo>
                  <a:cubicBezTo>
                    <a:pt x="163" y="3674"/>
                    <a:pt x="135" y="3647"/>
                    <a:pt x="108" y="3593"/>
                  </a:cubicBezTo>
                  <a:cubicBezTo>
                    <a:pt x="55" y="3593"/>
                    <a:pt x="135" y="3566"/>
                    <a:pt x="163" y="3593"/>
                  </a:cubicBezTo>
                  <a:cubicBezTo>
                    <a:pt x="190" y="3621"/>
                    <a:pt x="216" y="3647"/>
                    <a:pt x="298" y="3621"/>
                  </a:cubicBezTo>
                  <a:cubicBezTo>
                    <a:pt x="351" y="3593"/>
                    <a:pt x="379" y="3512"/>
                    <a:pt x="351" y="3540"/>
                  </a:cubicBezTo>
                  <a:cubicBezTo>
                    <a:pt x="325" y="3566"/>
                    <a:pt x="379" y="3647"/>
                    <a:pt x="514" y="3647"/>
                  </a:cubicBezTo>
                  <a:cubicBezTo>
                    <a:pt x="541" y="3647"/>
                    <a:pt x="595" y="3621"/>
                    <a:pt x="622" y="3593"/>
                  </a:cubicBezTo>
                  <a:cubicBezTo>
                    <a:pt x="649" y="3593"/>
                    <a:pt x="622" y="3540"/>
                    <a:pt x="649" y="3566"/>
                  </a:cubicBezTo>
                  <a:cubicBezTo>
                    <a:pt x="649" y="3566"/>
                    <a:pt x="649" y="3593"/>
                    <a:pt x="703" y="3566"/>
                  </a:cubicBezTo>
                  <a:cubicBezTo>
                    <a:pt x="730" y="3512"/>
                    <a:pt x="703" y="3512"/>
                    <a:pt x="703" y="3486"/>
                  </a:cubicBezTo>
                  <a:cubicBezTo>
                    <a:pt x="703" y="3459"/>
                    <a:pt x="703" y="3459"/>
                    <a:pt x="703" y="3433"/>
                  </a:cubicBezTo>
                  <a:cubicBezTo>
                    <a:pt x="730" y="3433"/>
                    <a:pt x="649" y="3433"/>
                    <a:pt x="676" y="3433"/>
                  </a:cubicBezTo>
                  <a:cubicBezTo>
                    <a:pt x="676" y="3459"/>
                    <a:pt x="676" y="3486"/>
                    <a:pt x="703" y="3459"/>
                  </a:cubicBezTo>
                  <a:cubicBezTo>
                    <a:pt x="703" y="3433"/>
                    <a:pt x="703" y="3433"/>
                    <a:pt x="703" y="3433"/>
                  </a:cubicBezTo>
                  <a:cubicBezTo>
                    <a:pt x="730" y="3433"/>
                    <a:pt x="730" y="3406"/>
                    <a:pt x="757" y="3433"/>
                  </a:cubicBezTo>
                  <a:cubicBezTo>
                    <a:pt x="784" y="3433"/>
                    <a:pt x="784" y="3459"/>
                    <a:pt x="865" y="3459"/>
                  </a:cubicBezTo>
                  <a:cubicBezTo>
                    <a:pt x="892" y="3433"/>
                    <a:pt x="865" y="3459"/>
                    <a:pt x="865" y="3459"/>
                  </a:cubicBezTo>
                  <a:cubicBezTo>
                    <a:pt x="974" y="3486"/>
                    <a:pt x="920" y="3459"/>
                    <a:pt x="974" y="3486"/>
                  </a:cubicBezTo>
                  <a:cubicBezTo>
                    <a:pt x="1000" y="3486"/>
                    <a:pt x="1000" y="3512"/>
                    <a:pt x="1055" y="3512"/>
                  </a:cubicBezTo>
                  <a:cubicBezTo>
                    <a:pt x="1109" y="3459"/>
                    <a:pt x="1082" y="3459"/>
                    <a:pt x="1082" y="3459"/>
                  </a:cubicBezTo>
                  <a:cubicBezTo>
                    <a:pt x="1082" y="3433"/>
                    <a:pt x="1136" y="3433"/>
                    <a:pt x="1082" y="3406"/>
                  </a:cubicBezTo>
                  <a:cubicBezTo>
                    <a:pt x="1082" y="3459"/>
                    <a:pt x="1109" y="3433"/>
                    <a:pt x="1163" y="3433"/>
                  </a:cubicBezTo>
                  <a:cubicBezTo>
                    <a:pt x="1217" y="3379"/>
                    <a:pt x="1217" y="3352"/>
                    <a:pt x="1217" y="3352"/>
                  </a:cubicBezTo>
                  <a:cubicBezTo>
                    <a:pt x="1217" y="3299"/>
                    <a:pt x="1243" y="3245"/>
                    <a:pt x="1243" y="3218"/>
                  </a:cubicBezTo>
                  <a:cubicBezTo>
                    <a:pt x="1217" y="3218"/>
                    <a:pt x="1298" y="3218"/>
                    <a:pt x="1352" y="3191"/>
                  </a:cubicBezTo>
                  <a:cubicBezTo>
                    <a:pt x="1433" y="3057"/>
                    <a:pt x="1325" y="3030"/>
                    <a:pt x="1325" y="3030"/>
                  </a:cubicBezTo>
                  <a:cubicBezTo>
                    <a:pt x="1298" y="3084"/>
                    <a:pt x="1406" y="2977"/>
                    <a:pt x="1379" y="2923"/>
                  </a:cubicBezTo>
                  <a:cubicBezTo>
                    <a:pt x="1406" y="2896"/>
                    <a:pt x="1433" y="2816"/>
                    <a:pt x="1406" y="2842"/>
                  </a:cubicBezTo>
                  <a:cubicBezTo>
                    <a:pt x="1406" y="2842"/>
                    <a:pt x="1433" y="2870"/>
                    <a:pt x="1487" y="2842"/>
                  </a:cubicBezTo>
                  <a:cubicBezTo>
                    <a:pt x="1514" y="2842"/>
                    <a:pt x="1541" y="2842"/>
                    <a:pt x="1569" y="2789"/>
                  </a:cubicBezTo>
                  <a:cubicBezTo>
                    <a:pt x="1569" y="2762"/>
                    <a:pt x="1596" y="2708"/>
                    <a:pt x="1541" y="2708"/>
                  </a:cubicBezTo>
                  <a:cubicBezTo>
                    <a:pt x="1569" y="2762"/>
                    <a:pt x="1569" y="2735"/>
                    <a:pt x="1622" y="2735"/>
                  </a:cubicBezTo>
                  <a:cubicBezTo>
                    <a:pt x="1649" y="2708"/>
                    <a:pt x="1704" y="2655"/>
                    <a:pt x="1677" y="2601"/>
                  </a:cubicBezTo>
                  <a:cubicBezTo>
                    <a:pt x="1649" y="2601"/>
                    <a:pt x="1649" y="2574"/>
                    <a:pt x="1649" y="2574"/>
                  </a:cubicBezTo>
                  <a:cubicBezTo>
                    <a:pt x="1649" y="2601"/>
                    <a:pt x="1569" y="2574"/>
                    <a:pt x="1649" y="2601"/>
                  </a:cubicBezTo>
                  <a:cubicBezTo>
                    <a:pt x="1649" y="2574"/>
                    <a:pt x="1649" y="2574"/>
                    <a:pt x="1649" y="2574"/>
                  </a:cubicBezTo>
                  <a:cubicBezTo>
                    <a:pt x="1677" y="2548"/>
                    <a:pt x="1704" y="2467"/>
                    <a:pt x="1704" y="2467"/>
                  </a:cubicBezTo>
                  <a:cubicBezTo>
                    <a:pt x="1704" y="2467"/>
                    <a:pt x="1731" y="2467"/>
                    <a:pt x="1757" y="2467"/>
                  </a:cubicBezTo>
                  <a:cubicBezTo>
                    <a:pt x="1839" y="2387"/>
                    <a:pt x="1785" y="2333"/>
                    <a:pt x="1785" y="2333"/>
                  </a:cubicBezTo>
                  <a:cubicBezTo>
                    <a:pt x="1785" y="2333"/>
                    <a:pt x="1757" y="2333"/>
                    <a:pt x="1785" y="2360"/>
                  </a:cubicBezTo>
                  <a:cubicBezTo>
                    <a:pt x="1785" y="2360"/>
                    <a:pt x="1785" y="2333"/>
                    <a:pt x="1812" y="2333"/>
                  </a:cubicBezTo>
                  <a:cubicBezTo>
                    <a:pt x="1839" y="2306"/>
                    <a:pt x="1866" y="2306"/>
                    <a:pt x="1866" y="2253"/>
                  </a:cubicBezTo>
                  <a:cubicBezTo>
                    <a:pt x="1866" y="2253"/>
                    <a:pt x="1893" y="2199"/>
                    <a:pt x="1893" y="2172"/>
                  </a:cubicBezTo>
                  <a:cubicBezTo>
                    <a:pt x="1866" y="2119"/>
                    <a:pt x="1866" y="2091"/>
                    <a:pt x="1839" y="2119"/>
                  </a:cubicBezTo>
                  <a:cubicBezTo>
                    <a:pt x="1893" y="2119"/>
                    <a:pt x="2055" y="1984"/>
                    <a:pt x="2055" y="1904"/>
                  </a:cubicBezTo>
                  <a:cubicBezTo>
                    <a:pt x="2082" y="1877"/>
                    <a:pt x="2110" y="1850"/>
                    <a:pt x="2110" y="1824"/>
                  </a:cubicBezTo>
                  <a:cubicBezTo>
                    <a:pt x="2110" y="1797"/>
                    <a:pt x="2110" y="1770"/>
                    <a:pt x="2110" y="1770"/>
                  </a:cubicBezTo>
                  <a:cubicBezTo>
                    <a:pt x="2136" y="1743"/>
                    <a:pt x="2163" y="1636"/>
                    <a:pt x="2163" y="1636"/>
                  </a:cubicBezTo>
                  <a:cubicBezTo>
                    <a:pt x="2163" y="1609"/>
                    <a:pt x="2245" y="1609"/>
                    <a:pt x="2298" y="1555"/>
                  </a:cubicBezTo>
                  <a:cubicBezTo>
                    <a:pt x="2353" y="1475"/>
                    <a:pt x="2326" y="1421"/>
                    <a:pt x="2326" y="1367"/>
                  </a:cubicBezTo>
                  <a:cubicBezTo>
                    <a:pt x="2298" y="1287"/>
                    <a:pt x="2298" y="1314"/>
                    <a:pt x="2353" y="1261"/>
                  </a:cubicBezTo>
                  <a:cubicBezTo>
                    <a:pt x="2406" y="1233"/>
                    <a:pt x="2406" y="1233"/>
                    <a:pt x="2488" y="1180"/>
                  </a:cubicBezTo>
                  <a:cubicBezTo>
                    <a:pt x="2569" y="1126"/>
                    <a:pt x="2542" y="1073"/>
                    <a:pt x="2596" y="1045"/>
                  </a:cubicBezTo>
                  <a:cubicBezTo>
                    <a:pt x="2596" y="992"/>
                    <a:pt x="2650" y="965"/>
                    <a:pt x="2677" y="965"/>
                  </a:cubicBezTo>
                  <a:cubicBezTo>
                    <a:pt x="2677" y="939"/>
                    <a:pt x="2704" y="965"/>
                    <a:pt x="2758" y="939"/>
                  </a:cubicBezTo>
                  <a:cubicBezTo>
                    <a:pt x="2812" y="939"/>
                    <a:pt x="2812" y="885"/>
                    <a:pt x="2839" y="858"/>
                  </a:cubicBezTo>
                  <a:cubicBezTo>
                    <a:pt x="2839" y="858"/>
                    <a:pt x="2867" y="858"/>
                    <a:pt x="2839" y="858"/>
                  </a:cubicBezTo>
                  <a:cubicBezTo>
                    <a:pt x="2839" y="804"/>
                    <a:pt x="2839" y="858"/>
                    <a:pt x="2812" y="858"/>
                  </a:cubicBezTo>
                  <a:cubicBezTo>
                    <a:pt x="2812" y="858"/>
                    <a:pt x="2812" y="858"/>
                    <a:pt x="2839" y="858"/>
                  </a:cubicBezTo>
                  <a:cubicBezTo>
                    <a:pt x="2867" y="885"/>
                    <a:pt x="2893" y="911"/>
                    <a:pt x="2920" y="911"/>
                  </a:cubicBezTo>
                  <a:cubicBezTo>
                    <a:pt x="2975" y="939"/>
                    <a:pt x="3083" y="911"/>
                    <a:pt x="3110" y="858"/>
                  </a:cubicBezTo>
                  <a:cubicBezTo>
                    <a:pt x="3163" y="778"/>
                    <a:pt x="3110" y="858"/>
                    <a:pt x="3245" y="778"/>
                  </a:cubicBezTo>
                  <a:cubicBezTo>
                    <a:pt x="3299" y="724"/>
                    <a:pt x="3245" y="697"/>
                    <a:pt x="3245" y="697"/>
                  </a:cubicBezTo>
                  <a:cubicBezTo>
                    <a:pt x="3218" y="697"/>
                    <a:pt x="3245" y="670"/>
                    <a:pt x="3218" y="670"/>
                  </a:cubicBezTo>
                  <a:cubicBezTo>
                    <a:pt x="3218" y="751"/>
                    <a:pt x="3245" y="697"/>
                    <a:pt x="3272" y="697"/>
                  </a:cubicBezTo>
                  <a:cubicBezTo>
                    <a:pt x="3353" y="670"/>
                    <a:pt x="3380" y="563"/>
                    <a:pt x="3380" y="590"/>
                  </a:cubicBezTo>
                  <a:cubicBezTo>
                    <a:pt x="3407" y="617"/>
                    <a:pt x="3516" y="482"/>
                    <a:pt x="3434" y="510"/>
                  </a:cubicBezTo>
                  <a:cubicBezTo>
                    <a:pt x="3407" y="563"/>
                    <a:pt x="3461" y="536"/>
                    <a:pt x="3488" y="536"/>
                  </a:cubicBezTo>
                  <a:cubicBezTo>
                    <a:pt x="3624" y="536"/>
                    <a:pt x="3624" y="482"/>
                    <a:pt x="3651" y="403"/>
                  </a:cubicBezTo>
                  <a:cubicBezTo>
                    <a:pt x="3651" y="375"/>
                    <a:pt x="3704" y="348"/>
                    <a:pt x="3704" y="348"/>
                  </a:cubicBezTo>
                  <a:cubicBezTo>
                    <a:pt x="3704" y="375"/>
                    <a:pt x="3840" y="403"/>
                    <a:pt x="3786" y="375"/>
                  </a:cubicBezTo>
                  <a:cubicBezTo>
                    <a:pt x="3786" y="375"/>
                    <a:pt x="3786" y="403"/>
                    <a:pt x="3812" y="456"/>
                  </a:cubicBezTo>
                  <a:cubicBezTo>
                    <a:pt x="3867" y="510"/>
                    <a:pt x="3840" y="482"/>
                    <a:pt x="3894" y="510"/>
                  </a:cubicBezTo>
                  <a:cubicBezTo>
                    <a:pt x="3894" y="536"/>
                    <a:pt x="3975" y="536"/>
                    <a:pt x="3975" y="536"/>
                  </a:cubicBezTo>
                  <a:cubicBezTo>
                    <a:pt x="3948" y="536"/>
                    <a:pt x="4056" y="617"/>
                    <a:pt x="4083" y="563"/>
                  </a:cubicBezTo>
                  <a:cubicBezTo>
                    <a:pt x="4137" y="536"/>
                    <a:pt x="4137" y="536"/>
                    <a:pt x="4137" y="536"/>
                  </a:cubicBezTo>
                  <a:cubicBezTo>
                    <a:pt x="4218" y="563"/>
                    <a:pt x="4381" y="590"/>
                    <a:pt x="4408" y="617"/>
                  </a:cubicBezTo>
                  <a:cubicBezTo>
                    <a:pt x="4408" y="617"/>
                    <a:pt x="4489" y="697"/>
                    <a:pt x="4516" y="670"/>
                  </a:cubicBezTo>
                  <a:cubicBezTo>
                    <a:pt x="4569" y="670"/>
                    <a:pt x="4597" y="644"/>
                    <a:pt x="4597" y="644"/>
                  </a:cubicBezTo>
                  <a:cubicBezTo>
                    <a:pt x="4624" y="644"/>
                    <a:pt x="4705" y="644"/>
                    <a:pt x="4732" y="670"/>
                  </a:cubicBezTo>
                  <a:cubicBezTo>
                    <a:pt x="4732" y="670"/>
                    <a:pt x="4813" y="724"/>
                    <a:pt x="4840" y="697"/>
                  </a:cubicBezTo>
                  <a:cubicBezTo>
                    <a:pt x="4894" y="697"/>
                    <a:pt x="4840" y="697"/>
                    <a:pt x="4894" y="724"/>
                  </a:cubicBezTo>
                  <a:cubicBezTo>
                    <a:pt x="5030" y="724"/>
                    <a:pt x="5030" y="644"/>
                    <a:pt x="5057" y="670"/>
                  </a:cubicBezTo>
                  <a:cubicBezTo>
                    <a:pt x="5057" y="670"/>
                    <a:pt x="5083" y="697"/>
                    <a:pt x="5138" y="697"/>
                  </a:cubicBezTo>
                  <a:cubicBezTo>
                    <a:pt x="5165" y="670"/>
                    <a:pt x="5165" y="644"/>
                    <a:pt x="5165" y="644"/>
                  </a:cubicBezTo>
                  <a:cubicBezTo>
                    <a:pt x="5165" y="644"/>
                    <a:pt x="5191" y="644"/>
                    <a:pt x="5218" y="644"/>
                  </a:cubicBezTo>
                  <a:cubicBezTo>
                    <a:pt x="5273" y="644"/>
                    <a:pt x="5300" y="644"/>
                    <a:pt x="5354" y="670"/>
                  </a:cubicBezTo>
                  <a:cubicBezTo>
                    <a:pt x="5381" y="697"/>
                    <a:pt x="5381" y="697"/>
                    <a:pt x="5408" y="724"/>
                  </a:cubicBezTo>
                  <a:cubicBezTo>
                    <a:pt x="5408" y="724"/>
                    <a:pt x="5408" y="724"/>
                    <a:pt x="5435" y="778"/>
                  </a:cubicBezTo>
                  <a:cubicBezTo>
                    <a:pt x="5462" y="858"/>
                    <a:pt x="5570" y="858"/>
                    <a:pt x="5570" y="885"/>
                  </a:cubicBezTo>
                  <a:cubicBezTo>
                    <a:pt x="5597" y="911"/>
                    <a:pt x="5624" y="965"/>
                    <a:pt x="5651" y="1019"/>
                  </a:cubicBezTo>
                  <a:cubicBezTo>
                    <a:pt x="5732" y="1099"/>
                    <a:pt x="5814" y="1045"/>
                    <a:pt x="5867" y="1019"/>
                  </a:cubicBezTo>
                  <a:cubicBezTo>
                    <a:pt x="5974" y="992"/>
                    <a:pt x="6083" y="911"/>
                    <a:pt x="6137" y="804"/>
                  </a:cubicBezTo>
                  <a:cubicBezTo>
                    <a:pt x="6137" y="751"/>
                    <a:pt x="6164" y="724"/>
                    <a:pt x="6218" y="724"/>
                  </a:cubicBezTo>
                  <a:cubicBezTo>
                    <a:pt x="6272" y="724"/>
                    <a:pt x="6327" y="724"/>
                    <a:pt x="6380" y="697"/>
                  </a:cubicBezTo>
                  <a:cubicBezTo>
                    <a:pt x="6461" y="670"/>
                    <a:pt x="6570" y="697"/>
                    <a:pt x="6678" y="697"/>
                  </a:cubicBezTo>
                  <a:cubicBezTo>
                    <a:pt x="6731" y="724"/>
                    <a:pt x="6840" y="617"/>
                    <a:pt x="6840" y="617"/>
                  </a:cubicBezTo>
                  <a:cubicBezTo>
                    <a:pt x="6867" y="617"/>
                    <a:pt x="6948" y="617"/>
                    <a:pt x="7002" y="617"/>
                  </a:cubicBezTo>
                  <a:cubicBezTo>
                    <a:pt x="7056" y="563"/>
                    <a:pt x="7219" y="670"/>
                    <a:pt x="7300" y="510"/>
                  </a:cubicBezTo>
                  <a:cubicBezTo>
                    <a:pt x="7327" y="429"/>
                    <a:pt x="7435" y="322"/>
                    <a:pt x="7435" y="241"/>
                  </a:cubicBezTo>
                  <a:cubicBezTo>
                    <a:pt x="7435" y="241"/>
                    <a:pt x="7516" y="215"/>
                    <a:pt x="7543" y="188"/>
                  </a:cubicBezTo>
                  <a:cubicBezTo>
                    <a:pt x="7570" y="161"/>
                    <a:pt x="7624" y="215"/>
                    <a:pt x="7705" y="161"/>
                  </a:cubicBezTo>
                  <a:cubicBezTo>
                    <a:pt x="7732" y="107"/>
                    <a:pt x="7867" y="81"/>
                    <a:pt x="7921" y="107"/>
                  </a:cubicBezTo>
                  <a:cubicBezTo>
                    <a:pt x="7949" y="134"/>
                    <a:pt x="7976" y="161"/>
                    <a:pt x="8029" y="215"/>
                  </a:cubicBezTo>
                  <a:cubicBezTo>
                    <a:pt x="8029" y="241"/>
                    <a:pt x="8137" y="241"/>
                    <a:pt x="8111" y="215"/>
                  </a:cubicBezTo>
                  <a:cubicBezTo>
                    <a:pt x="8111" y="188"/>
                    <a:pt x="8111" y="215"/>
                    <a:pt x="8111" y="215"/>
                  </a:cubicBezTo>
                  <a:cubicBezTo>
                    <a:pt x="8111" y="241"/>
                    <a:pt x="8111" y="241"/>
                    <a:pt x="8111" y="241"/>
                  </a:cubicBezTo>
                  <a:cubicBezTo>
                    <a:pt x="8084" y="295"/>
                    <a:pt x="8273" y="375"/>
                    <a:pt x="8192" y="295"/>
                  </a:cubicBezTo>
                  <a:cubicBezTo>
                    <a:pt x="8192" y="322"/>
                    <a:pt x="8192" y="348"/>
                    <a:pt x="8219" y="403"/>
                  </a:cubicBezTo>
                  <a:cubicBezTo>
                    <a:pt x="8246" y="456"/>
                    <a:pt x="8246" y="429"/>
                    <a:pt x="8273" y="456"/>
                  </a:cubicBezTo>
                  <a:cubicBezTo>
                    <a:pt x="8300" y="482"/>
                    <a:pt x="8327" y="536"/>
                    <a:pt x="8354" y="536"/>
                  </a:cubicBezTo>
                  <a:cubicBezTo>
                    <a:pt x="8354" y="536"/>
                    <a:pt x="8381" y="617"/>
                    <a:pt x="8381" y="590"/>
                  </a:cubicBezTo>
                  <a:cubicBezTo>
                    <a:pt x="8354" y="590"/>
                    <a:pt x="8462" y="617"/>
                    <a:pt x="8381" y="563"/>
                  </a:cubicBezTo>
                  <a:cubicBezTo>
                    <a:pt x="8381" y="590"/>
                    <a:pt x="8354" y="590"/>
                    <a:pt x="8354" y="617"/>
                  </a:cubicBezTo>
                  <a:cubicBezTo>
                    <a:pt x="8327" y="697"/>
                    <a:pt x="8408" y="724"/>
                    <a:pt x="8408" y="724"/>
                  </a:cubicBezTo>
                  <a:cubicBezTo>
                    <a:pt x="8408" y="697"/>
                    <a:pt x="8408" y="697"/>
                    <a:pt x="8408" y="697"/>
                  </a:cubicBezTo>
                  <a:cubicBezTo>
                    <a:pt x="8408" y="697"/>
                    <a:pt x="8408" y="724"/>
                    <a:pt x="8408" y="751"/>
                  </a:cubicBezTo>
                  <a:cubicBezTo>
                    <a:pt x="8435" y="778"/>
                    <a:pt x="8435" y="804"/>
                    <a:pt x="8435" y="804"/>
                  </a:cubicBezTo>
                  <a:cubicBezTo>
                    <a:pt x="8435" y="778"/>
                    <a:pt x="8435" y="832"/>
                    <a:pt x="8462" y="858"/>
                  </a:cubicBezTo>
                  <a:cubicBezTo>
                    <a:pt x="8462" y="885"/>
                    <a:pt x="8490" y="992"/>
                    <a:pt x="8516" y="965"/>
                  </a:cubicBezTo>
                  <a:cubicBezTo>
                    <a:pt x="8516" y="939"/>
                    <a:pt x="8490" y="939"/>
                    <a:pt x="8490" y="939"/>
                  </a:cubicBezTo>
                  <a:cubicBezTo>
                    <a:pt x="8490" y="939"/>
                    <a:pt x="8462" y="992"/>
                    <a:pt x="8462" y="1019"/>
                  </a:cubicBezTo>
                  <a:cubicBezTo>
                    <a:pt x="8490" y="1045"/>
                    <a:pt x="8516" y="1073"/>
                    <a:pt x="8516" y="1099"/>
                  </a:cubicBezTo>
                  <a:cubicBezTo>
                    <a:pt x="8570" y="1153"/>
                    <a:pt x="8625" y="1233"/>
                    <a:pt x="8678" y="1261"/>
                  </a:cubicBezTo>
                  <a:cubicBezTo>
                    <a:pt x="8678" y="1261"/>
                    <a:pt x="8678" y="1287"/>
                    <a:pt x="8706" y="1314"/>
                  </a:cubicBezTo>
                  <a:cubicBezTo>
                    <a:pt x="8706" y="1314"/>
                    <a:pt x="8706" y="1340"/>
                    <a:pt x="8733" y="1367"/>
                  </a:cubicBezTo>
                  <a:cubicBezTo>
                    <a:pt x="8733" y="1421"/>
                    <a:pt x="8814" y="1448"/>
                    <a:pt x="8841" y="1448"/>
                  </a:cubicBezTo>
                  <a:cubicBezTo>
                    <a:pt x="8868" y="1448"/>
                    <a:pt x="8868" y="1475"/>
                    <a:pt x="8894" y="1448"/>
                  </a:cubicBezTo>
                  <a:cubicBezTo>
                    <a:pt x="8894" y="1421"/>
                    <a:pt x="8894" y="1421"/>
                    <a:pt x="8894" y="1421"/>
                  </a:cubicBezTo>
                  <a:cubicBezTo>
                    <a:pt x="8841" y="1421"/>
                    <a:pt x="8868" y="1421"/>
                    <a:pt x="8868" y="1448"/>
                  </a:cubicBezTo>
                  <a:cubicBezTo>
                    <a:pt x="8868" y="1448"/>
                    <a:pt x="8841" y="1475"/>
                    <a:pt x="8841" y="1502"/>
                  </a:cubicBezTo>
                  <a:cubicBezTo>
                    <a:pt x="8841" y="1502"/>
                    <a:pt x="8841" y="1528"/>
                    <a:pt x="8868" y="1528"/>
                  </a:cubicBezTo>
                  <a:cubicBezTo>
                    <a:pt x="8894" y="1528"/>
                    <a:pt x="8868" y="1528"/>
                    <a:pt x="8868" y="1528"/>
                  </a:cubicBezTo>
                  <a:cubicBezTo>
                    <a:pt x="8841" y="1528"/>
                    <a:pt x="8868" y="1528"/>
                    <a:pt x="8841" y="1555"/>
                  </a:cubicBezTo>
                  <a:cubicBezTo>
                    <a:pt x="8841" y="1690"/>
                    <a:pt x="8949" y="1743"/>
                    <a:pt x="9003" y="1770"/>
                  </a:cubicBezTo>
                  <a:cubicBezTo>
                    <a:pt x="9030" y="1770"/>
                    <a:pt x="9057" y="1797"/>
                    <a:pt x="9084" y="1797"/>
                  </a:cubicBezTo>
                  <a:cubicBezTo>
                    <a:pt x="9057" y="1850"/>
                    <a:pt x="9111" y="1850"/>
                    <a:pt x="9111" y="1877"/>
                  </a:cubicBezTo>
                  <a:cubicBezTo>
                    <a:pt x="9138" y="1904"/>
                    <a:pt x="9138" y="1904"/>
                    <a:pt x="9138" y="1957"/>
                  </a:cubicBezTo>
                  <a:cubicBezTo>
                    <a:pt x="9138" y="1984"/>
                    <a:pt x="9192" y="2038"/>
                    <a:pt x="9219" y="2065"/>
                  </a:cubicBezTo>
                  <a:cubicBezTo>
                    <a:pt x="9273" y="2119"/>
                    <a:pt x="9408" y="2199"/>
                    <a:pt x="9463" y="2253"/>
                  </a:cubicBezTo>
                  <a:cubicBezTo>
                    <a:pt x="9517" y="2306"/>
                    <a:pt x="9517" y="2387"/>
                    <a:pt x="9543" y="2494"/>
                  </a:cubicBezTo>
                  <a:cubicBezTo>
                    <a:pt x="9571" y="2574"/>
                    <a:pt x="9625" y="2628"/>
                    <a:pt x="9625" y="2682"/>
                  </a:cubicBezTo>
                  <a:cubicBezTo>
                    <a:pt x="9625" y="2762"/>
                    <a:pt x="9706" y="2842"/>
                    <a:pt x="9706" y="2870"/>
                  </a:cubicBezTo>
                  <a:cubicBezTo>
                    <a:pt x="9733" y="2923"/>
                    <a:pt x="9679" y="2977"/>
                    <a:pt x="9679" y="3084"/>
                  </a:cubicBezTo>
                  <a:cubicBezTo>
                    <a:pt x="9679" y="3111"/>
                    <a:pt x="9706" y="3164"/>
                    <a:pt x="9733" y="3191"/>
                  </a:cubicBezTo>
                  <a:cubicBezTo>
                    <a:pt x="9733" y="3218"/>
                    <a:pt x="9733" y="3191"/>
                    <a:pt x="9706" y="3245"/>
                  </a:cubicBezTo>
                  <a:cubicBezTo>
                    <a:pt x="9706" y="3271"/>
                    <a:pt x="9679" y="3299"/>
                    <a:pt x="9679" y="3325"/>
                  </a:cubicBezTo>
                  <a:cubicBezTo>
                    <a:pt x="9652" y="3352"/>
                    <a:pt x="9652" y="3406"/>
                    <a:pt x="9679" y="3406"/>
                  </a:cubicBezTo>
                  <a:cubicBezTo>
                    <a:pt x="9679" y="3433"/>
                    <a:pt x="9679" y="3406"/>
                    <a:pt x="9706" y="3406"/>
                  </a:cubicBezTo>
                  <a:cubicBezTo>
                    <a:pt x="9679" y="3406"/>
                    <a:pt x="9679" y="3406"/>
                    <a:pt x="9679" y="3406"/>
                  </a:cubicBezTo>
                  <a:cubicBezTo>
                    <a:pt x="9652" y="3433"/>
                    <a:pt x="9625" y="3433"/>
                    <a:pt x="9598" y="3512"/>
                  </a:cubicBezTo>
                  <a:cubicBezTo>
                    <a:pt x="9571" y="3540"/>
                    <a:pt x="9598" y="3593"/>
                    <a:pt x="9598" y="3621"/>
                  </a:cubicBezTo>
                  <a:cubicBezTo>
                    <a:pt x="9625" y="3700"/>
                    <a:pt x="9543" y="3834"/>
                    <a:pt x="9571" y="3996"/>
                  </a:cubicBezTo>
                  <a:cubicBezTo>
                    <a:pt x="9571" y="4050"/>
                    <a:pt x="9598" y="4102"/>
                    <a:pt x="9598" y="4155"/>
                  </a:cubicBezTo>
                  <a:cubicBezTo>
                    <a:pt x="9625" y="4155"/>
                    <a:pt x="9571" y="4290"/>
                    <a:pt x="9625" y="4343"/>
                  </a:cubicBezTo>
                  <a:cubicBezTo>
                    <a:pt x="9679" y="4424"/>
                    <a:pt x="9706" y="4557"/>
                    <a:pt x="9625" y="4585"/>
                  </a:cubicBezTo>
                  <a:cubicBezTo>
                    <a:pt x="9625" y="4612"/>
                    <a:pt x="9598" y="4585"/>
                    <a:pt x="9598" y="4665"/>
                  </a:cubicBezTo>
                  <a:cubicBezTo>
                    <a:pt x="9598" y="4692"/>
                    <a:pt x="9625" y="4719"/>
                    <a:pt x="9625" y="4719"/>
                  </a:cubicBezTo>
                  <a:cubicBezTo>
                    <a:pt x="9652" y="4745"/>
                    <a:pt x="9652" y="4745"/>
                    <a:pt x="9652" y="4772"/>
                  </a:cubicBezTo>
                  <a:cubicBezTo>
                    <a:pt x="9679" y="4799"/>
                    <a:pt x="9652" y="4907"/>
                    <a:pt x="9760" y="4933"/>
                  </a:cubicBezTo>
                  <a:cubicBezTo>
                    <a:pt x="9787" y="4960"/>
                    <a:pt x="9814" y="4960"/>
                    <a:pt x="9814" y="4960"/>
                  </a:cubicBezTo>
                  <a:cubicBezTo>
                    <a:pt x="9814" y="4933"/>
                    <a:pt x="9841" y="4960"/>
                    <a:pt x="9841" y="5014"/>
                  </a:cubicBezTo>
                  <a:cubicBezTo>
                    <a:pt x="9868" y="5067"/>
                    <a:pt x="9896" y="5121"/>
                    <a:pt x="9922" y="5148"/>
                  </a:cubicBezTo>
                  <a:cubicBezTo>
                    <a:pt x="10031" y="5255"/>
                    <a:pt x="10139" y="5255"/>
                    <a:pt x="10247" y="5282"/>
                  </a:cubicBezTo>
                  <a:cubicBezTo>
                    <a:pt x="10300" y="5308"/>
                    <a:pt x="10571" y="5389"/>
                    <a:pt x="10517" y="5201"/>
                  </a:cubicBezTo>
                  <a:cubicBezTo>
                    <a:pt x="10490" y="5229"/>
                    <a:pt x="10598" y="5201"/>
                    <a:pt x="10544" y="5148"/>
                  </a:cubicBezTo>
                  <a:cubicBezTo>
                    <a:pt x="10544" y="5121"/>
                    <a:pt x="10517" y="5121"/>
                    <a:pt x="10517" y="5121"/>
                  </a:cubicBezTo>
                  <a:cubicBezTo>
                    <a:pt x="10490" y="5121"/>
                    <a:pt x="10517" y="5148"/>
                    <a:pt x="10517" y="5121"/>
                  </a:cubicBezTo>
                  <a:cubicBezTo>
                    <a:pt x="10544" y="5121"/>
                    <a:pt x="10571" y="5094"/>
                    <a:pt x="10571" y="5121"/>
                  </a:cubicBezTo>
                  <a:cubicBezTo>
                    <a:pt x="10571" y="5174"/>
                    <a:pt x="10625" y="5174"/>
                    <a:pt x="10625" y="5174"/>
                  </a:cubicBezTo>
                  <a:cubicBezTo>
                    <a:pt x="10653" y="5201"/>
                    <a:pt x="10653" y="5201"/>
                    <a:pt x="10679" y="5201"/>
                  </a:cubicBezTo>
                  <a:cubicBezTo>
                    <a:pt x="10706" y="5229"/>
                    <a:pt x="10733" y="5201"/>
                    <a:pt x="10733" y="5174"/>
                  </a:cubicBezTo>
                  <a:cubicBezTo>
                    <a:pt x="10733" y="5148"/>
                    <a:pt x="10761" y="5148"/>
                    <a:pt x="10761" y="5121"/>
                  </a:cubicBezTo>
                  <a:cubicBezTo>
                    <a:pt x="10841" y="5121"/>
                    <a:pt x="10869" y="5094"/>
                    <a:pt x="10923" y="5067"/>
                  </a:cubicBezTo>
                  <a:cubicBezTo>
                    <a:pt x="11058" y="4879"/>
                    <a:pt x="11328" y="4853"/>
                    <a:pt x="11518" y="4987"/>
                  </a:cubicBezTo>
                  <a:cubicBezTo>
                    <a:pt x="11545" y="5014"/>
                    <a:pt x="11598" y="5067"/>
                    <a:pt x="11598" y="5121"/>
                  </a:cubicBezTo>
                  <a:cubicBezTo>
                    <a:pt x="11598" y="5174"/>
                    <a:pt x="11653" y="5255"/>
                    <a:pt x="11571" y="5255"/>
                  </a:cubicBezTo>
                  <a:cubicBezTo>
                    <a:pt x="11545" y="5282"/>
                    <a:pt x="11545" y="5308"/>
                    <a:pt x="11571" y="5336"/>
                  </a:cubicBezTo>
                  <a:cubicBezTo>
                    <a:pt x="11571" y="5362"/>
                    <a:pt x="11626" y="5336"/>
                    <a:pt x="11653" y="5362"/>
                  </a:cubicBezTo>
                  <a:cubicBezTo>
                    <a:pt x="11598" y="5416"/>
                    <a:pt x="11598" y="5470"/>
                    <a:pt x="11598" y="5523"/>
                  </a:cubicBezTo>
                </a:path>
              </a:pathLst>
            </a:custGeom>
            <a:solidFill>
              <a:srgbClr val="FF520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it-IT"/>
            </a:p>
          </p:txBody>
        </p:sp>
        <p:sp>
          <p:nvSpPr>
            <p:cNvPr id="12302" name="AutoShape 6"/>
            <p:cNvSpPr>
              <a:spLocks noChangeArrowheads="1"/>
            </p:cNvSpPr>
            <p:nvPr/>
          </p:nvSpPr>
          <p:spPr bwMode="auto">
            <a:xfrm>
              <a:off x="2092" y="2734"/>
              <a:ext cx="43" cy="37"/>
            </a:xfrm>
            <a:custGeom>
              <a:avLst/>
              <a:gdLst>
                <a:gd name="T0" fmla="*/ 0 w 190"/>
                <a:gd name="T1" fmla="*/ 0 h 162"/>
                <a:gd name="T2" fmla="*/ 0 w 190"/>
                <a:gd name="T3" fmla="*/ 0 h 162"/>
                <a:gd name="T4" fmla="*/ 0 w 190"/>
                <a:gd name="T5" fmla="*/ 0 h 162"/>
                <a:gd name="T6" fmla="*/ 0 w 190"/>
                <a:gd name="T7" fmla="*/ 0 h 162"/>
                <a:gd name="T8" fmla="*/ 0 w 190"/>
                <a:gd name="T9" fmla="*/ 0 h 162"/>
                <a:gd name="T10" fmla="*/ 0 w 190"/>
                <a:gd name="T11" fmla="*/ 0 h 162"/>
                <a:gd name="T12" fmla="*/ 0 w 190"/>
                <a:gd name="T13" fmla="*/ 0 h 162"/>
                <a:gd name="T14" fmla="*/ 0 w 190"/>
                <a:gd name="T15" fmla="*/ 0 h 162"/>
                <a:gd name="T16" fmla="*/ 0 w 190"/>
                <a:gd name="T17" fmla="*/ 0 h 162"/>
                <a:gd name="T18" fmla="*/ 0 w 190"/>
                <a:gd name="T19" fmla="*/ 0 h 1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0"/>
                <a:gd name="T31" fmla="*/ 0 h 162"/>
                <a:gd name="T32" fmla="*/ 190 w 190"/>
                <a:gd name="T33" fmla="*/ 162 h 1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0" h="162">
                  <a:moveTo>
                    <a:pt x="26" y="107"/>
                  </a:moveTo>
                  <a:lnTo>
                    <a:pt x="26" y="107"/>
                  </a:lnTo>
                  <a:cubicBezTo>
                    <a:pt x="81" y="81"/>
                    <a:pt x="81" y="107"/>
                    <a:pt x="81" y="107"/>
                  </a:cubicBezTo>
                  <a:cubicBezTo>
                    <a:pt x="81" y="107"/>
                    <a:pt x="108" y="107"/>
                    <a:pt x="81" y="107"/>
                  </a:cubicBezTo>
                  <a:cubicBezTo>
                    <a:pt x="81" y="27"/>
                    <a:pt x="81" y="81"/>
                    <a:pt x="54" y="53"/>
                  </a:cubicBezTo>
                  <a:cubicBezTo>
                    <a:pt x="54" y="53"/>
                    <a:pt x="81" y="81"/>
                    <a:pt x="26" y="107"/>
                  </a:cubicBezTo>
                  <a:cubicBezTo>
                    <a:pt x="26" y="134"/>
                    <a:pt x="54" y="161"/>
                    <a:pt x="54" y="161"/>
                  </a:cubicBezTo>
                  <a:cubicBezTo>
                    <a:pt x="81" y="161"/>
                    <a:pt x="189" y="134"/>
                    <a:pt x="162" y="53"/>
                  </a:cubicBezTo>
                  <a:cubicBezTo>
                    <a:pt x="134" y="0"/>
                    <a:pt x="26" y="0"/>
                    <a:pt x="26" y="27"/>
                  </a:cubicBezTo>
                  <a:cubicBezTo>
                    <a:pt x="0" y="53"/>
                    <a:pt x="0" y="107"/>
                    <a:pt x="26" y="107"/>
                  </a:cubicBezTo>
                </a:path>
              </a:pathLst>
            </a:custGeom>
            <a:solidFill>
              <a:srgbClr val="ED7B27"/>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it-IT"/>
            </a:p>
          </p:txBody>
        </p:sp>
      </p:grpSp>
      <p:pic>
        <p:nvPicPr>
          <p:cNvPr id="12295" name="Picture 1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7825" y="865188"/>
            <a:ext cx="1773238" cy="1214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296" name="Rettangolo 1"/>
          <p:cNvSpPr>
            <a:spLocks noChangeArrowheads="1"/>
          </p:cNvSpPr>
          <p:nvPr/>
        </p:nvSpPr>
        <p:spPr bwMode="auto">
          <a:xfrm>
            <a:off x="4356100" y="3284538"/>
            <a:ext cx="30575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it-IT" dirty="0">
                <a:hlinkClick r:id="rId3"/>
              </a:rPr>
              <a:t>www.intesasanpaolobank.ro</a:t>
            </a:r>
            <a:endParaRPr lang="it-IT" dirty="0"/>
          </a:p>
          <a:p>
            <a:endParaRPr lang="it-IT" dirty="0"/>
          </a:p>
        </p:txBody>
      </p:sp>
      <p:pic>
        <p:nvPicPr>
          <p:cNvPr id="30839" name="Picture 119"/>
          <p:cNvPicPr>
            <a:picLocks noChangeAspect="1" noChangeArrowheads="1"/>
          </p:cNvPicPr>
          <p:nvPr/>
        </p:nvPicPr>
        <p:blipFill>
          <a:blip r:embed="rId4"/>
          <a:srcRect/>
          <a:stretch>
            <a:fillRect/>
          </a:stretch>
        </p:blipFill>
        <p:spPr bwMode="auto">
          <a:xfrm>
            <a:off x="6651625" y="3703638"/>
            <a:ext cx="2303463" cy="172720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1" name="Rettangolo 120"/>
          <p:cNvSpPr/>
          <p:nvPr/>
        </p:nvSpPr>
        <p:spPr>
          <a:xfrm>
            <a:off x="4828734" y="4005064"/>
            <a:ext cx="1117614" cy="1077218"/>
          </a:xfrm>
          <a:prstGeom prst="rect">
            <a:avLst/>
          </a:prstGeom>
          <a:noFill/>
        </p:spPr>
        <p:txBody>
          <a:bodyPr wrap="none">
            <a:spAutoFit/>
          </a:bodyPr>
          <a:lstStyle/>
          <a:p>
            <a:pPr algn="ctr">
              <a:defRPr/>
            </a:pPr>
            <a:r>
              <a:rPr lang="it-IT" sz="32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pitchFamily="34" charset="0"/>
                <a:cs typeface="Arial" pitchFamily="34" charset="0"/>
              </a:rPr>
              <a:t>87</a:t>
            </a:r>
            <a:endParaRPr lang="it-IT" sz="32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pitchFamily="34" charset="0"/>
              <a:cs typeface="Arial" pitchFamily="34" charset="0"/>
            </a:endParaRPr>
          </a:p>
          <a:p>
            <a:pPr algn="ctr">
              <a:defRPr/>
            </a:pPr>
            <a:r>
              <a:rPr lang="it-IT" sz="32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Arial" pitchFamily="34" charset="0"/>
                <a:cs typeface="Arial" pitchFamily="34" charset="0"/>
              </a:rPr>
              <a:t>filiali</a:t>
            </a:r>
          </a:p>
        </p:txBody>
      </p:sp>
      <p:pic>
        <p:nvPicPr>
          <p:cNvPr id="29817" name="Picture 121"/>
          <p:cNvPicPr>
            <a:picLocks noChangeAspect="1" noChangeArrowheads="1"/>
          </p:cNvPicPr>
          <p:nvPr/>
        </p:nvPicPr>
        <p:blipFill>
          <a:blip r:embed="rId5"/>
          <a:srcRect/>
          <a:stretch>
            <a:fillRect/>
          </a:stretch>
        </p:blipFill>
        <p:spPr bwMode="auto">
          <a:xfrm>
            <a:off x="4114800" y="841375"/>
            <a:ext cx="4919901" cy="272293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752928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Freeform 4"/>
          <p:cNvSpPr>
            <a:spLocks/>
          </p:cNvSpPr>
          <p:nvPr>
            <p:custDataLst>
              <p:tags r:id="rId1"/>
            </p:custDataLst>
          </p:nvPr>
        </p:nvSpPr>
        <p:spPr bwMode="auto">
          <a:xfrm>
            <a:off x="684214" y="1614488"/>
            <a:ext cx="1470941" cy="933450"/>
          </a:xfrm>
          <a:custGeom>
            <a:avLst/>
            <a:gdLst>
              <a:gd name="T0" fmla="*/ 0 w 1244"/>
              <a:gd name="T1" fmla="*/ 0 h 576"/>
              <a:gd name="T2" fmla="*/ 2147483647 w 1244"/>
              <a:gd name="T3" fmla="*/ 0 h 576"/>
              <a:gd name="T4" fmla="*/ 2147483647 w 1244"/>
              <a:gd name="T5" fmla="*/ 2147483647 h 576"/>
              <a:gd name="T6" fmla="*/ 2147483647 w 1244"/>
              <a:gd name="T7" fmla="*/ 2147483647 h 576"/>
              <a:gd name="T8" fmla="*/ 0 w 1244"/>
              <a:gd name="T9" fmla="*/ 2147483647 h 576"/>
              <a:gd name="T10" fmla="*/ 0 w 1244"/>
              <a:gd name="T11" fmla="*/ 2147483647 h 576"/>
              <a:gd name="T12" fmla="*/ 0 w 1244"/>
              <a:gd name="T13" fmla="*/ 0 h 576"/>
              <a:gd name="T14" fmla="*/ 0 60000 65536"/>
              <a:gd name="T15" fmla="*/ 0 60000 65536"/>
              <a:gd name="T16" fmla="*/ 0 60000 65536"/>
              <a:gd name="T17" fmla="*/ 0 60000 65536"/>
              <a:gd name="T18" fmla="*/ 0 60000 65536"/>
              <a:gd name="T19" fmla="*/ 0 60000 65536"/>
              <a:gd name="T20" fmla="*/ 0 60000 65536"/>
              <a:gd name="T21" fmla="*/ 0 w 1244"/>
              <a:gd name="T22" fmla="*/ 0 h 576"/>
              <a:gd name="T23" fmla="*/ 1244 w 1244"/>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4" h="576">
                <a:moveTo>
                  <a:pt x="0" y="0"/>
                </a:moveTo>
                <a:lnTo>
                  <a:pt x="1140" y="0"/>
                </a:lnTo>
                <a:lnTo>
                  <a:pt x="1244" y="288"/>
                </a:lnTo>
                <a:lnTo>
                  <a:pt x="1140" y="576"/>
                </a:lnTo>
                <a:lnTo>
                  <a:pt x="0" y="576"/>
                </a:lnTo>
                <a:lnTo>
                  <a:pt x="0" y="288"/>
                </a:lnTo>
                <a:lnTo>
                  <a:pt x="0" y="0"/>
                </a:lnTo>
                <a:close/>
              </a:path>
            </a:pathLst>
          </a:custGeom>
          <a:solidFill>
            <a:srgbClr val="FD6917"/>
          </a:solidFill>
          <a:ln w="9525">
            <a:noFill/>
            <a:miter lim="800000"/>
            <a:headEnd/>
            <a:tailEnd/>
          </a:ln>
        </p:spPr>
        <p:txBody>
          <a:bodyPr wrap="none" anchor="ctr"/>
          <a:lstStyle/>
          <a:p>
            <a:pPr algn="ctr"/>
            <a:r>
              <a:rPr lang="en-GB" b="1" dirty="0">
                <a:solidFill>
                  <a:schemeClr val="bg1"/>
                </a:solidFill>
                <a:cs typeface="Arial" charset="0"/>
              </a:rPr>
              <a:t>1996-2000</a:t>
            </a:r>
            <a:endParaRPr lang="en-US" dirty="0">
              <a:solidFill>
                <a:schemeClr val="bg1"/>
              </a:solidFill>
            </a:endParaRPr>
          </a:p>
        </p:txBody>
      </p:sp>
      <p:sp>
        <p:nvSpPr>
          <p:cNvPr id="11267" name="Freeform 7"/>
          <p:cNvSpPr>
            <a:spLocks/>
          </p:cNvSpPr>
          <p:nvPr>
            <p:custDataLst>
              <p:tags r:id="rId2"/>
            </p:custDataLst>
          </p:nvPr>
        </p:nvSpPr>
        <p:spPr bwMode="auto">
          <a:xfrm>
            <a:off x="2655874" y="1595432"/>
            <a:ext cx="1987563" cy="933450"/>
          </a:xfrm>
          <a:custGeom>
            <a:avLst/>
            <a:gdLst>
              <a:gd name="T0" fmla="*/ 0 w 1250"/>
              <a:gd name="T1" fmla="*/ 0 h 576"/>
              <a:gd name="T2" fmla="*/ 2147483647 w 1250"/>
              <a:gd name="T3" fmla="*/ 0 h 576"/>
              <a:gd name="T4" fmla="*/ 2147483647 w 1250"/>
              <a:gd name="T5" fmla="*/ 2147483647 h 576"/>
              <a:gd name="T6" fmla="*/ 2147483647 w 1250"/>
              <a:gd name="T7" fmla="*/ 2147483647 h 576"/>
              <a:gd name="T8" fmla="*/ 0 w 1250"/>
              <a:gd name="T9" fmla="*/ 2147483647 h 576"/>
              <a:gd name="T10" fmla="*/ 2147483647 w 1250"/>
              <a:gd name="T11" fmla="*/ 2147483647 h 576"/>
              <a:gd name="T12" fmla="*/ 0 w 1250"/>
              <a:gd name="T13" fmla="*/ 0 h 576"/>
              <a:gd name="T14" fmla="*/ 0 60000 65536"/>
              <a:gd name="T15" fmla="*/ 0 60000 65536"/>
              <a:gd name="T16" fmla="*/ 0 60000 65536"/>
              <a:gd name="T17" fmla="*/ 0 60000 65536"/>
              <a:gd name="T18" fmla="*/ 0 60000 65536"/>
              <a:gd name="T19" fmla="*/ 0 60000 65536"/>
              <a:gd name="T20" fmla="*/ 0 60000 65536"/>
              <a:gd name="T21" fmla="*/ 0 w 1250"/>
              <a:gd name="T22" fmla="*/ 0 h 576"/>
              <a:gd name="T23" fmla="*/ 1250 w 1250"/>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0" h="576">
                <a:moveTo>
                  <a:pt x="0" y="0"/>
                </a:moveTo>
                <a:lnTo>
                  <a:pt x="1146" y="0"/>
                </a:lnTo>
                <a:lnTo>
                  <a:pt x="1250" y="288"/>
                </a:lnTo>
                <a:lnTo>
                  <a:pt x="1146" y="576"/>
                </a:lnTo>
                <a:lnTo>
                  <a:pt x="0" y="576"/>
                </a:lnTo>
                <a:lnTo>
                  <a:pt x="104" y="288"/>
                </a:lnTo>
                <a:lnTo>
                  <a:pt x="0" y="0"/>
                </a:lnTo>
                <a:close/>
              </a:path>
            </a:pathLst>
          </a:custGeom>
          <a:solidFill>
            <a:srgbClr val="FD6917"/>
          </a:solidFill>
          <a:ln w="9525">
            <a:noFill/>
            <a:miter lim="800000"/>
            <a:headEnd/>
            <a:tailEnd/>
          </a:ln>
        </p:spPr>
        <p:txBody>
          <a:bodyPr wrap="none" anchor="ctr"/>
          <a:lstStyle/>
          <a:p>
            <a:pPr algn="ctr"/>
            <a:r>
              <a:rPr lang="en-US" b="1" dirty="0">
                <a:solidFill>
                  <a:schemeClr val="bg1"/>
                </a:solidFill>
              </a:rPr>
              <a:t>2001-2006</a:t>
            </a:r>
          </a:p>
        </p:txBody>
      </p:sp>
      <p:sp>
        <p:nvSpPr>
          <p:cNvPr id="11268" name="Freeform 7"/>
          <p:cNvSpPr>
            <a:spLocks/>
          </p:cNvSpPr>
          <p:nvPr>
            <p:custDataLst>
              <p:tags r:id="rId3"/>
            </p:custDataLst>
          </p:nvPr>
        </p:nvSpPr>
        <p:spPr bwMode="auto">
          <a:xfrm>
            <a:off x="5287528" y="1595432"/>
            <a:ext cx="1570488" cy="933450"/>
          </a:xfrm>
          <a:custGeom>
            <a:avLst/>
            <a:gdLst>
              <a:gd name="T0" fmla="*/ 0 w 1250"/>
              <a:gd name="T1" fmla="*/ 0 h 576"/>
              <a:gd name="T2" fmla="*/ 2147483647 w 1250"/>
              <a:gd name="T3" fmla="*/ 0 h 576"/>
              <a:gd name="T4" fmla="*/ 2147483647 w 1250"/>
              <a:gd name="T5" fmla="*/ 2147483647 h 576"/>
              <a:gd name="T6" fmla="*/ 2147483647 w 1250"/>
              <a:gd name="T7" fmla="*/ 2147483647 h 576"/>
              <a:gd name="T8" fmla="*/ 0 w 1250"/>
              <a:gd name="T9" fmla="*/ 2147483647 h 576"/>
              <a:gd name="T10" fmla="*/ 2147483647 w 1250"/>
              <a:gd name="T11" fmla="*/ 2147483647 h 576"/>
              <a:gd name="T12" fmla="*/ 0 w 1250"/>
              <a:gd name="T13" fmla="*/ 0 h 576"/>
              <a:gd name="T14" fmla="*/ 0 60000 65536"/>
              <a:gd name="T15" fmla="*/ 0 60000 65536"/>
              <a:gd name="T16" fmla="*/ 0 60000 65536"/>
              <a:gd name="T17" fmla="*/ 0 60000 65536"/>
              <a:gd name="T18" fmla="*/ 0 60000 65536"/>
              <a:gd name="T19" fmla="*/ 0 60000 65536"/>
              <a:gd name="T20" fmla="*/ 0 60000 65536"/>
              <a:gd name="T21" fmla="*/ 0 w 1250"/>
              <a:gd name="T22" fmla="*/ 0 h 576"/>
              <a:gd name="T23" fmla="*/ 1250 w 1250"/>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0" h="576">
                <a:moveTo>
                  <a:pt x="0" y="0"/>
                </a:moveTo>
                <a:lnTo>
                  <a:pt x="1146" y="0"/>
                </a:lnTo>
                <a:lnTo>
                  <a:pt x="1250" y="288"/>
                </a:lnTo>
                <a:lnTo>
                  <a:pt x="1146" y="576"/>
                </a:lnTo>
                <a:lnTo>
                  <a:pt x="0" y="576"/>
                </a:lnTo>
                <a:lnTo>
                  <a:pt x="104" y="288"/>
                </a:lnTo>
                <a:lnTo>
                  <a:pt x="0" y="0"/>
                </a:lnTo>
                <a:close/>
              </a:path>
            </a:pathLst>
          </a:custGeom>
          <a:solidFill>
            <a:srgbClr val="FD6917"/>
          </a:solidFill>
          <a:ln w="9525">
            <a:noFill/>
            <a:miter lim="800000"/>
            <a:headEnd/>
            <a:tailEnd/>
          </a:ln>
        </p:spPr>
        <p:txBody>
          <a:bodyPr wrap="none" anchor="ctr"/>
          <a:lstStyle/>
          <a:p>
            <a:pPr algn="ctr"/>
            <a:r>
              <a:rPr lang="en-US" b="1" dirty="0">
                <a:solidFill>
                  <a:schemeClr val="bg1"/>
                </a:solidFill>
              </a:rPr>
              <a:t>2006-2008</a:t>
            </a:r>
          </a:p>
        </p:txBody>
      </p:sp>
      <p:sp>
        <p:nvSpPr>
          <p:cNvPr id="11269" name="Rectangle 29"/>
          <p:cNvSpPr>
            <a:spLocks noGrp="1"/>
          </p:cNvSpPr>
          <p:nvPr>
            <p:ph type="title"/>
          </p:nvPr>
        </p:nvSpPr>
        <p:spPr/>
        <p:txBody>
          <a:bodyPr/>
          <a:lstStyle/>
          <a:p>
            <a:r>
              <a:rPr lang="en-GB" smtClean="0"/>
              <a:t>Intesa Sanpaolo Romania – brief history</a:t>
            </a:r>
          </a:p>
        </p:txBody>
      </p:sp>
      <p:sp>
        <p:nvSpPr>
          <p:cNvPr id="11270" name="Rectangle 30"/>
          <p:cNvSpPr>
            <a:spLocks noGrp="1"/>
          </p:cNvSpPr>
          <p:nvPr>
            <p:ph type="body" idx="1"/>
          </p:nvPr>
        </p:nvSpPr>
        <p:spPr>
          <a:xfrm>
            <a:off x="468313" y="2590800"/>
            <a:ext cx="1726392" cy="2278063"/>
          </a:xfrm>
        </p:spPr>
        <p:txBody>
          <a:bodyPr/>
          <a:lstStyle/>
          <a:p>
            <a:pPr lvl="1" algn="just"/>
            <a:r>
              <a:rPr lang="en-US" smtClean="0"/>
              <a:t>West Bank: founded by a group of local entrepreneurs focused on the western part of Romania and specialized in financing for SME.</a:t>
            </a:r>
            <a:endParaRPr lang="en-GB" smtClean="0"/>
          </a:p>
        </p:txBody>
      </p:sp>
      <p:sp>
        <p:nvSpPr>
          <p:cNvPr id="11271" name="Rectangle 31"/>
          <p:cNvSpPr>
            <a:spLocks/>
          </p:cNvSpPr>
          <p:nvPr/>
        </p:nvSpPr>
        <p:spPr bwMode="auto">
          <a:xfrm>
            <a:off x="2500298" y="2571744"/>
            <a:ext cx="2236794" cy="3200400"/>
          </a:xfrm>
          <a:prstGeom prst="rect">
            <a:avLst/>
          </a:prstGeom>
          <a:noFill/>
          <a:ln w="9525">
            <a:noFill/>
            <a:miter lim="800000"/>
            <a:headEnd/>
            <a:tailEnd/>
          </a:ln>
        </p:spPr>
        <p:txBody>
          <a:bodyPr/>
          <a:lstStyle/>
          <a:p>
            <a:pPr marL="465138" lvl="1" indent="-274638" algn="just" eaLnBrk="1" hangingPunct="1">
              <a:spcBef>
                <a:spcPct val="50000"/>
              </a:spcBef>
              <a:buClr>
                <a:srgbClr val="FD6917"/>
              </a:buClr>
              <a:buFont typeface="Wingdings" pitchFamily="124" charset="2"/>
              <a:buChar char="n"/>
            </a:pPr>
            <a:r>
              <a:rPr lang="en-US" sz="1400" dirty="0"/>
              <a:t>2001: </a:t>
            </a:r>
            <a:r>
              <a:rPr lang="en-US" sz="1400" dirty="0" err="1"/>
              <a:t>Cardine</a:t>
            </a:r>
            <a:r>
              <a:rPr lang="en-US" sz="1400" dirty="0"/>
              <a:t> Group acquires West Bank.</a:t>
            </a:r>
          </a:p>
          <a:p>
            <a:pPr marL="465138" lvl="1" indent="-274638" algn="just" eaLnBrk="1" hangingPunct="1">
              <a:spcBef>
                <a:spcPct val="50000"/>
              </a:spcBef>
              <a:buClr>
                <a:srgbClr val="FD6917"/>
              </a:buClr>
              <a:buFont typeface="Wingdings" pitchFamily="124" charset="2"/>
              <a:buChar char="n"/>
            </a:pPr>
            <a:r>
              <a:rPr lang="en-US" sz="1400" dirty="0"/>
              <a:t> 2002: </a:t>
            </a:r>
            <a:r>
              <a:rPr lang="en-US" sz="1400" dirty="0" err="1"/>
              <a:t>Sanpaolo</a:t>
            </a:r>
            <a:r>
              <a:rPr lang="en-US" sz="1400" dirty="0"/>
              <a:t> </a:t>
            </a:r>
            <a:r>
              <a:rPr lang="en-US" sz="1400" dirty="0" err="1"/>
              <a:t>Imi</a:t>
            </a:r>
            <a:r>
              <a:rPr lang="en-US" sz="1400" dirty="0"/>
              <a:t> Group merged with </a:t>
            </a:r>
            <a:r>
              <a:rPr lang="en-US" sz="1400" dirty="0" err="1"/>
              <a:t>Cardine</a:t>
            </a:r>
            <a:r>
              <a:rPr lang="en-US" sz="1400" dirty="0"/>
              <a:t> Group. West Bank was integrated into the new Group.</a:t>
            </a:r>
          </a:p>
          <a:p>
            <a:pPr marL="465138" lvl="1" indent="-274638" algn="just" eaLnBrk="1" hangingPunct="1">
              <a:spcBef>
                <a:spcPct val="50000"/>
              </a:spcBef>
              <a:buClr>
                <a:srgbClr val="FD6917"/>
              </a:buClr>
              <a:buFont typeface="Wingdings" pitchFamily="124" charset="2"/>
              <a:buChar char="n"/>
            </a:pPr>
            <a:r>
              <a:rPr lang="en-US" sz="1400" dirty="0"/>
              <a:t> 2003: </a:t>
            </a:r>
            <a:r>
              <a:rPr lang="en-US" sz="1400" dirty="0" err="1"/>
              <a:t>Sanpaolo</a:t>
            </a:r>
            <a:r>
              <a:rPr lang="en-US" sz="1400" dirty="0"/>
              <a:t> </a:t>
            </a:r>
            <a:r>
              <a:rPr lang="en-US" sz="1400" dirty="0" err="1"/>
              <a:t>Imi</a:t>
            </a:r>
            <a:r>
              <a:rPr lang="en-US" sz="1400" dirty="0"/>
              <a:t> Group decides to change the name of the bank in SANPAOLO IMI BANK ROMANIA</a:t>
            </a:r>
            <a:endParaRPr lang="en-GB" sz="1400" dirty="0"/>
          </a:p>
        </p:txBody>
      </p:sp>
      <p:sp>
        <p:nvSpPr>
          <p:cNvPr id="11272" name="Rectangle 32"/>
          <p:cNvSpPr>
            <a:spLocks/>
          </p:cNvSpPr>
          <p:nvPr/>
        </p:nvSpPr>
        <p:spPr bwMode="auto">
          <a:xfrm>
            <a:off x="5143504" y="2571744"/>
            <a:ext cx="1785950" cy="3200400"/>
          </a:xfrm>
          <a:prstGeom prst="rect">
            <a:avLst/>
          </a:prstGeom>
          <a:noFill/>
          <a:ln w="9525">
            <a:noFill/>
            <a:miter lim="800000"/>
            <a:headEnd/>
            <a:tailEnd/>
          </a:ln>
        </p:spPr>
        <p:txBody>
          <a:bodyPr/>
          <a:lstStyle/>
          <a:p>
            <a:pPr marL="465138" lvl="1" indent="-274638" eaLnBrk="1" hangingPunct="1">
              <a:spcBef>
                <a:spcPct val="50000"/>
              </a:spcBef>
              <a:buClr>
                <a:srgbClr val="FD6917"/>
              </a:buClr>
              <a:buFont typeface="Wingdings" pitchFamily="124" charset="2"/>
              <a:buChar char="n"/>
            </a:pPr>
            <a:r>
              <a:rPr lang="en-US" sz="1400" dirty="0"/>
              <a:t>2007: INTESA SANPAOLO GROUP – The Italian leader of European scale.</a:t>
            </a:r>
          </a:p>
          <a:p>
            <a:pPr marL="465138" lvl="1" indent="-274638" algn="just" eaLnBrk="1" hangingPunct="1">
              <a:spcBef>
                <a:spcPct val="50000"/>
              </a:spcBef>
              <a:buClr>
                <a:srgbClr val="FD6917"/>
              </a:buClr>
              <a:buFont typeface="Wingdings" pitchFamily="124" charset="2"/>
              <a:buChar char="n"/>
            </a:pPr>
            <a:r>
              <a:rPr lang="en-US" sz="1400" dirty="0"/>
              <a:t> 2008: The Rebranding - the new name of the bank is INTESA SANPAOLO </a:t>
            </a:r>
            <a:r>
              <a:rPr lang="ro-RO" sz="1400" dirty="0"/>
              <a:t>R</a:t>
            </a:r>
            <a:r>
              <a:rPr lang="en-US" sz="1400" dirty="0"/>
              <a:t>OMANIA</a:t>
            </a:r>
            <a:endParaRPr lang="en-GB" sz="1400" dirty="0"/>
          </a:p>
        </p:txBody>
      </p:sp>
      <p:pic>
        <p:nvPicPr>
          <p:cNvPr id="11273" name="Picture 2"/>
          <p:cNvPicPr>
            <a:picLocks noChangeAspect="1" noChangeArrowheads="1"/>
          </p:cNvPicPr>
          <p:nvPr/>
        </p:nvPicPr>
        <p:blipFill>
          <a:blip r:embed="rId7"/>
          <a:srcRect/>
          <a:stretch>
            <a:fillRect/>
          </a:stretch>
        </p:blipFill>
        <p:spPr bwMode="auto">
          <a:xfrm>
            <a:off x="539751" y="1196975"/>
            <a:ext cx="1652420" cy="360363"/>
          </a:xfrm>
          <a:prstGeom prst="rect">
            <a:avLst/>
          </a:prstGeom>
          <a:noFill/>
          <a:ln w="9525">
            <a:noFill/>
            <a:miter lim="800000"/>
            <a:headEnd/>
            <a:tailEnd/>
          </a:ln>
        </p:spPr>
      </p:pic>
      <p:pic>
        <p:nvPicPr>
          <p:cNvPr id="11274" name="Picture 4"/>
          <p:cNvPicPr>
            <a:picLocks noChangeAspect="1" noChangeArrowheads="1"/>
          </p:cNvPicPr>
          <p:nvPr/>
        </p:nvPicPr>
        <p:blipFill>
          <a:blip r:embed="rId8"/>
          <a:srcRect/>
          <a:stretch>
            <a:fillRect/>
          </a:stretch>
        </p:blipFill>
        <p:spPr bwMode="auto">
          <a:xfrm>
            <a:off x="2655875" y="1033457"/>
            <a:ext cx="1987564" cy="509587"/>
          </a:xfrm>
          <a:prstGeom prst="rect">
            <a:avLst/>
          </a:prstGeom>
          <a:noFill/>
          <a:ln w="9525">
            <a:noFill/>
            <a:miter lim="800000"/>
            <a:headEnd/>
            <a:tailEnd/>
          </a:ln>
        </p:spPr>
      </p:pic>
      <p:pic>
        <p:nvPicPr>
          <p:cNvPr id="11275" name="Picture 5"/>
          <p:cNvPicPr>
            <a:picLocks noChangeAspect="1" noChangeArrowheads="1"/>
          </p:cNvPicPr>
          <p:nvPr/>
        </p:nvPicPr>
        <p:blipFill>
          <a:blip r:embed="rId9"/>
          <a:srcRect/>
          <a:stretch>
            <a:fillRect/>
          </a:stretch>
        </p:blipFill>
        <p:spPr bwMode="auto">
          <a:xfrm>
            <a:off x="5286904" y="1104894"/>
            <a:ext cx="1687520" cy="423863"/>
          </a:xfrm>
          <a:prstGeom prst="rect">
            <a:avLst/>
          </a:prstGeom>
          <a:noFill/>
          <a:ln w="9525">
            <a:noFill/>
            <a:miter lim="800000"/>
            <a:headEnd/>
            <a:tailEnd/>
          </a:ln>
        </p:spPr>
      </p:pic>
      <p:sp>
        <p:nvSpPr>
          <p:cNvPr id="11276" name="Slide Number Placeholder 4"/>
          <p:cNvSpPr txBox="1">
            <a:spLocks/>
          </p:cNvSpPr>
          <p:nvPr/>
        </p:nvSpPr>
        <p:spPr bwMode="auto">
          <a:xfrm>
            <a:off x="4191000" y="6310313"/>
            <a:ext cx="762000" cy="457200"/>
          </a:xfrm>
          <a:prstGeom prst="rect">
            <a:avLst/>
          </a:prstGeom>
          <a:noFill/>
          <a:ln w="9525">
            <a:noFill/>
            <a:miter lim="800000"/>
            <a:headEnd/>
            <a:tailEnd/>
          </a:ln>
        </p:spPr>
        <p:txBody>
          <a:bodyPr anchor="ctr"/>
          <a:lstStyle/>
          <a:p>
            <a:pPr algn="ctr"/>
            <a:fld id="{36AB5930-62A8-4373-81C6-7925F3327B7E}" type="slidenum">
              <a:rPr lang="en-GB" sz="1000"/>
              <a:pPr algn="ctr"/>
              <a:t>12</a:t>
            </a:fld>
            <a:endParaRPr lang="en-GB" sz="1000"/>
          </a:p>
        </p:txBody>
      </p:sp>
      <p:sp>
        <p:nvSpPr>
          <p:cNvPr id="13" name="Freeform 7"/>
          <p:cNvSpPr>
            <a:spLocks/>
          </p:cNvSpPr>
          <p:nvPr>
            <p:custDataLst>
              <p:tags r:id="rId4"/>
            </p:custDataLst>
          </p:nvPr>
        </p:nvSpPr>
        <p:spPr bwMode="auto">
          <a:xfrm>
            <a:off x="7287792" y="1595432"/>
            <a:ext cx="1570488" cy="933450"/>
          </a:xfrm>
          <a:custGeom>
            <a:avLst/>
            <a:gdLst>
              <a:gd name="T0" fmla="*/ 0 w 1250"/>
              <a:gd name="T1" fmla="*/ 0 h 576"/>
              <a:gd name="T2" fmla="*/ 2147483647 w 1250"/>
              <a:gd name="T3" fmla="*/ 0 h 576"/>
              <a:gd name="T4" fmla="*/ 2147483647 w 1250"/>
              <a:gd name="T5" fmla="*/ 2147483647 h 576"/>
              <a:gd name="T6" fmla="*/ 2147483647 w 1250"/>
              <a:gd name="T7" fmla="*/ 2147483647 h 576"/>
              <a:gd name="T8" fmla="*/ 0 w 1250"/>
              <a:gd name="T9" fmla="*/ 2147483647 h 576"/>
              <a:gd name="T10" fmla="*/ 2147483647 w 1250"/>
              <a:gd name="T11" fmla="*/ 2147483647 h 576"/>
              <a:gd name="T12" fmla="*/ 0 w 1250"/>
              <a:gd name="T13" fmla="*/ 0 h 576"/>
              <a:gd name="T14" fmla="*/ 0 60000 65536"/>
              <a:gd name="T15" fmla="*/ 0 60000 65536"/>
              <a:gd name="T16" fmla="*/ 0 60000 65536"/>
              <a:gd name="T17" fmla="*/ 0 60000 65536"/>
              <a:gd name="T18" fmla="*/ 0 60000 65536"/>
              <a:gd name="T19" fmla="*/ 0 60000 65536"/>
              <a:gd name="T20" fmla="*/ 0 60000 65536"/>
              <a:gd name="T21" fmla="*/ 0 w 1250"/>
              <a:gd name="T22" fmla="*/ 0 h 576"/>
              <a:gd name="T23" fmla="*/ 1250 w 1250"/>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0" h="576">
                <a:moveTo>
                  <a:pt x="0" y="0"/>
                </a:moveTo>
                <a:lnTo>
                  <a:pt x="1146" y="0"/>
                </a:lnTo>
                <a:lnTo>
                  <a:pt x="1250" y="288"/>
                </a:lnTo>
                <a:lnTo>
                  <a:pt x="1146" y="576"/>
                </a:lnTo>
                <a:lnTo>
                  <a:pt x="0" y="576"/>
                </a:lnTo>
                <a:lnTo>
                  <a:pt x="104" y="288"/>
                </a:lnTo>
                <a:lnTo>
                  <a:pt x="0" y="0"/>
                </a:lnTo>
                <a:close/>
              </a:path>
            </a:pathLst>
          </a:custGeom>
          <a:solidFill>
            <a:srgbClr val="FD6917"/>
          </a:solidFill>
          <a:ln w="9525">
            <a:noFill/>
            <a:miter lim="800000"/>
            <a:headEnd/>
            <a:tailEnd/>
          </a:ln>
        </p:spPr>
        <p:txBody>
          <a:bodyPr wrap="none" anchor="ctr"/>
          <a:lstStyle/>
          <a:p>
            <a:pPr algn="ctr"/>
            <a:r>
              <a:rPr lang="en-US" b="1" dirty="0" smtClean="0">
                <a:solidFill>
                  <a:schemeClr val="bg1"/>
                </a:solidFill>
              </a:rPr>
              <a:t>2012</a:t>
            </a:r>
            <a:endParaRPr lang="en-US" b="1" dirty="0">
              <a:solidFill>
                <a:schemeClr val="bg1"/>
              </a:solidFill>
            </a:endParaRPr>
          </a:p>
        </p:txBody>
      </p:sp>
      <p:sp>
        <p:nvSpPr>
          <p:cNvPr id="14" name="Rectangle 32"/>
          <p:cNvSpPr>
            <a:spLocks/>
          </p:cNvSpPr>
          <p:nvPr/>
        </p:nvSpPr>
        <p:spPr bwMode="auto">
          <a:xfrm>
            <a:off x="7143768" y="2571744"/>
            <a:ext cx="1785950" cy="3200400"/>
          </a:xfrm>
          <a:prstGeom prst="rect">
            <a:avLst/>
          </a:prstGeom>
          <a:noFill/>
          <a:ln w="9525">
            <a:noFill/>
            <a:miter lim="800000"/>
            <a:headEnd/>
            <a:tailEnd/>
          </a:ln>
        </p:spPr>
        <p:txBody>
          <a:bodyPr/>
          <a:lstStyle/>
          <a:p>
            <a:pPr marL="465138" lvl="1" indent="-274638" eaLnBrk="1" hangingPunct="1">
              <a:spcBef>
                <a:spcPct val="50000"/>
              </a:spcBef>
              <a:buClr>
                <a:srgbClr val="FD6917"/>
              </a:buClr>
              <a:buFont typeface="Wingdings" pitchFamily="124" charset="2"/>
              <a:buChar char="n"/>
            </a:pPr>
            <a:r>
              <a:rPr lang="en-GB" sz="1400" dirty="0" smtClean="0"/>
              <a:t>2012 Merger with </a:t>
            </a:r>
            <a:r>
              <a:rPr lang="en-GB" sz="1400" dirty="0" err="1" smtClean="0"/>
              <a:t>Cassa</a:t>
            </a:r>
            <a:r>
              <a:rPr lang="en-GB" sz="1400" dirty="0" smtClean="0"/>
              <a:t> </a:t>
            </a:r>
            <a:r>
              <a:rPr lang="en-GB" sz="1400" dirty="0" err="1" smtClean="0"/>
              <a:t>di</a:t>
            </a:r>
            <a:r>
              <a:rPr lang="en-GB" sz="1400" dirty="0" smtClean="0"/>
              <a:t> </a:t>
            </a:r>
            <a:r>
              <a:rPr lang="en-GB" sz="1400" dirty="0" err="1" smtClean="0"/>
              <a:t>Risparmio</a:t>
            </a:r>
            <a:r>
              <a:rPr lang="en-GB" sz="1400" dirty="0" smtClean="0"/>
              <a:t> </a:t>
            </a:r>
            <a:r>
              <a:rPr lang="en-GB" sz="1400" dirty="0" err="1" smtClean="0"/>
              <a:t>di</a:t>
            </a:r>
            <a:r>
              <a:rPr lang="en-GB" sz="1400" dirty="0" smtClean="0"/>
              <a:t> Firenze Romania </a:t>
            </a:r>
            <a:endParaRPr lang="en-GB" sz="1400" dirty="0"/>
          </a:p>
        </p:txBody>
      </p:sp>
      <p:pic>
        <p:nvPicPr>
          <p:cNvPr id="15" name="Picture 5"/>
          <p:cNvPicPr>
            <a:picLocks noChangeAspect="1" noChangeArrowheads="1"/>
          </p:cNvPicPr>
          <p:nvPr/>
        </p:nvPicPr>
        <p:blipFill>
          <a:blip r:embed="rId9"/>
          <a:srcRect/>
          <a:stretch>
            <a:fillRect/>
          </a:stretch>
        </p:blipFill>
        <p:spPr bwMode="auto">
          <a:xfrm>
            <a:off x="7287168" y="1104894"/>
            <a:ext cx="1687520" cy="4238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39"/>
          <p:cNvSpPr>
            <a:spLocks noGrp="1"/>
          </p:cNvSpPr>
          <p:nvPr>
            <p:ph type="title"/>
          </p:nvPr>
        </p:nvSpPr>
        <p:spPr>
          <a:xfrm>
            <a:off x="200025" y="122238"/>
            <a:ext cx="8755063" cy="714375"/>
          </a:xfrm>
        </p:spPr>
        <p:txBody>
          <a:bodyPr/>
          <a:lstStyle/>
          <a:p>
            <a:pPr eaLnBrk="1" hangingPunct="1"/>
            <a:r>
              <a:rPr lang="en-GB" smtClean="0"/>
              <a:t>Intesa Sanpaolo Romania coverage </a:t>
            </a:r>
          </a:p>
        </p:txBody>
      </p:sp>
      <p:sp>
        <p:nvSpPr>
          <p:cNvPr id="12292" name="Rectangle 41"/>
          <p:cNvSpPr>
            <a:spLocks/>
          </p:cNvSpPr>
          <p:nvPr/>
        </p:nvSpPr>
        <p:spPr bwMode="auto">
          <a:xfrm>
            <a:off x="5500688" y="1071563"/>
            <a:ext cx="3606800" cy="2500312"/>
          </a:xfrm>
          <a:prstGeom prst="rect">
            <a:avLst/>
          </a:prstGeom>
          <a:noFill/>
          <a:ln w="9525">
            <a:noFill/>
            <a:miter lim="800000"/>
            <a:headEnd/>
            <a:tailEnd/>
          </a:ln>
        </p:spPr>
        <p:txBody>
          <a:bodyPr/>
          <a:lstStyle/>
          <a:p>
            <a:pPr marL="503238" lvl="1" indent="-274638" eaLnBrk="1" hangingPunct="1">
              <a:spcBef>
                <a:spcPct val="50000"/>
              </a:spcBef>
              <a:buClr>
                <a:srgbClr val="FD6917"/>
              </a:buClr>
              <a:buFont typeface="Wingdings" pitchFamily="124" charset="2"/>
              <a:buChar char="n"/>
            </a:pPr>
            <a:r>
              <a:rPr lang="en-US" sz="1400" dirty="0"/>
              <a:t>The bank is present in most of the regions of the county covering with it’s network of branches the entire financial range of products needed by both corporate and retail customers.</a:t>
            </a:r>
            <a:endParaRPr lang="en-GB" sz="1400" dirty="0"/>
          </a:p>
          <a:p>
            <a:pPr marL="503238" lvl="1" indent="-274638" eaLnBrk="1" hangingPunct="1">
              <a:spcBef>
                <a:spcPct val="50000"/>
              </a:spcBef>
              <a:buClr>
                <a:srgbClr val="FD6917"/>
              </a:buClr>
              <a:buFont typeface="Wingdings" pitchFamily="124" charset="2"/>
              <a:buChar char="n"/>
            </a:pPr>
            <a:r>
              <a:rPr lang="en-GB" sz="1400" dirty="0"/>
              <a:t>Total branches: </a:t>
            </a:r>
            <a:r>
              <a:rPr lang="en-GB" sz="1400" dirty="0" smtClean="0"/>
              <a:t>51</a:t>
            </a:r>
            <a:endParaRPr lang="en-GB" sz="1400" dirty="0"/>
          </a:p>
          <a:p>
            <a:pPr marL="503238" lvl="1" indent="-274638" eaLnBrk="1" hangingPunct="1">
              <a:spcBef>
                <a:spcPct val="50000"/>
              </a:spcBef>
              <a:buClr>
                <a:srgbClr val="FD6917"/>
              </a:buClr>
              <a:buFont typeface="Wingdings" pitchFamily="124" charset="2"/>
              <a:buChar char="n"/>
            </a:pPr>
            <a:r>
              <a:rPr lang="en-GB" sz="1400" dirty="0"/>
              <a:t>Total agencies:  36</a:t>
            </a:r>
          </a:p>
        </p:txBody>
      </p:sp>
      <p:sp>
        <p:nvSpPr>
          <p:cNvPr id="12293" name="Freeform 23"/>
          <p:cNvSpPr>
            <a:spLocks/>
          </p:cNvSpPr>
          <p:nvPr/>
        </p:nvSpPr>
        <p:spPr bwMode="auto">
          <a:xfrm>
            <a:off x="395288" y="2998788"/>
            <a:ext cx="1471612" cy="1023937"/>
          </a:xfrm>
          <a:custGeom>
            <a:avLst/>
            <a:gdLst>
              <a:gd name="T0" fmla="*/ 2147483647 w 1144"/>
              <a:gd name="T1" fmla="*/ 2147483647 h 742"/>
              <a:gd name="T2" fmla="*/ 2147483647 w 1144"/>
              <a:gd name="T3" fmla="*/ 2147483647 h 742"/>
              <a:gd name="T4" fmla="*/ 2147483647 w 1144"/>
              <a:gd name="T5" fmla="*/ 2147483647 h 742"/>
              <a:gd name="T6" fmla="*/ 2147483647 w 1144"/>
              <a:gd name="T7" fmla="*/ 2147483647 h 742"/>
              <a:gd name="T8" fmla="*/ 2147483647 w 1144"/>
              <a:gd name="T9" fmla="*/ 2147483647 h 742"/>
              <a:gd name="T10" fmla="*/ 2147483647 w 1144"/>
              <a:gd name="T11" fmla="*/ 2147483647 h 742"/>
              <a:gd name="T12" fmla="*/ 2147483647 w 1144"/>
              <a:gd name="T13" fmla="*/ 2147483647 h 742"/>
              <a:gd name="T14" fmla="*/ 2147483647 w 1144"/>
              <a:gd name="T15" fmla="*/ 2147483647 h 742"/>
              <a:gd name="T16" fmla="*/ 2147483647 w 1144"/>
              <a:gd name="T17" fmla="*/ 2147483647 h 742"/>
              <a:gd name="T18" fmla="*/ 2147483647 w 1144"/>
              <a:gd name="T19" fmla="*/ 2147483647 h 742"/>
              <a:gd name="T20" fmla="*/ 2147483647 w 1144"/>
              <a:gd name="T21" fmla="*/ 2147483647 h 742"/>
              <a:gd name="T22" fmla="*/ 2147483647 w 1144"/>
              <a:gd name="T23" fmla="*/ 2147483647 h 742"/>
              <a:gd name="T24" fmla="*/ 2147483647 w 1144"/>
              <a:gd name="T25" fmla="*/ 2147483647 h 742"/>
              <a:gd name="T26" fmla="*/ 2147483647 w 1144"/>
              <a:gd name="T27" fmla="*/ 2147483647 h 742"/>
              <a:gd name="T28" fmla="*/ 2147483647 w 1144"/>
              <a:gd name="T29" fmla="*/ 2147483647 h 742"/>
              <a:gd name="T30" fmla="*/ 2147483647 w 1144"/>
              <a:gd name="T31" fmla="*/ 0 h 742"/>
              <a:gd name="T32" fmla="*/ 2147483647 w 1144"/>
              <a:gd name="T33" fmla="*/ 2147483647 h 742"/>
              <a:gd name="T34" fmla="*/ 2147483647 w 1144"/>
              <a:gd name="T35" fmla="*/ 2147483647 h 742"/>
              <a:gd name="T36" fmla="*/ 2147483647 w 1144"/>
              <a:gd name="T37" fmla="*/ 2147483647 h 742"/>
              <a:gd name="T38" fmla="*/ 2147483647 w 1144"/>
              <a:gd name="T39" fmla="*/ 2147483647 h 742"/>
              <a:gd name="T40" fmla="*/ 2147483647 w 1144"/>
              <a:gd name="T41" fmla="*/ 2147483647 h 742"/>
              <a:gd name="T42" fmla="*/ 2147483647 w 1144"/>
              <a:gd name="T43" fmla="*/ 2147483647 h 742"/>
              <a:gd name="T44" fmla="*/ 2147483647 w 1144"/>
              <a:gd name="T45" fmla="*/ 2147483647 h 742"/>
              <a:gd name="T46" fmla="*/ 2147483647 w 1144"/>
              <a:gd name="T47" fmla="*/ 2147483647 h 742"/>
              <a:gd name="T48" fmla="*/ 2147483647 w 1144"/>
              <a:gd name="T49" fmla="*/ 2147483647 h 742"/>
              <a:gd name="T50" fmla="*/ 2147483647 w 1144"/>
              <a:gd name="T51" fmla="*/ 2147483647 h 742"/>
              <a:gd name="T52" fmla="*/ 2147483647 w 1144"/>
              <a:gd name="T53" fmla="*/ 2147483647 h 742"/>
              <a:gd name="T54" fmla="*/ 2147483647 w 1144"/>
              <a:gd name="T55" fmla="*/ 2147483647 h 742"/>
              <a:gd name="T56" fmla="*/ 2147483647 w 1144"/>
              <a:gd name="T57" fmla="*/ 2147483647 h 742"/>
              <a:gd name="T58" fmla="*/ 2147483647 w 1144"/>
              <a:gd name="T59" fmla="*/ 2147483647 h 742"/>
              <a:gd name="T60" fmla="*/ 2147483647 w 1144"/>
              <a:gd name="T61" fmla="*/ 2147483647 h 742"/>
              <a:gd name="T62" fmla="*/ 2147483647 w 1144"/>
              <a:gd name="T63" fmla="*/ 2147483647 h 742"/>
              <a:gd name="T64" fmla="*/ 2147483647 w 1144"/>
              <a:gd name="T65" fmla="*/ 2147483647 h 742"/>
              <a:gd name="T66" fmla="*/ 2147483647 w 1144"/>
              <a:gd name="T67" fmla="*/ 2147483647 h 742"/>
              <a:gd name="T68" fmla="*/ 2147483647 w 1144"/>
              <a:gd name="T69" fmla="*/ 2147483647 h 742"/>
              <a:gd name="T70" fmla="*/ 2147483647 w 1144"/>
              <a:gd name="T71" fmla="*/ 2147483647 h 742"/>
              <a:gd name="T72" fmla="*/ 2147483647 w 1144"/>
              <a:gd name="T73" fmla="*/ 2147483647 h 742"/>
              <a:gd name="T74" fmla="*/ 2147483647 w 1144"/>
              <a:gd name="T75" fmla="*/ 2147483647 h 742"/>
              <a:gd name="T76" fmla="*/ 2147483647 w 1144"/>
              <a:gd name="T77" fmla="*/ 2147483647 h 742"/>
              <a:gd name="T78" fmla="*/ 2147483647 w 1144"/>
              <a:gd name="T79" fmla="*/ 2147483647 h 742"/>
              <a:gd name="T80" fmla="*/ 2147483647 w 1144"/>
              <a:gd name="T81" fmla="*/ 2147483647 h 742"/>
              <a:gd name="T82" fmla="*/ 2147483647 w 1144"/>
              <a:gd name="T83" fmla="*/ 2147483647 h 742"/>
              <a:gd name="T84" fmla="*/ 2147483647 w 1144"/>
              <a:gd name="T85" fmla="*/ 2147483647 h 742"/>
              <a:gd name="T86" fmla="*/ 2147483647 w 1144"/>
              <a:gd name="T87" fmla="*/ 2147483647 h 742"/>
              <a:gd name="T88" fmla="*/ 2147483647 w 1144"/>
              <a:gd name="T89" fmla="*/ 2147483647 h 742"/>
              <a:gd name="T90" fmla="*/ 2147483647 w 1144"/>
              <a:gd name="T91" fmla="*/ 2147483647 h 742"/>
              <a:gd name="T92" fmla="*/ 2147483647 w 1144"/>
              <a:gd name="T93" fmla="*/ 2147483647 h 742"/>
              <a:gd name="T94" fmla="*/ 2147483647 w 1144"/>
              <a:gd name="T95" fmla="*/ 2147483647 h 742"/>
              <a:gd name="T96" fmla="*/ 2147483647 w 1144"/>
              <a:gd name="T97" fmla="*/ 2147483647 h 742"/>
              <a:gd name="T98" fmla="*/ 2147483647 w 1144"/>
              <a:gd name="T99" fmla="*/ 2147483647 h 742"/>
              <a:gd name="T100" fmla="*/ 2147483647 w 1144"/>
              <a:gd name="T101" fmla="*/ 2147483647 h 742"/>
              <a:gd name="T102" fmla="*/ 2147483647 w 1144"/>
              <a:gd name="T103" fmla="*/ 2147483647 h 742"/>
              <a:gd name="T104" fmla="*/ 2147483647 w 1144"/>
              <a:gd name="T105" fmla="*/ 2147483647 h 7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44"/>
              <a:gd name="T160" fmla="*/ 0 h 742"/>
              <a:gd name="T161" fmla="*/ 1144 w 1144"/>
              <a:gd name="T162" fmla="*/ 742 h 7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44" h="742">
                <a:moveTo>
                  <a:pt x="567" y="736"/>
                </a:moveTo>
                <a:lnTo>
                  <a:pt x="542" y="727"/>
                </a:lnTo>
                <a:lnTo>
                  <a:pt x="517" y="723"/>
                </a:lnTo>
                <a:lnTo>
                  <a:pt x="488" y="713"/>
                </a:lnTo>
                <a:lnTo>
                  <a:pt x="462" y="702"/>
                </a:lnTo>
                <a:lnTo>
                  <a:pt x="447" y="693"/>
                </a:lnTo>
                <a:lnTo>
                  <a:pt x="438" y="683"/>
                </a:lnTo>
                <a:lnTo>
                  <a:pt x="427" y="670"/>
                </a:lnTo>
                <a:lnTo>
                  <a:pt x="412" y="649"/>
                </a:lnTo>
                <a:lnTo>
                  <a:pt x="408" y="645"/>
                </a:lnTo>
                <a:lnTo>
                  <a:pt x="403" y="649"/>
                </a:lnTo>
                <a:lnTo>
                  <a:pt x="393" y="664"/>
                </a:lnTo>
                <a:lnTo>
                  <a:pt x="383" y="664"/>
                </a:lnTo>
                <a:lnTo>
                  <a:pt x="373" y="660"/>
                </a:lnTo>
                <a:lnTo>
                  <a:pt x="353" y="645"/>
                </a:lnTo>
                <a:lnTo>
                  <a:pt x="329" y="615"/>
                </a:lnTo>
                <a:lnTo>
                  <a:pt x="309" y="602"/>
                </a:lnTo>
                <a:lnTo>
                  <a:pt x="299" y="587"/>
                </a:lnTo>
                <a:lnTo>
                  <a:pt x="274" y="558"/>
                </a:lnTo>
                <a:lnTo>
                  <a:pt x="253" y="528"/>
                </a:lnTo>
                <a:lnTo>
                  <a:pt x="229" y="505"/>
                </a:lnTo>
                <a:lnTo>
                  <a:pt x="249" y="494"/>
                </a:lnTo>
                <a:lnTo>
                  <a:pt x="259" y="485"/>
                </a:lnTo>
                <a:lnTo>
                  <a:pt x="259" y="475"/>
                </a:lnTo>
                <a:lnTo>
                  <a:pt x="253" y="466"/>
                </a:lnTo>
                <a:lnTo>
                  <a:pt x="244" y="451"/>
                </a:lnTo>
                <a:lnTo>
                  <a:pt x="229" y="437"/>
                </a:lnTo>
                <a:lnTo>
                  <a:pt x="224" y="426"/>
                </a:lnTo>
                <a:lnTo>
                  <a:pt x="234" y="412"/>
                </a:lnTo>
                <a:lnTo>
                  <a:pt x="244" y="398"/>
                </a:lnTo>
                <a:lnTo>
                  <a:pt x="249" y="388"/>
                </a:lnTo>
                <a:lnTo>
                  <a:pt x="253" y="373"/>
                </a:lnTo>
                <a:lnTo>
                  <a:pt x="259" y="349"/>
                </a:lnTo>
                <a:lnTo>
                  <a:pt x="259" y="320"/>
                </a:lnTo>
                <a:lnTo>
                  <a:pt x="253" y="296"/>
                </a:lnTo>
                <a:lnTo>
                  <a:pt x="244" y="291"/>
                </a:lnTo>
                <a:lnTo>
                  <a:pt x="234" y="286"/>
                </a:lnTo>
                <a:lnTo>
                  <a:pt x="229" y="291"/>
                </a:lnTo>
                <a:lnTo>
                  <a:pt x="224" y="296"/>
                </a:lnTo>
                <a:lnTo>
                  <a:pt x="219" y="316"/>
                </a:lnTo>
                <a:lnTo>
                  <a:pt x="219" y="324"/>
                </a:lnTo>
                <a:lnTo>
                  <a:pt x="214" y="330"/>
                </a:lnTo>
                <a:lnTo>
                  <a:pt x="205" y="324"/>
                </a:lnTo>
                <a:lnTo>
                  <a:pt x="189" y="316"/>
                </a:lnTo>
                <a:lnTo>
                  <a:pt x="189" y="305"/>
                </a:lnTo>
                <a:lnTo>
                  <a:pt x="189" y="301"/>
                </a:lnTo>
                <a:lnTo>
                  <a:pt x="189" y="291"/>
                </a:lnTo>
                <a:lnTo>
                  <a:pt x="184" y="286"/>
                </a:lnTo>
                <a:lnTo>
                  <a:pt x="184" y="271"/>
                </a:lnTo>
                <a:lnTo>
                  <a:pt x="179" y="262"/>
                </a:lnTo>
                <a:lnTo>
                  <a:pt x="179" y="252"/>
                </a:lnTo>
                <a:lnTo>
                  <a:pt x="174" y="248"/>
                </a:lnTo>
                <a:lnTo>
                  <a:pt x="170" y="237"/>
                </a:lnTo>
                <a:lnTo>
                  <a:pt x="164" y="228"/>
                </a:lnTo>
                <a:lnTo>
                  <a:pt x="159" y="223"/>
                </a:lnTo>
                <a:lnTo>
                  <a:pt x="155" y="209"/>
                </a:lnTo>
                <a:lnTo>
                  <a:pt x="149" y="203"/>
                </a:lnTo>
                <a:lnTo>
                  <a:pt x="135" y="199"/>
                </a:lnTo>
                <a:lnTo>
                  <a:pt x="120" y="199"/>
                </a:lnTo>
                <a:lnTo>
                  <a:pt x="109" y="189"/>
                </a:lnTo>
                <a:lnTo>
                  <a:pt x="90" y="175"/>
                </a:lnTo>
                <a:lnTo>
                  <a:pt x="65" y="155"/>
                </a:lnTo>
                <a:lnTo>
                  <a:pt x="40" y="136"/>
                </a:lnTo>
                <a:lnTo>
                  <a:pt x="35" y="122"/>
                </a:lnTo>
                <a:lnTo>
                  <a:pt x="30" y="107"/>
                </a:lnTo>
                <a:lnTo>
                  <a:pt x="25" y="88"/>
                </a:lnTo>
                <a:lnTo>
                  <a:pt x="15" y="73"/>
                </a:lnTo>
                <a:lnTo>
                  <a:pt x="5" y="59"/>
                </a:lnTo>
                <a:lnTo>
                  <a:pt x="0" y="44"/>
                </a:lnTo>
                <a:lnTo>
                  <a:pt x="5" y="29"/>
                </a:lnTo>
                <a:lnTo>
                  <a:pt x="15" y="20"/>
                </a:lnTo>
                <a:lnTo>
                  <a:pt x="30" y="10"/>
                </a:lnTo>
                <a:lnTo>
                  <a:pt x="40" y="10"/>
                </a:lnTo>
                <a:lnTo>
                  <a:pt x="46" y="15"/>
                </a:lnTo>
                <a:lnTo>
                  <a:pt x="55" y="20"/>
                </a:lnTo>
                <a:lnTo>
                  <a:pt x="70" y="25"/>
                </a:lnTo>
                <a:lnTo>
                  <a:pt x="74" y="29"/>
                </a:lnTo>
                <a:lnTo>
                  <a:pt x="100" y="29"/>
                </a:lnTo>
                <a:lnTo>
                  <a:pt x="109" y="15"/>
                </a:lnTo>
                <a:lnTo>
                  <a:pt x="115" y="0"/>
                </a:lnTo>
                <a:lnTo>
                  <a:pt x="140" y="5"/>
                </a:lnTo>
                <a:lnTo>
                  <a:pt x="155" y="20"/>
                </a:lnTo>
                <a:lnTo>
                  <a:pt x="164" y="34"/>
                </a:lnTo>
                <a:lnTo>
                  <a:pt x="179" y="49"/>
                </a:lnTo>
                <a:lnTo>
                  <a:pt x="189" y="44"/>
                </a:lnTo>
                <a:lnTo>
                  <a:pt x="194" y="39"/>
                </a:lnTo>
                <a:lnTo>
                  <a:pt x="199" y="29"/>
                </a:lnTo>
                <a:lnTo>
                  <a:pt x="205" y="34"/>
                </a:lnTo>
                <a:lnTo>
                  <a:pt x="224" y="39"/>
                </a:lnTo>
                <a:lnTo>
                  <a:pt x="244" y="44"/>
                </a:lnTo>
                <a:lnTo>
                  <a:pt x="259" y="49"/>
                </a:lnTo>
                <a:lnTo>
                  <a:pt x="264" y="59"/>
                </a:lnTo>
                <a:lnTo>
                  <a:pt x="264" y="68"/>
                </a:lnTo>
                <a:lnTo>
                  <a:pt x="268" y="78"/>
                </a:lnTo>
                <a:lnTo>
                  <a:pt x="274" y="82"/>
                </a:lnTo>
                <a:lnTo>
                  <a:pt x="299" y="88"/>
                </a:lnTo>
                <a:lnTo>
                  <a:pt x="309" y="88"/>
                </a:lnTo>
                <a:lnTo>
                  <a:pt x="314" y="93"/>
                </a:lnTo>
                <a:lnTo>
                  <a:pt x="323" y="102"/>
                </a:lnTo>
                <a:lnTo>
                  <a:pt x="338" y="112"/>
                </a:lnTo>
                <a:lnTo>
                  <a:pt x="368" y="116"/>
                </a:lnTo>
                <a:lnTo>
                  <a:pt x="383" y="122"/>
                </a:lnTo>
                <a:lnTo>
                  <a:pt x="388" y="131"/>
                </a:lnTo>
                <a:lnTo>
                  <a:pt x="403" y="146"/>
                </a:lnTo>
                <a:lnTo>
                  <a:pt x="418" y="146"/>
                </a:lnTo>
                <a:lnTo>
                  <a:pt x="438" y="146"/>
                </a:lnTo>
                <a:lnTo>
                  <a:pt x="453" y="141"/>
                </a:lnTo>
                <a:lnTo>
                  <a:pt x="462" y="146"/>
                </a:lnTo>
                <a:lnTo>
                  <a:pt x="468" y="150"/>
                </a:lnTo>
                <a:lnTo>
                  <a:pt x="473" y="161"/>
                </a:lnTo>
                <a:lnTo>
                  <a:pt x="478" y="161"/>
                </a:lnTo>
                <a:lnTo>
                  <a:pt x="488" y="155"/>
                </a:lnTo>
                <a:lnTo>
                  <a:pt x="492" y="146"/>
                </a:lnTo>
                <a:lnTo>
                  <a:pt x="503" y="141"/>
                </a:lnTo>
                <a:lnTo>
                  <a:pt x="508" y="146"/>
                </a:lnTo>
                <a:lnTo>
                  <a:pt x="517" y="155"/>
                </a:lnTo>
                <a:lnTo>
                  <a:pt x="527" y="161"/>
                </a:lnTo>
                <a:lnTo>
                  <a:pt x="538" y="155"/>
                </a:lnTo>
                <a:lnTo>
                  <a:pt x="542" y="155"/>
                </a:lnTo>
                <a:lnTo>
                  <a:pt x="547" y="150"/>
                </a:lnTo>
                <a:lnTo>
                  <a:pt x="558" y="141"/>
                </a:lnTo>
                <a:lnTo>
                  <a:pt x="572" y="131"/>
                </a:lnTo>
                <a:lnTo>
                  <a:pt x="586" y="122"/>
                </a:lnTo>
                <a:lnTo>
                  <a:pt x="597" y="116"/>
                </a:lnTo>
                <a:lnTo>
                  <a:pt x="612" y="112"/>
                </a:lnTo>
                <a:lnTo>
                  <a:pt x="621" y="116"/>
                </a:lnTo>
                <a:lnTo>
                  <a:pt x="627" y="131"/>
                </a:lnTo>
                <a:lnTo>
                  <a:pt x="632" y="150"/>
                </a:lnTo>
                <a:lnTo>
                  <a:pt x="636" y="155"/>
                </a:lnTo>
                <a:lnTo>
                  <a:pt x="641" y="161"/>
                </a:lnTo>
                <a:lnTo>
                  <a:pt x="652" y="161"/>
                </a:lnTo>
                <a:lnTo>
                  <a:pt x="662" y="165"/>
                </a:lnTo>
                <a:lnTo>
                  <a:pt x="671" y="175"/>
                </a:lnTo>
                <a:lnTo>
                  <a:pt x="676" y="189"/>
                </a:lnTo>
                <a:lnTo>
                  <a:pt x="682" y="199"/>
                </a:lnTo>
                <a:lnTo>
                  <a:pt x="686" y="203"/>
                </a:lnTo>
                <a:lnTo>
                  <a:pt x="697" y="209"/>
                </a:lnTo>
                <a:lnTo>
                  <a:pt x="701" y="209"/>
                </a:lnTo>
                <a:lnTo>
                  <a:pt x="706" y="209"/>
                </a:lnTo>
                <a:lnTo>
                  <a:pt x="711" y="203"/>
                </a:lnTo>
                <a:lnTo>
                  <a:pt x="716" y="194"/>
                </a:lnTo>
                <a:lnTo>
                  <a:pt x="726" y="189"/>
                </a:lnTo>
                <a:lnTo>
                  <a:pt x="736" y="194"/>
                </a:lnTo>
                <a:lnTo>
                  <a:pt x="756" y="209"/>
                </a:lnTo>
                <a:lnTo>
                  <a:pt x="761" y="214"/>
                </a:lnTo>
                <a:lnTo>
                  <a:pt x="761" y="209"/>
                </a:lnTo>
                <a:lnTo>
                  <a:pt x="767" y="199"/>
                </a:lnTo>
                <a:lnTo>
                  <a:pt x="776" y="199"/>
                </a:lnTo>
                <a:lnTo>
                  <a:pt x="781" y="199"/>
                </a:lnTo>
                <a:lnTo>
                  <a:pt x="786" y="199"/>
                </a:lnTo>
                <a:lnTo>
                  <a:pt x="791" y="203"/>
                </a:lnTo>
                <a:lnTo>
                  <a:pt x="806" y="209"/>
                </a:lnTo>
                <a:lnTo>
                  <a:pt x="821" y="209"/>
                </a:lnTo>
                <a:lnTo>
                  <a:pt x="830" y="199"/>
                </a:lnTo>
                <a:lnTo>
                  <a:pt x="841" y="184"/>
                </a:lnTo>
                <a:lnTo>
                  <a:pt x="850" y="180"/>
                </a:lnTo>
                <a:lnTo>
                  <a:pt x="861" y="180"/>
                </a:lnTo>
                <a:lnTo>
                  <a:pt x="870" y="184"/>
                </a:lnTo>
                <a:lnTo>
                  <a:pt x="876" y="194"/>
                </a:lnTo>
                <a:lnTo>
                  <a:pt x="880" y="199"/>
                </a:lnTo>
                <a:lnTo>
                  <a:pt x="885" y="199"/>
                </a:lnTo>
                <a:lnTo>
                  <a:pt x="895" y="203"/>
                </a:lnTo>
                <a:lnTo>
                  <a:pt x="910" y="209"/>
                </a:lnTo>
                <a:lnTo>
                  <a:pt x="930" y="223"/>
                </a:lnTo>
                <a:lnTo>
                  <a:pt x="950" y="233"/>
                </a:lnTo>
                <a:lnTo>
                  <a:pt x="960" y="237"/>
                </a:lnTo>
                <a:lnTo>
                  <a:pt x="980" y="248"/>
                </a:lnTo>
                <a:lnTo>
                  <a:pt x="989" y="248"/>
                </a:lnTo>
                <a:lnTo>
                  <a:pt x="995" y="243"/>
                </a:lnTo>
                <a:lnTo>
                  <a:pt x="1000" y="233"/>
                </a:lnTo>
                <a:lnTo>
                  <a:pt x="1009" y="228"/>
                </a:lnTo>
                <a:lnTo>
                  <a:pt x="1035" y="223"/>
                </a:lnTo>
                <a:lnTo>
                  <a:pt x="1044" y="218"/>
                </a:lnTo>
                <a:lnTo>
                  <a:pt x="1050" y="214"/>
                </a:lnTo>
                <a:lnTo>
                  <a:pt x="1050" y="209"/>
                </a:lnTo>
                <a:lnTo>
                  <a:pt x="1050" y="203"/>
                </a:lnTo>
                <a:lnTo>
                  <a:pt x="1059" y="203"/>
                </a:lnTo>
                <a:lnTo>
                  <a:pt x="1074" y="214"/>
                </a:lnTo>
                <a:lnTo>
                  <a:pt x="1089" y="218"/>
                </a:lnTo>
                <a:lnTo>
                  <a:pt x="1089" y="228"/>
                </a:lnTo>
                <a:lnTo>
                  <a:pt x="1085" y="233"/>
                </a:lnTo>
                <a:lnTo>
                  <a:pt x="1079" y="248"/>
                </a:lnTo>
                <a:lnTo>
                  <a:pt x="1074" y="257"/>
                </a:lnTo>
                <a:lnTo>
                  <a:pt x="1079" y="277"/>
                </a:lnTo>
                <a:lnTo>
                  <a:pt x="1085" y="286"/>
                </a:lnTo>
                <a:lnTo>
                  <a:pt x="1098" y="291"/>
                </a:lnTo>
                <a:lnTo>
                  <a:pt x="1109" y="301"/>
                </a:lnTo>
                <a:lnTo>
                  <a:pt x="1113" y="311"/>
                </a:lnTo>
                <a:lnTo>
                  <a:pt x="1119" y="324"/>
                </a:lnTo>
                <a:lnTo>
                  <a:pt x="1133" y="330"/>
                </a:lnTo>
                <a:lnTo>
                  <a:pt x="1144" y="330"/>
                </a:lnTo>
                <a:lnTo>
                  <a:pt x="1144" y="339"/>
                </a:lnTo>
                <a:lnTo>
                  <a:pt x="1144" y="354"/>
                </a:lnTo>
                <a:lnTo>
                  <a:pt x="1133" y="358"/>
                </a:lnTo>
                <a:lnTo>
                  <a:pt x="1124" y="364"/>
                </a:lnTo>
                <a:lnTo>
                  <a:pt x="1119" y="369"/>
                </a:lnTo>
                <a:lnTo>
                  <a:pt x="1109" y="379"/>
                </a:lnTo>
                <a:lnTo>
                  <a:pt x="1098" y="388"/>
                </a:lnTo>
                <a:lnTo>
                  <a:pt x="1085" y="398"/>
                </a:lnTo>
                <a:lnTo>
                  <a:pt x="1079" y="412"/>
                </a:lnTo>
                <a:lnTo>
                  <a:pt x="1079" y="417"/>
                </a:lnTo>
                <a:lnTo>
                  <a:pt x="1079" y="422"/>
                </a:lnTo>
                <a:lnTo>
                  <a:pt x="1070" y="422"/>
                </a:lnTo>
                <a:lnTo>
                  <a:pt x="1059" y="422"/>
                </a:lnTo>
                <a:lnTo>
                  <a:pt x="1050" y="432"/>
                </a:lnTo>
                <a:lnTo>
                  <a:pt x="1035" y="437"/>
                </a:lnTo>
                <a:lnTo>
                  <a:pt x="1019" y="437"/>
                </a:lnTo>
                <a:lnTo>
                  <a:pt x="1015" y="445"/>
                </a:lnTo>
                <a:lnTo>
                  <a:pt x="1015" y="456"/>
                </a:lnTo>
                <a:lnTo>
                  <a:pt x="1004" y="466"/>
                </a:lnTo>
                <a:lnTo>
                  <a:pt x="995" y="466"/>
                </a:lnTo>
                <a:lnTo>
                  <a:pt x="980" y="460"/>
                </a:lnTo>
                <a:lnTo>
                  <a:pt x="965" y="456"/>
                </a:lnTo>
                <a:lnTo>
                  <a:pt x="950" y="456"/>
                </a:lnTo>
                <a:lnTo>
                  <a:pt x="920" y="466"/>
                </a:lnTo>
                <a:lnTo>
                  <a:pt x="895" y="471"/>
                </a:lnTo>
                <a:lnTo>
                  <a:pt x="891" y="475"/>
                </a:lnTo>
                <a:lnTo>
                  <a:pt x="885" y="485"/>
                </a:lnTo>
                <a:lnTo>
                  <a:pt x="891" y="485"/>
                </a:lnTo>
                <a:lnTo>
                  <a:pt x="900" y="490"/>
                </a:lnTo>
                <a:lnTo>
                  <a:pt x="910" y="500"/>
                </a:lnTo>
                <a:lnTo>
                  <a:pt x="915" y="509"/>
                </a:lnTo>
                <a:lnTo>
                  <a:pt x="910" y="524"/>
                </a:lnTo>
                <a:lnTo>
                  <a:pt x="900" y="528"/>
                </a:lnTo>
                <a:lnTo>
                  <a:pt x="880" y="534"/>
                </a:lnTo>
                <a:lnTo>
                  <a:pt x="861" y="534"/>
                </a:lnTo>
                <a:lnTo>
                  <a:pt x="835" y="524"/>
                </a:lnTo>
                <a:lnTo>
                  <a:pt x="821" y="505"/>
                </a:lnTo>
                <a:lnTo>
                  <a:pt x="815" y="494"/>
                </a:lnTo>
                <a:lnTo>
                  <a:pt x="811" y="490"/>
                </a:lnTo>
                <a:lnTo>
                  <a:pt x="801" y="494"/>
                </a:lnTo>
                <a:lnTo>
                  <a:pt x="791" y="505"/>
                </a:lnTo>
                <a:lnTo>
                  <a:pt x="776" y="513"/>
                </a:lnTo>
                <a:lnTo>
                  <a:pt x="767" y="513"/>
                </a:lnTo>
                <a:lnTo>
                  <a:pt x="751" y="513"/>
                </a:lnTo>
                <a:lnTo>
                  <a:pt x="741" y="505"/>
                </a:lnTo>
                <a:lnTo>
                  <a:pt x="721" y="485"/>
                </a:lnTo>
                <a:lnTo>
                  <a:pt x="697" y="475"/>
                </a:lnTo>
                <a:lnTo>
                  <a:pt x="682" y="475"/>
                </a:lnTo>
                <a:lnTo>
                  <a:pt x="671" y="475"/>
                </a:lnTo>
                <a:lnTo>
                  <a:pt x="662" y="485"/>
                </a:lnTo>
                <a:lnTo>
                  <a:pt x="656" y="490"/>
                </a:lnTo>
                <a:lnTo>
                  <a:pt x="656" y="513"/>
                </a:lnTo>
                <a:lnTo>
                  <a:pt x="652" y="524"/>
                </a:lnTo>
                <a:lnTo>
                  <a:pt x="647" y="528"/>
                </a:lnTo>
                <a:lnTo>
                  <a:pt x="627" y="528"/>
                </a:lnTo>
                <a:lnTo>
                  <a:pt x="606" y="528"/>
                </a:lnTo>
                <a:lnTo>
                  <a:pt x="592" y="538"/>
                </a:lnTo>
                <a:lnTo>
                  <a:pt x="586" y="547"/>
                </a:lnTo>
                <a:lnTo>
                  <a:pt x="586" y="562"/>
                </a:lnTo>
                <a:lnTo>
                  <a:pt x="592" y="577"/>
                </a:lnTo>
                <a:lnTo>
                  <a:pt x="586" y="581"/>
                </a:lnTo>
                <a:lnTo>
                  <a:pt x="582" y="592"/>
                </a:lnTo>
                <a:lnTo>
                  <a:pt x="577" y="596"/>
                </a:lnTo>
                <a:lnTo>
                  <a:pt x="577" y="606"/>
                </a:lnTo>
                <a:lnTo>
                  <a:pt x="577" y="615"/>
                </a:lnTo>
                <a:lnTo>
                  <a:pt x="586" y="626"/>
                </a:lnTo>
                <a:lnTo>
                  <a:pt x="602" y="640"/>
                </a:lnTo>
                <a:lnTo>
                  <a:pt x="612" y="660"/>
                </a:lnTo>
                <a:lnTo>
                  <a:pt x="621" y="674"/>
                </a:lnTo>
                <a:lnTo>
                  <a:pt x="617" y="689"/>
                </a:lnTo>
                <a:lnTo>
                  <a:pt x="612" y="702"/>
                </a:lnTo>
                <a:lnTo>
                  <a:pt x="612" y="713"/>
                </a:lnTo>
                <a:lnTo>
                  <a:pt x="606" y="723"/>
                </a:lnTo>
                <a:lnTo>
                  <a:pt x="597" y="727"/>
                </a:lnTo>
                <a:lnTo>
                  <a:pt x="582" y="736"/>
                </a:lnTo>
                <a:lnTo>
                  <a:pt x="577" y="742"/>
                </a:lnTo>
                <a:lnTo>
                  <a:pt x="572" y="742"/>
                </a:lnTo>
                <a:lnTo>
                  <a:pt x="567" y="736"/>
                </a:lnTo>
                <a:close/>
              </a:path>
            </a:pathLst>
          </a:custGeom>
          <a:solidFill>
            <a:srgbClr val="005027"/>
          </a:solidFill>
          <a:ln w="9525">
            <a:solidFill>
              <a:schemeClr val="bg1"/>
            </a:solidFill>
            <a:round/>
            <a:headEnd/>
            <a:tailEnd/>
          </a:ln>
        </p:spPr>
        <p:txBody>
          <a:bodyPr/>
          <a:lstStyle/>
          <a:p>
            <a:endParaRPr lang="ro-RO"/>
          </a:p>
        </p:txBody>
      </p:sp>
      <p:sp>
        <p:nvSpPr>
          <p:cNvPr id="12294" name="Freeform 56"/>
          <p:cNvSpPr>
            <a:spLocks/>
          </p:cNvSpPr>
          <p:nvPr/>
        </p:nvSpPr>
        <p:spPr bwMode="auto">
          <a:xfrm>
            <a:off x="6581775" y="3975100"/>
            <a:ext cx="17463" cy="36513"/>
          </a:xfrm>
          <a:custGeom>
            <a:avLst/>
            <a:gdLst>
              <a:gd name="T0" fmla="*/ 0 w 40"/>
              <a:gd name="T1" fmla="*/ 2147483647 h 82"/>
              <a:gd name="T2" fmla="*/ 0 w 40"/>
              <a:gd name="T3" fmla="*/ 2147483647 h 82"/>
              <a:gd name="T4" fmla="*/ 2147483647 w 40"/>
              <a:gd name="T5" fmla="*/ 2147483647 h 82"/>
              <a:gd name="T6" fmla="*/ 2147483647 w 40"/>
              <a:gd name="T7" fmla="*/ 2147483647 h 82"/>
              <a:gd name="T8" fmla="*/ 2147483647 w 40"/>
              <a:gd name="T9" fmla="*/ 2147483647 h 82"/>
              <a:gd name="T10" fmla="*/ 2147483647 w 40"/>
              <a:gd name="T11" fmla="*/ 2147483647 h 82"/>
              <a:gd name="T12" fmla="*/ 2147483647 w 40"/>
              <a:gd name="T13" fmla="*/ 2147483647 h 82"/>
              <a:gd name="T14" fmla="*/ 2147483647 w 40"/>
              <a:gd name="T15" fmla="*/ 2147483647 h 82"/>
              <a:gd name="T16" fmla="*/ 0 w 40"/>
              <a:gd name="T17" fmla="*/ 2147483647 h 82"/>
              <a:gd name="T18" fmla="*/ 0 w 40"/>
              <a:gd name="T19" fmla="*/ 2147483647 h 82"/>
              <a:gd name="T20" fmla="*/ 2147483647 w 40"/>
              <a:gd name="T21" fmla="*/ 2147483647 h 82"/>
              <a:gd name="T22" fmla="*/ 2147483647 w 40"/>
              <a:gd name="T23" fmla="*/ 2147483647 h 82"/>
              <a:gd name="T24" fmla="*/ 0 w 40"/>
              <a:gd name="T25" fmla="*/ 2147483647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82"/>
              <a:gd name="T41" fmla="*/ 40 w 40"/>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82">
                <a:moveTo>
                  <a:pt x="0" y="59"/>
                </a:moveTo>
                <a:lnTo>
                  <a:pt x="0" y="10"/>
                </a:lnTo>
                <a:cubicBezTo>
                  <a:pt x="0" y="0"/>
                  <a:pt x="16" y="0"/>
                  <a:pt x="16" y="10"/>
                </a:cubicBezTo>
                <a:lnTo>
                  <a:pt x="16" y="74"/>
                </a:lnTo>
                <a:lnTo>
                  <a:pt x="8" y="66"/>
                </a:lnTo>
                <a:lnTo>
                  <a:pt x="40" y="66"/>
                </a:lnTo>
                <a:lnTo>
                  <a:pt x="40" y="82"/>
                </a:lnTo>
                <a:lnTo>
                  <a:pt x="8" y="82"/>
                </a:lnTo>
                <a:cubicBezTo>
                  <a:pt x="4" y="82"/>
                  <a:pt x="0" y="79"/>
                  <a:pt x="0" y="74"/>
                </a:cubicBezTo>
                <a:lnTo>
                  <a:pt x="0" y="10"/>
                </a:lnTo>
                <a:lnTo>
                  <a:pt x="16" y="10"/>
                </a:lnTo>
                <a:lnTo>
                  <a:pt x="16" y="59"/>
                </a:lnTo>
                <a:lnTo>
                  <a:pt x="0" y="59"/>
                </a:lnTo>
                <a:close/>
              </a:path>
            </a:pathLst>
          </a:custGeom>
          <a:solidFill>
            <a:srgbClr val="FFFFFF"/>
          </a:solidFill>
          <a:ln w="0">
            <a:solidFill>
              <a:schemeClr val="bg1"/>
            </a:solidFill>
            <a:round/>
            <a:headEnd/>
            <a:tailEnd/>
          </a:ln>
        </p:spPr>
        <p:txBody>
          <a:bodyPr/>
          <a:lstStyle/>
          <a:p>
            <a:endParaRPr lang="ro-RO"/>
          </a:p>
        </p:txBody>
      </p:sp>
      <p:sp>
        <p:nvSpPr>
          <p:cNvPr id="12295" name="Freeform 4"/>
          <p:cNvSpPr>
            <a:spLocks/>
          </p:cNvSpPr>
          <p:nvPr/>
        </p:nvSpPr>
        <p:spPr bwMode="auto">
          <a:xfrm>
            <a:off x="4179888" y="3473450"/>
            <a:ext cx="922337" cy="1081088"/>
          </a:xfrm>
          <a:custGeom>
            <a:avLst/>
            <a:gdLst>
              <a:gd name="T0" fmla="*/ 2147483647 w 717"/>
              <a:gd name="T1" fmla="*/ 2147483647 h 783"/>
              <a:gd name="T2" fmla="*/ 2147483647 w 717"/>
              <a:gd name="T3" fmla="*/ 2147483647 h 783"/>
              <a:gd name="T4" fmla="*/ 2147483647 w 717"/>
              <a:gd name="T5" fmla="*/ 2147483647 h 783"/>
              <a:gd name="T6" fmla="*/ 2147483647 w 717"/>
              <a:gd name="T7" fmla="*/ 2147483647 h 783"/>
              <a:gd name="T8" fmla="*/ 2147483647 w 717"/>
              <a:gd name="T9" fmla="*/ 2147483647 h 783"/>
              <a:gd name="T10" fmla="*/ 2147483647 w 717"/>
              <a:gd name="T11" fmla="*/ 2147483647 h 783"/>
              <a:gd name="T12" fmla="*/ 2147483647 w 717"/>
              <a:gd name="T13" fmla="*/ 2147483647 h 783"/>
              <a:gd name="T14" fmla="*/ 2147483647 w 717"/>
              <a:gd name="T15" fmla="*/ 2147483647 h 783"/>
              <a:gd name="T16" fmla="*/ 2147483647 w 717"/>
              <a:gd name="T17" fmla="*/ 2147483647 h 783"/>
              <a:gd name="T18" fmla="*/ 2147483647 w 717"/>
              <a:gd name="T19" fmla="*/ 2147483647 h 783"/>
              <a:gd name="T20" fmla="*/ 2147483647 w 717"/>
              <a:gd name="T21" fmla="*/ 2147483647 h 783"/>
              <a:gd name="T22" fmla="*/ 2147483647 w 717"/>
              <a:gd name="T23" fmla="*/ 2147483647 h 783"/>
              <a:gd name="T24" fmla="*/ 2147483647 w 717"/>
              <a:gd name="T25" fmla="*/ 2147483647 h 783"/>
              <a:gd name="T26" fmla="*/ 2147483647 w 717"/>
              <a:gd name="T27" fmla="*/ 2147483647 h 783"/>
              <a:gd name="T28" fmla="*/ 2147483647 w 717"/>
              <a:gd name="T29" fmla="*/ 2147483647 h 783"/>
              <a:gd name="T30" fmla="*/ 2147483647 w 717"/>
              <a:gd name="T31" fmla="*/ 2147483647 h 783"/>
              <a:gd name="T32" fmla="*/ 2147483647 w 717"/>
              <a:gd name="T33" fmla="*/ 2147483647 h 783"/>
              <a:gd name="T34" fmla="*/ 2147483647 w 717"/>
              <a:gd name="T35" fmla="*/ 2147483647 h 783"/>
              <a:gd name="T36" fmla="*/ 2147483647 w 717"/>
              <a:gd name="T37" fmla="*/ 2147483647 h 783"/>
              <a:gd name="T38" fmla="*/ 2147483647 w 717"/>
              <a:gd name="T39" fmla="*/ 2147483647 h 783"/>
              <a:gd name="T40" fmla="*/ 2147483647 w 717"/>
              <a:gd name="T41" fmla="*/ 2147483647 h 783"/>
              <a:gd name="T42" fmla="*/ 2147483647 w 717"/>
              <a:gd name="T43" fmla="*/ 2147483647 h 783"/>
              <a:gd name="T44" fmla="*/ 2147483647 w 717"/>
              <a:gd name="T45" fmla="*/ 2147483647 h 783"/>
              <a:gd name="T46" fmla="*/ 2147483647 w 717"/>
              <a:gd name="T47" fmla="*/ 2147483647 h 783"/>
              <a:gd name="T48" fmla="*/ 2147483647 w 717"/>
              <a:gd name="T49" fmla="*/ 2147483647 h 783"/>
              <a:gd name="T50" fmla="*/ 2147483647 w 717"/>
              <a:gd name="T51" fmla="*/ 2147483647 h 783"/>
              <a:gd name="T52" fmla="*/ 2147483647 w 717"/>
              <a:gd name="T53" fmla="*/ 2147483647 h 783"/>
              <a:gd name="T54" fmla="*/ 2147483647 w 717"/>
              <a:gd name="T55" fmla="*/ 2147483647 h 783"/>
              <a:gd name="T56" fmla="*/ 2147483647 w 717"/>
              <a:gd name="T57" fmla="*/ 2147483647 h 783"/>
              <a:gd name="T58" fmla="*/ 2147483647 w 717"/>
              <a:gd name="T59" fmla="*/ 2147483647 h 783"/>
              <a:gd name="T60" fmla="*/ 2147483647 w 717"/>
              <a:gd name="T61" fmla="*/ 2147483647 h 783"/>
              <a:gd name="T62" fmla="*/ 2147483647 w 717"/>
              <a:gd name="T63" fmla="*/ 2147483647 h 783"/>
              <a:gd name="T64" fmla="*/ 2147483647 w 717"/>
              <a:gd name="T65" fmla="*/ 2147483647 h 783"/>
              <a:gd name="T66" fmla="*/ 2147483647 w 717"/>
              <a:gd name="T67" fmla="*/ 2147483647 h 783"/>
              <a:gd name="T68" fmla="*/ 2147483647 w 717"/>
              <a:gd name="T69" fmla="*/ 2147483647 h 783"/>
              <a:gd name="T70" fmla="*/ 2147483647 w 717"/>
              <a:gd name="T71" fmla="*/ 2147483647 h 783"/>
              <a:gd name="T72" fmla="*/ 2147483647 w 717"/>
              <a:gd name="T73" fmla="*/ 2147483647 h 783"/>
              <a:gd name="T74" fmla="*/ 2147483647 w 717"/>
              <a:gd name="T75" fmla="*/ 2147483647 h 783"/>
              <a:gd name="T76" fmla="*/ 2147483647 w 717"/>
              <a:gd name="T77" fmla="*/ 2147483647 h 783"/>
              <a:gd name="T78" fmla="*/ 2147483647 w 717"/>
              <a:gd name="T79" fmla="*/ 2147483647 h 783"/>
              <a:gd name="T80" fmla="*/ 2147483647 w 717"/>
              <a:gd name="T81" fmla="*/ 2147483647 h 783"/>
              <a:gd name="T82" fmla="*/ 2147483647 w 717"/>
              <a:gd name="T83" fmla="*/ 2147483647 h 783"/>
              <a:gd name="T84" fmla="*/ 2147483647 w 717"/>
              <a:gd name="T85" fmla="*/ 2147483647 h 783"/>
              <a:gd name="T86" fmla="*/ 2147483647 w 717"/>
              <a:gd name="T87" fmla="*/ 2147483647 h 783"/>
              <a:gd name="T88" fmla="*/ 2147483647 w 717"/>
              <a:gd name="T89" fmla="*/ 2147483647 h 783"/>
              <a:gd name="T90" fmla="*/ 2147483647 w 717"/>
              <a:gd name="T91" fmla="*/ 2147483647 h 783"/>
              <a:gd name="T92" fmla="*/ 2147483647 w 717"/>
              <a:gd name="T93" fmla="*/ 2147483647 h 783"/>
              <a:gd name="T94" fmla="*/ 2147483647 w 717"/>
              <a:gd name="T95" fmla="*/ 2147483647 h 783"/>
              <a:gd name="T96" fmla="*/ 2147483647 w 717"/>
              <a:gd name="T97" fmla="*/ 2147483647 h 783"/>
              <a:gd name="T98" fmla="*/ 2147483647 w 717"/>
              <a:gd name="T99" fmla="*/ 2147483647 h 783"/>
              <a:gd name="T100" fmla="*/ 2147483647 w 717"/>
              <a:gd name="T101" fmla="*/ 2147483647 h 783"/>
              <a:gd name="T102" fmla="*/ 2147483647 w 717"/>
              <a:gd name="T103" fmla="*/ 2147483647 h 783"/>
              <a:gd name="T104" fmla="*/ 2147483647 w 717"/>
              <a:gd name="T105" fmla="*/ 2147483647 h 783"/>
              <a:gd name="T106" fmla="*/ 2147483647 w 717"/>
              <a:gd name="T107" fmla="*/ 2147483647 h 783"/>
              <a:gd name="T108" fmla="*/ 2147483647 w 717"/>
              <a:gd name="T109" fmla="*/ 2147483647 h 783"/>
              <a:gd name="T110" fmla="*/ 2147483647 w 717"/>
              <a:gd name="T111" fmla="*/ 2147483647 h 783"/>
              <a:gd name="T112" fmla="*/ 2147483647 w 717"/>
              <a:gd name="T113" fmla="*/ 2147483647 h 78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7"/>
              <a:gd name="T172" fmla="*/ 0 h 783"/>
              <a:gd name="T173" fmla="*/ 717 w 717"/>
              <a:gd name="T174" fmla="*/ 783 h 78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7" h="783">
                <a:moveTo>
                  <a:pt x="617" y="754"/>
                </a:moveTo>
                <a:lnTo>
                  <a:pt x="617" y="749"/>
                </a:lnTo>
                <a:lnTo>
                  <a:pt x="617" y="735"/>
                </a:lnTo>
                <a:lnTo>
                  <a:pt x="617" y="715"/>
                </a:lnTo>
                <a:lnTo>
                  <a:pt x="612" y="696"/>
                </a:lnTo>
                <a:lnTo>
                  <a:pt x="617" y="682"/>
                </a:lnTo>
                <a:lnTo>
                  <a:pt x="628" y="663"/>
                </a:lnTo>
                <a:lnTo>
                  <a:pt x="637" y="638"/>
                </a:lnTo>
                <a:lnTo>
                  <a:pt x="647" y="623"/>
                </a:lnTo>
                <a:lnTo>
                  <a:pt x="652" y="614"/>
                </a:lnTo>
                <a:lnTo>
                  <a:pt x="647" y="604"/>
                </a:lnTo>
                <a:lnTo>
                  <a:pt x="642" y="595"/>
                </a:lnTo>
                <a:lnTo>
                  <a:pt x="642" y="589"/>
                </a:lnTo>
                <a:lnTo>
                  <a:pt x="637" y="585"/>
                </a:lnTo>
                <a:lnTo>
                  <a:pt x="628" y="576"/>
                </a:lnTo>
                <a:lnTo>
                  <a:pt x="617" y="570"/>
                </a:lnTo>
                <a:lnTo>
                  <a:pt x="612" y="566"/>
                </a:lnTo>
                <a:lnTo>
                  <a:pt x="608" y="555"/>
                </a:lnTo>
                <a:lnTo>
                  <a:pt x="597" y="551"/>
                </a:lnTo>
                <a:lnTo>
                  <a:pt x="593" y="542"/>
                </a:lnTo>
                <a:lnTo>
                  <a:pt x="593" y="532"/>
                </a:lnTo>
                <a:lnTo>
                  <a:pt x="597" y="522"/>
                </a:lnTo>
                <a:lnTo>
                  <a:pt x="597" y="512"/>
                </a:lnTo>
                <a:lnTo>
                  <a:pt x="597" y="502"/>
                </a:lnTo>
                <a:lnTo>
                  <a:pt x="593" y="498"/>
                </a:lnTo>
                <a:lnTo>
                  <a:pt x="582" y="493"/>
                </a:lnTo>
                <a:lnTo>
                  <a:pt x="562" y="488"/>
                </a:lnTo>
                <a:lnTo>
                  <a:pt x="553" y="483"/>
                </a:lnTo>
                <a:lnTo>
                  <a:pt x="543" y="479"/>
                </a:lnTo>
                <a:lnTo>
                  <a:pt x="538" y="464"/>
                </a:lnTo>
                <a:lnTo>
                  <a:pt x="543" y="459"/>
                </a:lnTo>
                <a:lnTo>
                  <a:pt x="543" y="454"/>
                </a:lnTo>
                <a:lnTo>
                  <a:pt x="548" y="454"/>
                </a:lnTo>
                <a:lnTo>
                  <a:pt x="553" y="445"/>
                </a:lnTo>
                <a:lnTo>
                  <a:pt x="562" y="420"/>
                </a:lnTo>
                <a:lnTo>
                  <a:pt x="568" y="416"/>
                </a:lnTo>
                <a:lnTo>
                  <a:pt x="573" y="411"/>
                </a:lnTo>
                <a:lnTo>
                  <a:pt x="582" y="416"/>
                </a:lnTo>
                <a:lnTo>
                  <a:pt x="588" y="420"/>
                </a:lnTo>
                <a:lnTo>
                  <a:pt x="603" y="426"/>
                </a:lnTo>
                <a:lnTo>
                  <a:pt x="617" y="430"/>
                </a:lnTo>
                <a:lnTo>
                  <a:pt x="632" y="430"/>
                </a:lnTo>
                <a:lnTo>
                  <a:pt x="642" y="430"/>
                </a:lnTo>
                <a:lnTo>
                  <a:pt x="652" y="426"/>
                </a:lnTo>
                <a:lnTo>
                  <a:pt x="663" y="401"/>
                </a:lnTo>
                <a:lnTo>
                  <a:pt x="663" y="392"/>
                </a:lnTo>
                <a:lnTo>
                  <a:pt x="663" y="382"/>
                </a:lnTo>
                <a:lnTo>
                  <a:pt x="667" y="377"/>
                </a:lnTo>
                <a:lnTo>
                  <a:pt x="677" y="377"/>
                </a:lnTo>
                <a:lnTo>
                  <a:pt x="687" y="377"/>
                </a:lnTo>
                <a:lnTo>
                  <a:pt x="693" y="373"/>
                </a:lnTo>
                <a:lnTo>
                  <a:pt x="697" y="348"/>
                </a:lnTo>
                <a:lnTo>
                  <a:pt x="697" y="333"/>
                </a:lnTo>
                <a:lnTo>
                  <a:pt x="702" y="324"/>
                </a:lnTo>
                <a:lnTo>
                  <a:pt x="707" y="320"/>
                </a:lnTo>
                <a:lnTo>
                  <a:pt x="712" y="310"/>
                </a:lnTo>
                <a:lnTo>
                  <a:pt x="717" y="299"/>
                </a:lnTo>
                <a:lnTo>
                  <a:pt x="717" y="295"/>
                </a:lnTo>
                <a:lnTo>
                  <a:pt x="712" y="290"/>
                </a:lnTo>
                <a:lnTo>
                  <a:pt x="712" y="286"/>
                </a:lnTo>
                <a:lnTo>
                  <a:pt x="707" y="286"/>
                </a:lnTo>
                <a:lnTo>
                  <a:pt x="702" y="290"/>
                </a:lnTo>
                <a:lnTo>
                  <a:pt x="677" y="299"/>
                </a:lnTo>
                <a:lnTo>
                  <a:pt x="652" y="305"/>
                </a:lnTo>
                <a:lnTo>
                  <a:pt x="642" y="305"/>
                </a:lnTo>
                <a:lnTo>
                  <a:pt x="632" y="299"/>
                </a:lnTo>
                <a:lnTo>
                  <a:pt x="628" y="286"/>
                </a:lnTo>
                <a:lnTo>
                  <a:pt x="628" y="276"/>
                </a:lnTo>
                <a:lnTo>
                  <a:pt x="628" y="266"/>
                </a:lnTo>
                <a:lnTo>
                  <a:pt x="617" y="261"/>
                </a:lnTo>
                <a:lnTo>
                  <a:pt x="603" y="261"/>
                </a:lnTo>
                <a:lnTo>
                  <a:pt x="593" y="256"/>
                </a:lnTo>
                <a:lnTo>
                  <a:pt x="582" y="256"/>
                </a:lnTo>
                <a:lnTo>
                  <a:pt x="578" y="261"/>
                </a:lnTo>
                <a:lnTo>
                  <a:pt x="568" y="266"/>
                </a:lnTo>
                <a:lnTo>
                  <a:pt x="558" y="266"/>
                </a:lnTo>
                <a:lnTo>
                  <a:pt x="553" y="261"/>
                </a:lnTo>
                <a:lnTo>
                  <a:pt x="548" y="252"/>
                </a:lnTo>
                <a:lnTo>
                  <a:pt x="548" y="242"/>
                </a:lnTo>
                <a:lnTo>
                  <a:pt x="543" y="232"/>
                </a:lnTo>
                <a:lnTo>
                  <a:pt x="538" y="237"/>
                </a:lnTo>
                <a:lnTo>
                  <a:pt x="528" y="242"/>
                </a:lnTo>
                <a:lnTo>
                  <a:pt x="523" y="246"/>
                </a:lnTo>
                <a:lnTo>
                  <a:pt x="513" y="246"/>
                </a:lnTo>
                <a:lnTo>
                  <a:pt x="499" y="237"/>
                </a:lnTo>
                <a:lnTo>
                  <a:pt x="488" y="227"/>
                </a:lnTo>
                <a:lnTo>
                  <a:pt x="468" y="218"/>
                </a:lnTo>
                <a:lnTo>
                  <a:pt x="453" y="208"/>
                </a:lnTo>
                <a:lnTo>
                  <a:pt x="449" y="204"/>
                </a:lnTo>
                <a:lnTo>
                  <a:pt x="443" y="204"/>
                </a:lnTo>
                <a:lnTo>
                  <a:pt x="438" y="204"/>
                </a:lnTo>
                <a:lnTo>
                  <a:pt x="419" y="204"/>
                </a:lnTo>
                <a:lnTo>
                  <a:pt x="403" y="204"/>
                </a:lnTo>
                <a:lnTo>
                  <a:pt x="394" y="198"/>
                </a:lnTo>
                <a:lnTo>
                  <a:pt x="384" y="189"/>
                </a:lnTo>
                <a:lnTo>
                  <a:pt x="364" y="174"/>
                </a:lnTo>
                <a:lnTo>
                  <a:pt x="353" y="164"/>
                </a:lnTo>
                <a:lnTo>
                  <a:pt x="349" y="155"/>
                </a:lnTo>
                <a:lnTo>
                  <a:pt x="339" y="145"/>
                </a:lnTo>
                <a:lnTo>
                  <a:pt x="334" y="141"/>
                </a:lnTo>
                <a:lnTo>
                  <a:pt x="314" y="145"/>
                </a:lnTo>
                <a:lnTo>
                  <a:pt x="299" y="155"/>
                </a:lnTo>
                <a:lnTo>
                  <a:pt x="290" y="160"/>
                </a:lnTo>
                <a:lnTo>
                  <a:pt x="279" y="155"/>
                </a:lnTo>
                <a:lnTo>
                  <a:pt x="270" y="145"/>
                </a:lnTo>
                <a:lnTo>
                  <a:pt x="259" y="130"/>
                </a:lnTo>
                <a:lnTo>
                  <a:pt x="240" y="107"/>
                </a:lnTo>
                <a:lnTo>
                  <a:pt x="229" y="92"/>
                </a:lnTo>
                <a:lnTo>
                  <a:pt x="224" y="83"/>
                </a:lnTo>
                <a:lnTo>
                  <a:pt x="214" y="34"/>
                </a:lnTo>
                <a:lnTo>
                  <a:pt x="214" y="30"/>
                </a:lnTo>
                <a:lnTo>
                  <a:pt x="210" y="24"/>
                </a:lnTo>
                <a:lnTo>
                  <a:pt x="185" y="5"/>
                </a:lnTo>
                <a:lnTo>
                  <a:pt x="175" y="0"/>
                </a:lnTo>
                <a:lnTo>
                  <a:pt x="170" y="0"/>
                </a:lnTo>
                <a:lnTo>
                  <a:pt x="170" y="10"/>
                </a:lnTo>
                <a:lnTo>
                  <a:pt x="165" y="24"/>
                </a:lnTo>
                <a:lnTo>
                  <a:pt x="150" y="63"/>
                </a:lnTo>
                <a:lnTo>
                  <a:pt x="146" y="77"/>
                </a:lnTo>
                <a:lnTo>
                  <a:pt x="146" y="83"/>
                </a:lnTo>
                <a:lnTo>
                  <a:pt x="140" y="126"/>
                </a:lnTo>
                <a:lnTo>
                  <a:pt x="140" y="130"/>
                </a:lnTo>
                <a:lnTo>
                  <a:pt x="135" y="141"/>
                </a:lnTo>
                <a:lnTo>
                  <a:pt x="130" y="145"/>
                </a:lnTo>
                <a:lnTo>
                  <a:pt x="125" y="151"/>
                </a:lnTo>
                <a:lnTo>
                  <a:pt x="105" y="155"/>
                </a:lnTo>
                <a:lnTo>
                  <a:pt x="100" y="155"/>
                </a:lnTo>
                <a:lnTo>
                  <a:pt x="105" y="151"/>
                </a:lnTo>
                <a:lnTo>
                  <a:pt x="105" y="136"/>
                </a:lnTo>
                <a:lnTo>
                  <a:pt x="105" y="121"/>
                </a:lnTo>
                <a:lnTo>
                  <a:pt x="96" y="111"/>
                </a:lnTo>
                <a:lnTo>
                  <a:pt x="90" y="111"/>
                </a:lnTo>
                <a:lnTo>
                  <a:pt x="85" y="117"/>
                </a:lnTo>
                <a:lnTo>
                  <a:pt x="70" y="136"/>
                </a:lnTo>
                <a:lnTo>
                  <a:pt x="70" y="141"/>
                </a:lnTo>
                <a:lnTo>
                  <a:pt x="70" y="145"/>
                </a:lnTo>
                <a:lnTo>
                  <a:pt x="50" y="141"/>
                </a:lnTo>
                <a:lnTo>
                  <a:pt x="46" y="145"/>
                </a:lnTo>
                <a:lnTo>
                  <a:pt x="35" y="151"/>
                </a:lnTo>
                <a:lnTo>
                  <a:pt x="26" y="160"/>
                </a:lnTo>
                <a:lnTo>
                  <a:pt x="15" y="170"/>
                </a:lnTo>
                <a:lnTo>
                  <a:pt x="11" y="198"/>
                </a:lnTo>
                <a:lnTo>
                  <a:pt x="11" y="208"/>
                </a:lnTo>
                <a:lnTo>
                  <a:pt x="11" y="213"/>
                </a:lnTo>
                <a:lnTo>
                  <a:pt x="0" y="223"/>
                </a:lnTo>
                <a:lnTo>
                  <a:pt x="6" y="223"/>
                </a:lnTo>
                <a:lnTo>
                  <a:pt x="11" y="227"/>
                </a:lnTo>
                <a:lnTo>
                  <a:pt x="15" y="237"/>
                </a:lnTo>
                <a:lnTo>
                  <a:pt x="35" y="261"/>
                </a:lnTo>
                <a:lnTo>
                  <a:pt x="46" y="276"/>
                </a:lnTo>
                <a:lnTo>
                  <a:pt x="46" y="290"/>
                </a:lnTo>
                <a:lnTo>
                  <a:pt x="41" y="305"/>
                </a:lnTo>
                <a:lnTo>
                  <a:pt x="35" y="314"/>
                </a:lnTo>
                <a:lnTo>
                  <a:pt x="35" y="324"/>
                </a:lnTo>
                <a:lnTo>
                  <a:pt x="46" y="333"/>
                </a:lnTo>
                <a:lnTo>
                  <a:pt x="61" y="344"/>
                </a:lnTo>
                <a:lnTo>
                  <a:pt x="70" y="352"/>
                </a:lnTo>
                <a:lnTo>
                  <a:pt x="81" y="358"/>
                </a:lnTo>
                <a:lnTo>
                  <a:pt x="85" y="367"/>
                </a:lnTo>
                <a:lnTo>
                  <a:pt x="85" y="377"/>
                </a:lnTo>
                <a:lnTo>
                  <a:pt x="85" y="386"/>
                </a:lnTo>
                <a:lnTo>
                  <a:pt x="81" y="392"/>
                </a:lnTo>
                <a:lnTo>
                  <a:pt x="81" y="401"/>
                </a:lnTo>
                <a:lnTo>
                  <a:pt x="81" y="420"/>
                </a:lnTo>
                <a:lnTo>
                  <a:pt x="90" y="435"/>
                </a:lnTo>
                <a:lnTo>
                  <a:pt x="100" y="445"/>
                </a:lnTo>
                <a:lnTo>
                  <a:pt x="111" y="445"/>
                </a:lnTo>
                <a:lnTo>
                  <a:pt x="120" y="450"/>
                </a:lnTo>
                <a:lnTo>
                  <a:pt x="125" y="454"/>
                </a:lnTo>
                <a:lnTo>
                  <a:pt x="130" y="464"/>
                </a:lnTo>
                <a:lnTo>
                  <a:pt x="140" y="469"/>
                </a:lnTo>
                <a:lnTo>
                  <a:pt x="155" y="469"/>
                </a:lnTo>
                <a:lnTo>
                  <a:pt x="165" y="464"/>
                </a:lnTo>
                <a:lnTo>
                  <a:pt x="175" y="459"/>
                </a:lnTo>
                <a:lnTo>
                  <a:pt x="179" y="459"/>
                </a:lnTo>
                <a:lnTo>
                  <a:pt x="185" y="464"/>
                </a:lnTo>
                <a:lnTo>
                  <a:pt x="190" y="483"/>
                </a:lnTo>
                <a:lnTo>
                  <a:pt x="194" y="502"/>
                </a:lnTo>
                <a:lnTo>
                  <a:pt x="194" y="522"/>
                </a:lnTo>
                <a:lnTo>
                  <a:pt x="200" y="532"/>
                </a:lnTo>
                <a:lnTo>
                  <a:pt x="210" y="542"/>
                </a:lnTo>
                <a:lnTo>
                  <a:pt x="244" y="561"/>
                </a:lnTo>
                <a:lnTo>
                  <a:pt x="255" y="570"/>
                </a:lnTo>
                <a:lnTo>
                  <a:pt x="264" y="576"/>
                </a:lnTo>
                <a:lnTo>
                  <a:pt x="270" y="585"/>
                </a:lnTo>
                <a:lnTo>
                  <a:pt x="270" y="589"/>
                </a:lnTo>
                <a:lnTo>
                  <a:pt x="259" y="600"/>
                </a:lnTo>
                <a:lnTo>
                  <a:pt x="249" y="614"/>
                </a:lnTo>
                <a:lnTo>
                  <a:pt x="249" y="623"/>
                </a:lnTo>
                <a:lnTo>
                  <a:pt x="259" y="633"/>
                </a:lnTo>
                <a:lnTo>
                  <a:pt x="270" y="648"/>
                </a:lnTo>
                <a:lnTo>
                  <a:pt x="279" y="663"/>
                </a:lnTo>
                <a:lnTo>
                  <a:pt x="284" y="676"/>
                </a:lnTo>
                <a:lnTo>
                  <a:pt x="290" y="682"/>
                </a:lnTo>
                <a:lnTo>
                  <a:pt x="294" y="686"/>
                </a:lnTo>
                <a:lnTo>
                  <a:pt x="299" y="691"/>
                </a:lnTo>
                <a:lnTo>
                  <a:pt x="305" y="705"/>
                </a:lnTo>
                <a:lnTo>
                  <a:pt x="309" y="715"/>
                </a:lnTo>
                <a:lnTo>
                  <a:pt x="319" y="725"/>
                </a:lnTo>
                <a:lnTo>
                  <a:pt x="339" y="725"/>
                </a:lnTo>
                <a:lnTo>
                  <a:pt x="364" y="720"/>
                </a:lnTo>
                <a:lnTo>
                  <a:pt x="384" y="715"/>
                </a:lnTo>
                <a:lnTo>
                  <a:pt x="399" y="710"/>
                </a:lnTo>
                <a:lnTo>
                  <a:pt x="408" y="715"/>
                </a:lnTo>
                <a:lnTo>
                  <a:pt x="419" y="720"/>
                </a:lnTo>
                <a:lnTo>
                  <a:pt x="429" y="720"/>
                </a:lnTo>
                <a:lnTo>
                  <a:pt x="449" y="720"/>
                </a:lnTo>
                <a:lnTo>
                  <a:pt x="464" y="730"/>
                </a:lnTo>
                <a:lnTo>
                  <a:pt x="473" y="730"/>
                </a:lnTo>
                <a:lnTo>
                  <a:pt x="484" y="730"/>
                </a:lnTo>
                <a:lnTo>
                  <a:pt x="503" y="725"/>
                </a:lnTo>
                <a:lnTo>
                  <a:pt x="518" y="730"/>
                </a:lnTo>
                <a:lnTo>
                  <a:pt x="534" y="735"/>
                </a:lnTo>
                <a:lnTo>
                  <a:pt x="538" y="739"/>
                </a:lnTo>
                <a:lnTo>
                  <a:pt x="543" y="744"/>
                </a:lnTo>
                <a:lnTo>
                  <a:pt x="548" y="749"/>
                </a:lnTo>
                <a:lnTo>
                  <a:pt x="548" y="754"/>
                </a:lnTo>
                <a:lnTo>
                  <a:pt x="562" y="773"/>
                </a:lnTo>
                <a:lnTo>
                  <a:pt x="568" y="778"/>
                </a:lnTo>
                <a:lnTo>
                  <a:pt x="573" y="783"/>
                </a:lnTo>
                <a:lnTo>
                  <a:pt x="573" y="773"/>
                </a:lnTo>
                <a:lnTo>
                  <a:pt x="578" y="758"/>
                </a:lnTo>
                <a:lnTo>
                  <a:pt x="578" y="739"/>
                </a:lnTo>
                <a:lnTo>
                  <a:pt x="582" y="730"/>
                </a:lnTo>
                <a:lnTo>
                  <a:pt x="582" y="725"/>
                </a:lnTo>
                <a:lnTo>
                  <a:pt x="588" y="730"/>
                </a:lnTo>
                <a:lnTo>
                  <a:pt x="597" y="739"/>
                </a:lnTo>
                <a:lnTo>
                  <a:pt x="617" y="754"/>
                </a:lnTo>
                <a:close/>
              </a:path>
            </a:pathLst>
          </a:custGeom>
          <a:solidFill>
            <a:srgbClr val="005027"/>
          </a:solidFill>
          <a:ln w="9525">
            <a:solidFill>
              <a:schemeClr val="bg1"/>
            </a:solidFill>
            <a:round/>
            <a:headEnd/>
            <a:tailEnd/>
          </a:ln>
        </p:spPr>
        <p:txBody>
          <a:bodyPr/>
          <a:lstStyle/>
          <a:p>
            <a:endParaRPr lang="ro-RO"/>
          </a:p>
        </p:txBody>
      </p:sp>
      <p:sp>
        <p:nvSpPr>
          <p:cNvPr id="12296" name="Freeform 10"/>
          <p:cNvSpPr>
            <a:spLocks/>
          </p:cNvSpPr>
          <p:nvPr/>
        </p:nvSpPr>
        <p:spPr bwMode="auto">
          <a:xfrm>
            <a:off x="3760788" y="3003550"/>
            <a:ext cx="687387" cy="701675"/>
          </a:xfrm>
          <a:custGeom>
            <a:avLst/>
            <a:gdLst>
              <a:gd name="T0" fmla="*/ 0 w 534"/>
              <a:gd name="T1" fmla="*/ 2147483647 h 508"/>
              <a:gd name="T2" fmla="*/ 2147483647 w 534"/>
              <a:gd name="T3" fmla="*/ 2147483647 h 508"/>
              <a:gd name="T4" fmla="*/ 2147483647 w 534"/>
              <a:gd name="T5" fmla="*/ 2147483647 h 508"/>
              <a:gd name="T6" fmla="*/ 2147483647 w 534"/>
              <a:gd name="T7" fmla="*/ 2147483647 h 508"/>
              <a:gd name="T8" fmla="*/ 2147483647 w 534"/>
              <a:gd name="T9" fmla="*/ 0 h 508"/>
              <a:gd name="T10" fmla="*/ 2147483647 w 534"/>
              <a:gd name="T11" fmla="*/ 2147483647 h 508"/>
              <a:gd name="T12" fmla="*/ 2147483647 w 534"/>
              <a:gd name="T13" fmla="*/ 2147483647 h 508"/>
              <a:gd name="T14" fmla="*/ 2147483647 w 534"/>
              <a:gd name="T15" fmla="*/ 2147483647 h 508"/>
              <a:gd name="T16" fmla="*/ 2147483647 w 534"/>
              <a:gd name="T17" fmla="*/ 2147483647 h 508"/>
              <a:gd name="T18" fmla="*/ 2147483647 w 534"/>
              <a:gd name="T19" fmla="*/ 2147483647 h 508"/>
              <a:gd name="T20" fmla="*/ 2147483647 w 534"/>
              <a:gd name="T21" fmla="*/ 2147483647 h 508"/>
              <a:gd name="T22" fmla="*/ 2147483647 w 534"/>
              <a:gd name="T23" fmla="*/ 2147483647 h 508"/>
              <a:gd name="T24" fmla="*/ 2147483647 w 534"/>
              <a:gd name="T25" fmla="*/ 2147483647 h 508"/>
              <a:gd name="T26" fmla="*/ 2147483647 w 534"/>
              <a:gd name="T27" fmla="*/ 2147483647 h 508"/>
              <a:gd name="T28" fmla="*/ 2147483647 w 534"/>
              <a:gd name="T29" fmla="*/ 2147483647 h 508"/>
              <a:gd name="T30" fmla="*/ 2147483647 w 534"/>
              <a:gd name="T31" fmla="*/ 2147483647 h 508"/>
              <a:gd name="T32" fmla="*/ 2147483647 w 534"/>
              <a:gd name="T33" fmla="*/ 2147483647 h 508"/>
              <a:gd name="T34" fmla="*/ 2147483647 w 534"/>
              <a:gd name="T35" fmla="*/ 2147483647 h 508"/>
              <a:gd name="T36" fmla="*/ 2147483647 w 534"/>
              <a:gd name="T37" fmla="*/ 2147483647 h 508"/>
              <a:gd name="T38" fmla="*/ 2147483647 w 534"/>
              <a:gd name="T39" fmla="*/ 2147483647 h 508"/>
              <a:gd name="T40" fmla="*/ 2147483647 w 534"/>
              <a:gd name="T41" fmla="*/ 2147483647 h 508"/>
              <a:gd name="T42" fmla="*/ 2147483647 w 534"/>
              <a:gd name="T43" fmla="*/ 2147483647 h 508"/>
              <a:gd name="T44" fmla="*/ 2147483647 w 534"/>
              <a:gd name="T45" fmla="*/ 2147483647 h 508"/>
              <a:gd name="T46" fmla="*/ 2147483647 w 534"/>
              <a:gd name="T47" fmla="*/ 2147483647 h 508"/>
              <a:gd name="T48" fmla="*/ 2147483647 w 534"/>
              <a:gd name="T49" fmla="*/ 2147483647 h 508"/>
              <a:gd name="T50" fmla="*/ 2147483647 w 534"/>
              <a:gd name="T51" fmla="*/ 2147483647 h 508"/>
              <a:gd name="T52" fmla="*/ 2147483647 w 534"/>
              <a:gd name="T53" fmla="*/ 2147483647 h 508"/>
              <a:gd name="T54" fmla="*/ 2147483647 w 534"/>
              <a:gd name="T55" fmla="*/ 2147483647 h 508"/>
              <a:gd name="T56" fmla="*/ 2147483647 w 534"/>
              <a:gd name="T57" fmla="*/ 2147483647 h 508"/>
              <a:gd name="T58" fmla="*/ 2147483647 w 534"/>
              <a:gd name="T59" fmla="*/ 2147483647 h 508"/>
              <a:gd name="T60" fmla="*/ 2147483647 w 534"/>
              <a:gd name="T61" fmla="*/ 2147483647 h 508"/>
              <a:gd name="T62" fmla="*/ 2147483647 w 534"/>
              <a:gd name="T63" fmla="*/ 2147483647 h 508"/>
              <a:gd name="T64" fmla="*/ 2147483647 w 534"/>
              <a:gd name="T65" fmla="*/ 2147483647 h 508"/>
              <a:gd name="T66" fmla="*/ 2147483647 w 534"/>
              <a:gd name="T67" fmla="*/ 2147483647 h 508"/>
              <a:gd name="T68" fmla="*/ 2147483647 w 534"/>
              <a:gd name="T69" fmla="*/ 2147483647 h 508"/>
              <a:gd name="T70" fmla="*/ 2147483647 w 534"/>
              <a:gd name="T71" fmla="*/ 2147483647 h 508"/>
              <a:gd name="T72" fmla="*/ 2147483647 w 534"/>
              <a:gd name="T73" fmla="*/ 2147483647 h 508"/>
              <a:gd name="T74" fmla="*/ 2147483647 w 534"/>
              <a:gd name="T75" fmla="*/ 2147483647 h 508"/>
              <a:gd name="T76" fmla="*/ 2147483647 w 534"/>
              <a:gd name="T77" fmla="*/ 2147483647 h 508"/>
              <a:gd name="T78" fmla="*/ 2147483647 w 534"/>
              <a:gd name="T79" fmla="*/ 2147483647 h 508"/>
              <a:gd name="T80" fmla="*/ 2147483647 w 534"/>
              <a:gd name="T81" fmla="*/ 2147483647 h 508"/>
              <a:gd name="T82" fmla="*/ 2147483647 w 534"/>
              <a:gd name="T83" fmla="*/ 2147483647 h 508"/>
              <a:gd name="T84" fmla="*/ 2147483647 w 534"/>
              <a:gd name="T85" fmla="*/ 2147483647 h 508"/>
              <a:gd name="T86" fmla="*/ 0 w 534"/>
              <a:gd name="T87" fmla="*/ 2147483647 h 50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4"/>
              <a:gd name="T133" fmla="*/ 0 h 508"/>
              <a:gd name="T134" fmla="*/ 534 w 534"/>
              <a:gd name="T135" fmla="*/ 508 h 50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4" h="508">
                <a:moveTo>
                  <a:pt x="0" y="148"/>
                </a:moveTo>
                <a:lnTo>
                  <a:pt x="0" y="144"/>
                </a:lnTo>
                <a:lnTo>
                  <a:pt x="0" y="139"/>
                </a:lnTo>
                <a:lnTo>
                  <a:pt x="5" y="115"/>
                </a:lnTo>
                <a:lnTo>
                  <a:pt x="15" y="86"/>
                </a:lnTo>
                <a:lnTo>
                  <a:pt x="29" y="67"/>
                </a:lnTo>
                <a:lnTo>
                  <a:pt x="44" y="57"/>
                </a:lnTo>
                <a:lnTo>
                  <a:pt x="59" y="53"/>
                </a:lnTo>
                <a:lnTo>
                  <a:pt x="70" y="53"/>
                </a:lnTo>
                <a:lnTo>
                  <a:pt x="74" y="48"/>
                </a:lnTo>
                <a:lnTo>
                  <a:pt x="83" y="38"/>
                </a:lnTo>
                <a:lnTo>
                  <a:pt x="98" y="15"/>
                </a:lnTo>
                <a:lnTo>
                  <a:pt x="109" y="0"/>
                </a:lnTo>
                <a:lnTo>
                  <a:pt x="113" y="0"/>
                </a:lnTo>
                <a:lnTo>
                  <a:pt x="124" y="0"/>
                </a:lnTo>
                <a:lnTo>
                  <a:pt x="133" y="15"/>
                </a:lnTo>
                <a:lnTo>
                  <a:pt x="143" y="34"/>
                </a:lnTo>
                <a:lnTo>
                  <a:pt x="152" y="57"/>
                </a:lnTo>
                <a:lnTo>
                  <a:pt x="168" y="76"/>
                </a:lnTo>
                <a:lnTo>
                  <a:pt x="183" y="101"/>
                </a:lnTo>
                <a:lnTo>
                  <a:pt x="187" y="110"/>
                </a:lnTo>
                <a:lnTo>
                  <a:pt x="193" y="115"/>
                </a:lnTo>
                <a:lnTo>
                  <a:pt x="198" y="120"/>
                </a:lnTo>
                <a:lnTo>
                  <a:pt x="208" y="124"/>
                </a:lnTo>
                <a:lnTo>
                  <a:pt x="228" y="124"/>
                </a:lnTo>
                <a:lnTo>
                  <a:pt x="262" y="120"/>
                </a:lnTo>
                <a:lnTo>
                  <a:pt x="282" y="115"/>
                </a:lnTo>
                <a:lnTo>
                  <a:pt x="297" y="110"/>
                </a:lnTo>
                <a:lnTo>
                  <a:pt x="321" y="105"/>
                </a:lnTo>
                <a:lnTo>
                  <a:pt x="336" y="95"/>
                </a:lnTo>
                <a:lnTo>
                  <a:pt x="351" y="86"/>
                </a:lnTo>
                <a:lnTo>
                  <a:pt x="366" y="76"/>
                </a:lnTo>
                <a:lnTo>
                  <a:pt x="386" y="67"/>
                </a:lnTo>
                <a:lnTo>
                  <a:pt x="401" y="53"/>
                </a:lnTo>
                <a:lnTo>
                  <a:pt x="406" y="48"/>
                </a:lnTo>
                <a:lnTo>
                  <a:pt x="406" y="43"/>
                </a:lnTo>
                <a:lnTo>
                  <a:pt x="410" y="38"/>
                </a:lnTo>
                <a:lnTo>
                  <a:pt x="425" y="19"/>
                </a:lnTo>
                <a:lnTo>
                  <a:pt x="430" y="15"/>
                </a:lnTo>
                <a:lnTo>
                  <a:pt x="440" y="15"/>
                </a:lnTo>
                <a:lnTo>
                  <a:pt x="445" y="23"/>
                </a:lnTo>
                <a:lnTo>
                  <a:pt x="455" y="43"/>
                </a:lnTo>
                <a:lnTo>
                  <a:pt x="464" y="67"/>
                </a:lnTo>
                <a:lnTo>
                  <a:pt x="470" y="82"/>
                </a:lnTo>
                <a:lnTo>
                  <a:pt x="475" y="91"/>
                </a:lnTo>
                <a:lnTo>
                  <a:pt x="475" y="101"/>
                </a:lnTo>
                <a:lnTo>
                  <a:pt x="480" y="105"/>
                </a:lnTo>
                <a:lnTo>
                  <a:pt x="534" y="177"/>
                </a:lnTo>
                <a:lnTo>
                  <a:pt x="529" y="177"/>
                </a:lnTo>
                <a:lnTo>
                  <a:pt x="524" y="181"/>
                </a:lnTo>
                <a:lnTo>
                  <a:pt x="519" y="191"/>
                </a:lnTo>
                <a:lnTo>
                  <a:pt x="509" y="221"/>
                </a:lnTo>
                <a:lnTo>
                  <a:pt x="504" y="225"/>
                </a:lnTo>
                <a:lnTo>
                  <a:pt x="504" y="230"/>
                </a:lnTo>
                <a:lnTo>
                  <a:pt x="499" y="235"/>
                </a:lnTo>
                <a:lnTo>
                  <a:pt x="495" y="240"/>
                </a:lnTo>
                <a:lnTo>
                  <a:pt x="490" y="254"/>
                </a:lnTo>
                <a:lnTo>
                  <a:pt x="490" y="263"/>
                </a:lnTo>
                <a:lnTo>
                  <a:pt x="495" y="278"/>
                </a:lnTo>
                <a:lnTo>
                  <a:pt x="495" y="292"/>
                </a:lnTo>
                <a:lnTo>
                  <a:pt x="495" y="307"/>
                </a:lnTo>
                <a:lnTo>
                  <a:pt x="495" y="311"/>
                </a:lnTo>
                <a:lnTo>
                  <a:pt x="509" y="345"/>
                </a:lnTo>
                <a:lnTo>
                  <a:pt x="499" y="340"/>
                </a:lnTo>
                <a:lnTo>
                  <a:pt x="495" y="340"/>
                </a:lnTo>
                <a:lnTo>
                  <a:pt x="495" y="349"/>
                </a:lnTo>
                <a:lnTo>
                  <a:pt x="490" y="364"/>
                </a:lnTo>
                <a:lnTo>
                  <a:pt x="475" y="402"/>
                </a:lnTo>
                <a:lnTo>
                  <a:pt x="470" y="416"/>
                </a:lnTo>
                <a:lnTo>
                  <a:pt x="470" y="422"/>
                </a:lnTo>
                <a:lnTo>
                  <a:pt x="464" y="465"/>
                </a:lnTo>
                <a:lnTo>
                  <a:pt x="464" y="469"/>
                </a:lnTo>
                <a:lnTo>
                  <a:pt x="460" y="479"/>
                </a:lnTo>
                <a:lnTo>
                  <a:pt x="455" y="484"/>
                </a:lnTo>
                <a:lnTo>
                  <a:pt x="449" y="489"/>
                </a:lnTo>
                <a:lnTo>
                  <a:pt x="430" y="494"/>
                </a:lnTo>
                <a:lnTo>
                  <a:pt x="425" y="494"/>
                </a:lnTo>
                <a:lnTo>
                  <a:pt x="430" y="489"/>
                </a:lnTo>
                <a:lnTo>
                  <a:pt x="430" y="475"/>
                </a:lnTo>
                <a:lnTo>
                  <a:pt x="430" y="460"/>
                </a:lnTo>
                <a:lnTo>
                  <a:pt x="421" y="450"/>
                </a:lnTo>
                <a:lnTo>
                  <a:pt x="415" y="450"/>
                </a:lnTo>
                <a:lnTo>
                  <a:pt x="410" y="456"/>
                </a:lnTo>
                <a:lnTo>
                  <a:pt x="395" y="475"/>
                </a:lnTo>
                <a:lnTo>
                  <a:pt x="395" y="479"/>
                </a:lnTo>
                <a:lnTo>
                  <a:pt x="395" y="484"/>
                </a:lnTo>
                <a:lnTo>
                  <a:pt x="375" y="479"/>
                </a:lnTo>
                <a:lnTo>
                  <a:pt x="371" y="484"/>
                </a:lnTo>
                <a:lnTo>
                  <a:pt x="360" y="489"/>
                </a:lnTo>
                <a:lnTo>
                  <a:pt x="351" y="498"/>
                </a:lnTo>
                <a:lnTo>
                  <a:pt x="341" y="508"/>
                </a:lnTo>
                <a:lnTo>
                  <a:pt x="336" y="508"/>
                </a:lnTo>
                <a:lnTo>
                  <a:pt x="332" y="503"/>
                </a:lnTo>
                <a:lnTo>
                  <a:pt x="326" y="498"/>
                </a:lnTo>
                <a:lnTo>
                  <a:pt x="326" y="484"/>
                </a:lnTo>
                <a:lnTo>
                  <a:pt x="321" y="475"/>
                </a:lnTo>
                <a:lnTo>
                  <a:pt x="311" y="469"/>
                </a:lnTo>
                <a:lnTo>
                  <a:pt x="291" y="465"/>
                </a:lnTo>
                <a:lnTo>
                  <a:pt x="276" y="456"/>
                </a:lnTo>
                <a:lnTo>
                  <a:pt x="262" y="441"/>
                </a:lnTo>
                <a:lnTo>
                  <a:pt x="237" y="427"/>
                </a:lnTo>
                <a:lnTo>
                  <a:pt x="217" y="412"/>
                </a:lnTo>
                <a:lnTo>
                  <a:pt x="198" y="398"/>
                </a:lnTo>
                <a:lnTo>
                  <a:pt x="187" y="388"/>
                </a:lnTo>
                <a:lnTo>
                  <a:pt x="183" y="383"/>
                </a:lnTo>
                <a:lnTo>
                  <a:pt x="173" y="379"/>
                </a:lnTo>
                <a:lnTo>
                  <a:pt x="158" y="379"/>
                </a:lnTo>
                <a:lnTo>
                  <a:pt x="143" y="383"/>
                </a:lnTo>
                <a:lnTo>
                  <a:pt x="128" y="393"/>
                </a:lnTo>
                <a:lnTo>
                  <a:pt x="124" y="388"/>
                </a:lnTo>
                <a:lnTo>
                  <a:pt x="113" y="383"/>
                </a:lnTo>
                <a:lnTo>
                  <a:pt x="109" y="374"/>
                </a:lnTo>
                <a:lnTo>
                  <a:pt x="104" y="360"/>
                </a:lnTo>
                <a:lnTo>
                  <a:pt x="74" y="340"/>
                </a:lnTo>
                <a:lnTo>
                  <a:pt x="70" y="336"/>
                </a:lnTo>
                <a:lnTo>
                  <a:pt x="59" y="321"/>
                </a:lnTo>
                <a:lnTo>
                  <a:pt x="54" y="297"/>
                </a:lnTo>
                <a:lnTo>
                  <a:pt x="54" y="269"/>
                </a:lnTo>
                <a:lnTo>
                  <a:pt x="59" y="240"/>
                </a:lnTo>
                <a:lnTo>
                  <a:pt x="59" y="221"/>
                </a:lnTo>
                <a:lnTo>
                  <a:pt x="59" y="211"/>
                </a:lnTo>
                <a:lnTo>
                  <a:pt x="59" y="206"/>
                </a:lnTo>
                <a:lnTo>
                  <a:pt x="59" y="202"/>
                </a:lnTo>
                <a:lnTo>
                  <a:pt x="59" y="187"/>
                </a:lnTo>
                <a:lnTo>
                  <a:pt x="54" y="177"/>
                </a:lnTo>
                <a:lnTo>
                  <a:pt x="44" y="172"/>
                </a:lnTo>
                <a:lnTo>
                  <a:pt x="29" y="177"/>
                </a:lnTo>
                <a:lnTo>
                  <a:pt x="15" y="181"/>
                </a:lnTo>
                <a:lnTo>
                  <a:pt x="5" y="181"/>
                </a:lnTo>
                <a:lnTo>
                  <a:pt x="0" y="172"/>
                </a:lnTo>
                <a:lnTo>
                  <a:pt x="0" y="158"/>
                </a:lnTo>
                <a:lnTo>
                  <a:pt x="0" y="148"/>
                </a:lnTo>
                <a:close/>
              </a:path>
            </a:pathLst>
          </a:custGeom>
          <a:solidFill>
            <a:srgbClr val="005027"/>
          </a:solidFill>
          <a:ln w="9525">
            <a:solidFill>
              <a:schemeClr val="bg1"/>
            </a:solidFill>
            <a:round/>
            <a:headEnd/>
            <a:tailEnd/>
          </a:ln>
        </p:spPr>
        <p:txBody>
          <a:bodyPr/>
          <a:lstStyle/>
          <a:p>
            <a:endParaRPr lang="ro-RO"/>
          </a:p>
        </p:txBody>
      </p:sp>
      <p:sp>
        <p:nvSpPr>
          <p:cNvPr id="12297" name="Freeform 5"/>
          <p:cNvSpPr>
            <a:spLocks/>
          </p:cNvSpPr>
          <p:nvPr/>
        </p:nvSpPr>
        <p:spPr bwMode="auto">
          <a:xfrm>
            <a:off x="4395788" y="3087688"/>
            <a:ext cx="790575" cy="808037"/>
          </a:xfrm>
          <a:custGeom>
            <a:avLst/>
            <a:gdLst>
              <a:gd name="T0" fmla="*/ 2147483647 w 615"/>
              <a:gd name="T1" fmla="*/ 2147483647 h 584"/>
              <a:gd name="T2" fmla="*/ 2147483647 w 615"/>
              <a:gd name="T3" fmla="*/ 2147483647 h 584"/>
              <a:gd name="T4" fmla="*/ 2147483647 w 615"/>
              <a:gd name="T5" fmla="*/ 2147483647 h 584"/>
              <a:gd name="T6" fmla="*/ 2147483647 w 615"/>
              <a:gd name="T7" fmla="*/ 2147483647 h 584"/>
              <a:gd name="T8" fmla="*/ 2147483647 w 615"/>
              <a:gd name="T9" fmla="*/ 2147483647 h 584"/>
              <a:gd name="T10" fmla="*/ 2147483647 w 615"/>
              <a:gd name="T11" fmla="*/ 2147483647 h 584"/>
              <a:gd name="T12" fmla="*/ 2147483647 w 615"/>
              <a:gd name="T13" fmla="*/ 2147483647 h 584"/>
              <a:gd name="T14" fmla="*/ 2147483647 w 615"/>
              <a:gd name="T15" fmla="*/ 2147483647 h 584"/>
              <a:gd name="T16" fmla="*/ 2147483647 w 615"/>
              <a:gd name="T17" fmla="*/ 2147483647 h 584"/>
              <a:gd name="T18" fmla="*/ 2147483647 w 615"/>
              <a:gd name="T19" fmla="*/ 2147483647 h 584"/>
              <a:gd name="T20" fmla="*/ 2147483647 w 615"/>
              <a:gd name="T21" fmla="*/ 2147483647 h 584"/>
              <a:gd name="T22" fmla="*/ 2147483647 w 615"/>
              <a:gd name="T23" fmla="*/ 0 h 584"/>
              <a:gd name="T24" fmla="*/ 2147483647 w 615"/>
              <a:gd name="T25" fmla="*/ 2147483647 h 584"/>
              <a:gd name="T26" fmla="*/ 2147483647 w 615"/>
              <a:gd name="T27" fmla="*/ 2147483647 h 584"/>
              <a:gd name="T28" fmla="*/ 2147483647 w 615"/>
              <a:gd name="T29" fmla="*/ 2147483647 h 584"/>
              <a:gd name="T30" fmla="*/ 2147483647 w 615"/>
              <a:gd name="T31" fmla="*/ 2147483647 h 584"/>
              <a:gd name="T32" fmla="*/ 2147483647 w 615"/>
              <a:gd name="T33" fmla="*/ 2147483647 h 584"/>
              <a:gd name="T34" fmla="*/ 2147483647 w 615"/>
              <a:gd name="T35" fmla="*/ 2147483647 h 584"/>
              <a:gd name="T36" fmla="*/ 2147483647 w 615"/>
              <a:gd name="T37" fmla="*/ 2147483647 h 584"/>
              <a:gd name="T38" fmla="*/ 2147483647 w 615"/>
              <a:gd name="T39" fmla="*/ 2147483647 h 584"/>
              <a:gd name="T40" fmla="*/ 2147483647 w 615"/>
              <a:gd name="T41" fmla="*/ 2147483647 h 584"/>
              <a:gd name="T42" fmla="*/ 2147483647 w 615"/>
              <a:gd name="T43" fmla="*/ 2147483647 h 584"/>
              <a:gd name="T44" fmla="*/ 2147483647 w 615"/>
              <a:gd name="T45" fmla="*/ 2147483647 h 584"/>
              <a:gd name="T46" fmla="*/ 2147483647 w 615"/>
              <a:gd name="T47" fmla="*/ 2147483647 h 584"/>
              <a:gd name="T48" fmla="*/ 2147483647 w 615"/>
              <a:gd name="T49" fmla="*/ 2147483647 h 584"/>
              <a:gd name="T50" fmla="*/ 2147483647 w 615"/>
              <a:gd name="T51" fmla="*/ 2147483647 h 584"/>
              <a:gd name="T52" fmla="*/ 2147483647 w 615"/>
              <a:gd name="T53" fmla="*/ 2147483647 h 584"/>
              <a:gd name="T54" fmla="*/ 2147483647 w 615"/>
              <a:gd name="T55" fmla="*/ 2147483647 h 584"/>
              <a:gd name="T56" fmla="*/ 2147483647 w 615"/>
              <a:gd name="T57" fmla="*/ 2147483647 h 584"/>
              <a:gd name="T58" fmla="*/ 2147483647 w 615"/>
              <a:gd name="T59" fmla="*/ 2147483647 h 584"/>
              <a:gd name="T60" fmla="*/ 2147483647 w 615"/>
              <a:gd name="T61" fmla="*/ 2147483647 h 584"/>
              <a:gd name="T62" fmla="*/ 2147483647 w 615"/>
              <a:gd name="T63" fmla="*/ 2147483647 h 584"/>
              <a:gd name="T64" fmla="*/ 2147483647 w 615"/>
              <a:gd name="T65" fmla="*/ 2147483647 h 584"/>
              <a:gd name="T66" fmla="*/ 2147483647 w 615"/>
              <a:gd name="T67" fmla="*/ 2147483647 h 584"/>
              <a:gd name="T68" fmla="*/ 2147483647 w 615"/>
              <a:gd name="T69" fmla="*/ 2147483647 h 584"/>
              <a:gd name="T70" fmla="*/ 2147483647 w 615"/>
              <a:gd name="T71" fmla="*/ 2147483647 h 584"/>
              <a:gd name="T72" fmla="*/ 2147483647 w 615"/>
              <a:gd name="T73" fmla="*/ 2147483647 h 584"/>
              <a:gd name="T74" fmla="*/ 2147483647 w 615"/>
              <a:gd name="T75" fmla="*/ 2147483647 h 584"/>
              <a:gd name="T76" fmla="*/ 2147483647 w 615"/>
              <a:gd name="T77" fmla="*/ 2147483647 h 584"/>
              <a:gd name="T78" fmla="*/ 2147483647 w 615"/>
              <a:gd name="T79" fmla="*/ 2147483647 h 584"/>
              <a:gd name="T80" fmla="*/ 2147483647 w 615"/>
              <a:gd name="T81" fmla="*/ 2147483647 h 584"/>
              <a:gd name="T82" fmla="*/ 2147483647 w 615"/>
              <a:gd name="T83" fmla="*/ 2147483647 h 584"/>
              <a:gd name="T84" fmla="*/ 2147483647 w 615"/>
              <a:gd name="T85" fmla="*/ 2147483647 h 584"/>
              <a:gd name="T86" fmla="*/ 2147483647 w 615"/>
              <a:gd name="T87" fmla="*/ 2147483647 h 584"/>
              <a:gd name="T88" fmla="*/ 2147483647 w 615"/>
              <a:gd name="T89" fmla="*/ 2147483647 h 584"/>
              <a:gd name="T90" fmla="*/ 2147483647 w 615"/>
              <a:gd name="T91" fmla="*/ 2147483647 h 584"/>
              <a:gd name="T92" fmla="*/ 2147483647 w 615"/>
              <a:gd name="T93" fmla="*/ 2147483647 h 584"/>
              <a:gd name="T94" fmla="*/ 2147483647 w 615"/>
              <a:gd name="T95" fmla="*/ 2147483647 h 584"/>
              <a:gd name="T96" fmla="*/ 2147483647 w 615"/>
              <a:gd name="T97" fmla="*/ 2147483647 h 58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15"/>
              <a:gd name="T148" fmla="*/ 0 h 584"/>
              <a:gd name="T149" fmla="*/ 615 w 615"/>
              <a:gd name="T150" fmla="*/ 584 h 58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15" h="584">
                <a:moveTo>
                  <a:pt x="605" y="507"/>
                </a:moveTo>
                <a:lnTo>
                  <a:pt x="600" y="507"/>
                </a:lnTo>
                <a:lnTo>
                  <a:pt x="595" y="498"/>
                </a:lnTo>
                <a:lnTo>
                  <a:pt x="589" y="488"/>
                </a:lnTo>
                <a:lnTo>
                  <a:pt x="585" y="473"/>
                </a:lnTo>
                <a:lnTo>
                  <a:pt x="585" y="439"/>
                </a:lnTo>
                <a:lnTo>
                  <a:pt x="585" y="425"/>
                </a:lnTo>
                <a:lnTo>
                  <a:pt x="585" y="420"/>
                </a:lnTo>
                <a:lnTo>
                  <a:pt x="580" y="420"/>
                </a:lnTo>
                <a:lnTo>
                  <a:pt x="570" y="410"/>
                </a:lnTo>
                <a:lnTo>
                  <a:pt x="555" y="401"/>
                </a:lnTo>
                <a:lnTo>
                  <a:pt x="546" y="391"/>
                </a:lnTo>
                <a:lnTo>
                  <a:pt x="520" y="367"/>
                </a:lnTo>
                <a:lnTo>
                  <a:pt x="515" y="357"/>
                </a:lnTo>
                <a:lnTo>
                  <a:pt x="511" y="353"/>
                </a:lnTo>
                <a:lnTo>
                  <a:pt x="496" y="323"/>
                </a:lnTo>
                <a:lnTo>
                  <a:pt x="481" y="266"/>
                </a:lnTo>
                <a:lnTo>
                  <a:pt x="441" y="179"/>
                </a:lnTo>
                <a:lnTo>
                  <a:pt x="426" y="141"/>
                </a:lnTo>
                <a:lnTo>
                  <a:pt x="426" y="135"/>
                </a:lnTo>
                <a:lnTo>
                  <a:pt x="426" y="126"/>
                </a:lnTo>
                <a:lnTo>
                  <a:pt x="431" y="116"/>
                </a:lnTo>
                <a:lnTo>
                  <a:pt x="451" y="107"/>
                </a:lnTo>
                <a:lnTo>
                  <a:pt x="470" y="97"/>
                </a:lnTo>
                <a:lnTo>
                  <a:pt x="485" y="87"/>
                </a:lnTo>
                <a:lnTo>
                  <a:pt x="496" y="82"/>
                </a:lnTo>
                <a:lnTo>
                  <a:pt x="496" y="78"/>
                </a:lnTo>
                <a:lnTo>
                  <a:pt x="496" y="73"/>
                </a:lnTo>
                <a:lnTo>
                  <a:pt x="505" y="63"/>
                </a:lnTo>
                <a:lnTo>
                  <a:pt x="520" y="54"/>
                </a:lnTo>
                <a:lnTo>
                  <a:pt x="540" y="54"/>
                </a:lnTo>
                <a:lnTo>
                  <a:pt x="546" y="54"/>
                </a:lnTo>
                <a:lnTo>
                  <a:pt x="550" y="54"/>
                </a:lnTo>
                <a:lnTo>
                  <a:pt x="561" y="49"/>
                </a:lnTo>
                <a:lnTo>
                  <a:pt x="565" y="10"/>
                </a:lnTo>
                <a:lnTo>
                  <a:pt x="520" y="0"/>
                </a:lnTo>
                <a:lnTo>
                  <a:pt x="496" y="25"/>
                </a:lnTo>
                <a:lnTo>
                  <a:pt x="485" y="20"/>
                </a:lnTo>
                <a:lnTo>
                  <a:pt x="481" y="15"/>
                </a:lnTo>
                <a:lnTo>
                  <a:pt x="470" y="10"/>
                </a:lnTo>
                <a:lnTo>
                  <a:pt x="451" y="15"/>
                </a:lnTo>
                <a:lnTo>
                  <a:pt x="426" y="20"/>
                </a:lnTo>
                <a:lnTo>
                  <a:pt x="396" y="25"/>
                </a:lnTo>
                <a:lnTo>
                  <a:pt x="387" y="25"/>
                </a:lnTo>
                <a:lnTo>
                  <a:pt x="381" y="29"/>
                </a:lnTo>
                <a:lnTo>
                  <a:pt x="376" y="34"/>
                </a:lnTo>
                <a:lnTo>
                  <a:pt x="367" y="40"/>
                </a:lnTo>
                <a:lnTo>
                  <a:pt x="333" y="54"/>
                </a:lnTo>
                <a:lnTo>
                  <a:pt x="298" y="68"/>
                </a:lnTo>
                <a:lnTo>
                  <a:pt x="287" y="73"/>
                </a:lnTo>
                <a:lnTo>
                  <a:pt x="277" y="78"/>
                </a:lnTo>
                <a:lnTo>
                  <a:pt x="263" y="78"/>
                </a:lnTo>
                <a:lnTo>
                  <a:pt x="242" y="82"/>
                </a:lnTo>
                <a:lnTo>
                  <a:pt x="228" y="87"/>
                </a:lnTo>
                <a:lnTo>
                  <a:pt x="213" y="87"/>
                </a:lnTo>
                <a:lnTo>
                  <a:pt x="193" y="73"/>
                </a:lnTo>
                <a:lnTo>
                  <a:pt x="188" y="73"/>
                </a:lnTo>
                <a:lnTo>
                  <a:pt x="174" y="73"/>
                </a:lnTo>
                <a:lnTo>
                  <a:pt x="139" y="78"/>
                </a:lnTo>
                <a:lnTo>
                  <a:pt x="118" y="82"/>
                </a:lnTo>
                <a:lnTo>
                  <a:pt x="104" y="87"/>
                </a:lnTo>
                <a:lnTo>
                  <a:pt x="104" y="92"/>
                </a:lnTo>
                <a:lnTo>
                  <a:pt x="104" y="102"/>
                </a:lnTo>
                <a:lnTo>
                  <a:pt x="104" y="116"/>
                </a:lnTo>
                <a:lnTo>
                  <a:pt x="104" y="131"/>
                </a:lnTo>
                <a:lnTo>
                  <a:pt x="94" y="141"/>
                </a:lnTo>
                <a:lnTo>
                  <a:pt x="83" y="141"/>
                </a:lnTo>
                <a:lnTo>
                  <a:pt x="59" y="121"/>
                </a:lnTo>
                <a:lnTo>
                  <a:pt x="49" y="116"/>
                </a:lnTo>
                <a:lnTo>
                  <a:pt x="44" y="116"/>
                </a:lnTo>
                <a:lnTo>
                  <a:pt x="39" y="116"/>
                </a:lnTo>
                <a:lnTo>
                  <a:pt x="35" y="121"/>
                </a:lnTo>
                <a:lnTo>
                  <a:pt x="29" y="131"/>
                </a:lnTo>
                <a:lnTo>
                  <a:pt x="20" y="160"/>
                </a:lnTo>
                <a:lnTo>
                  <a:pt x="14" y="164"/>
                </a:lnTo>
                <a:lnTo>
                  <a:pt x="14" y="169"/>
                </a:lnTo>
                <a:lnTo>
                  <a:pt x="9" y="175"/>
                </a:lnTo>
                <a:lnTo>
                  <a:pt x="5" y="179"/>
                </a:lnTo>
                <a:lnTo>
                  <a:pt x="0" y="194"/>
                </a:lnTo>
                <a:lnTo>
                  <a:pt x="0" y="203"/>
                </a:lnTo>
                <a:lnTo>
                  <a:pt x="5" y="218"/>
                </a:lnTo>
                <a:lnTo>
                  <a:pt x="5" y="232"/>
                </a:lnTo>
                <a:lnTo>
                  <a:pt x="5" y="247"/>
                </a:lnTo>
                <a:lnTo>
                  <a:pt x="5" y="251"/>
                </a:lnTo>
                <a:lnTo>
                  <a:pt x="20" y="285"/>
                </a:lnTo>
                <a:lnTo>
                  <a:pt x="44" y="304"/>
                </a:lnTo>
                <a:lnTo>
                  <a:pt x="49" y="310"/>
                </a:lnTo>
                <a:lnTo>
                  <a:pt x="49" y="314"/>
                </a:lnTo>
                <a:lnTo>
                  <a:pt x="59" y="363"/>
                </a:lnTo>
                <a:lnTo>
                  <a:pt x="64" y="372"/>
                </a:lnTo>
                <a:lnTo>
                  <a:pt x="74" y="386"/>
                </a:lnTo>
                <a:lnTo>
                  <a:pt x="94" y="410"/>
                </a:lnTo>
                <a:lnTo>
                  <a:pt x="104" y="425"/>
                </a:lnTo>
                <a:lnTo>
                  <a:pt x="114" y="435"/>
                </a:lnTo>
                <a:lnTo>
                  <a:pt x="124" y="439"/>
                </a:lnTo>
                <a:lnTo>
                  <a:pt x="133" y="435"/>
                </a:lnTo>
                <a:lnTo>
                  <a:pt x="148" y="425"/>
                </a:lnTo>
                <a:lnTo>
                  <a:pt x="168" y="420"/>
                </a:lnTo>
                <a:lnTo>
                  <a:pt x="174" y="425"/>
                </a:lnTo>
                <a:lnTo>
                  <a:pt x="183" y="435"/>
                </a:lnTo>
                <a:lnTo>
                  <a:pt x="188" y="444"/>
                </a:lnTo>
                <a:lnTo>
                  <a:pt x="198" y="454"/>
                </a:lnTo>
                <a:lnTo>
                  <a:pt x="218" y="468"/>
                </a:lnTo>
                <a:lnTo>
                  <a:pt x="228" y="478"/>
                </a:lnTo>
                <a:lnTo>
                  <a:pt x="238" y="483"/>
                </a:lnTo>
                <a:lnTo>
                  <a:pt x="252" y="483"/>
                </a:lnTo>
                <a:lnTo>
                  <a:pt x="272" y="483"/>
                </a:lnTo>
                <a:lnTo>
                  <a:pt x="277" y="483"/>
                </a:lnTo>
                <a:lnTo>
                  <a:pt x="283" y="483"/>
                </a:lnTo>
                <a:lnTo>
                  <a:pt x="287" y="488"/>
                </a:lnTo>
                <a:lnTo>
                  <a:pt x="302" y="498"/>
                </a:lnTo>
                <a:lnTo>
                  <a:pt x="322" y="507"/>
                </a:lnTo>
                <a:lnTo>
                  <a:pt x="333" y="517"/>
                </a:lnTo>
                <a:lnTo>
                  <a:pt x="346" y="526"/>
                </a:lnTo>
                <a:lnTo>
                  <a:pt x="357" y="526"/>
                </a:lnTo>
                <a:lnTo>
                  <a:pt x="361" y="521"/>
                </a:lnTo>
                <a:lnTo>
                  <a:pt x="372" y="517"/>
                </a:lnTo>
                <a:lnTo>
                  <a:pt x="376" y="511"/>
                </a:lnTo>
                <a:lnTo>
                  <a:pt x="381" y="521"/>
                </a:lnTo>
                <a:lnTo>
                  <a:pt x="381" y="532"/>
                </a:lnTo>
                <a:lnTo>
                  <a:pt x="387" y="541"/>
                </a:lnTo>
                <a:lnTo>
                  <a:pt x="392" y="545"/>
                </a:lnTo>
                <a:lnTo>
                  <a:pt x="402" y="545"/>
                </a:lnTo>
                <a:lnTo>
                  <a:pt x="411" y="541"/>
                </a:lnTo>
                <a:lnTo>
                  <a:pt x="416" y="536"/>
                </a:lnTo>
                <a:lnTo>
                  <a:pt x="426" y="536"/>
                </a:lnTo>
                <a:lnTo>
                  <a:pt x="437" y="541"/>
                </a:lnTo>
                <a:lnTo>
                  <a:pt x="451" y="541"/>
                </a:lnTo>
                <a:lnTo>
                  <a:pt x="461" y="545"/>
                </a:lnTo>
                <a:lnTo>
                  <a:pt x="461" y="555"/>
                </a:lnTo>
                <a:lnTo>
                  <a:pt x="461" y="565"/>
                </a:lnTo>
                <a:lnTo>
                  <a:pt x="466" y="579"/>
                </a:lnTo>
                <a:lnTo>
                  <a:pt x="476" y="584"/>
                </a:lnTo>
                <a:lnTo>
                  <a:pt x="485" y="584"/>
                </a:lnTo>
                <a:lnTo>
                  <a:pt x="511" y="579"/>
                </a:lnTo>
                <a:lnTo>
                  <a:pt x="535" y="570"/>
                </a:lnTo>
                <a:lnTo>
                  <a:pt x="540" y="565"/>
                </a:lnTo>
                <a:lnTo>
                  <a:pt x="546" y="565"/>
                </a:lnTo>
                <a:lnTo>
                  <a:pt x="550" y="560"/>
                </a:lnTo>
                <a:lnTo>
                  <a:pt x="561" y="551"/>
                </a:lnTo>
                <a:lnTo>
                  <a:pt x="575" y="541"/>
                </a:lnTo>
                <a:lnTo>
                  <a:pt x="585" y="526"/>
                </a:lnTo>
                <a:lnTo>
                  <a:pt x="589" y="517"/>
                </a:lnTo>
                <a:lnTo>
                  <a:pt x="600" y="511"/>
                </a:lnTo>
                <a:lnTo>
                  <a:pt x="609" y="507"/>
                </a:lnTo>
                <a:lnTo>
                  <a:pt x="615" y="507"/>
                </a:lnTo>
                <a:lnTo>
                  <a:pt x="605" y="507"/>
                </a:lnTo>
                <a:close/>
              </a:path>
            </a:pathLst>
          </a:custGeom>
          <a:solidFill>
            <a:srgbClr val="005027"/>
          </a:solidFill>
          <a:ln w="9525">
            <a:solidFill>
              <a:schemeClr val="bg1"/>
            </a:solidFill>
            <a:round/>
            <a:headEnd/>
            <a:tailEnd/>
          </a:ln>
        </p:spPr>
        <p:txBody>
          <a:bodyPr/>
          <a:lstStyle/>
          <a:p>
            <a:endParaRPr lang="ro-RO"/>
          </a:p>
        </p:txBody>
      </p:sp>
      <p:sp>
        <p:nvSpPr>
          <p:cNvPr id="12298" name="Freeform 6"/>
          <p:cNvSpPr>
            <a:spLocks/>
          </p:cNvSpPr>
          <p:nvPr/>
        </p:nvSpPr>
        <p:spPr bwMode="auto">
          <a:xfrm>
            <a:off x="4113213" y="2449513"/>
            <a:ext cx="1020762" cy="828675"/>
          </a:xfrm>
          <a:custGeom>
            <a:avLst/>
            <a:gdLst>
              <a:gd name="T0" fmla="*/ 2147483647 w 793"/>
              <a:gd name="T1" fmla="*/ 2147483647 h 600"/>
              <a:gd name="T2" fmla="*/ 2147483647 w 793"/>
              <a:gd name="T3" fmla="*/ 2147483647 h 600"/>
              <a:gd name="T4" fmla="*/ 2147483647 w 793"/>
              <a:gd name="T5" fmla="*/ 2147483647 h 600"/>
              <a:gd name="T6" fmla="*/ 2147483647 w 793"/>
              <a:gd name="T7" fmla="*/ 2147483647 h 600"/>
              <a:gd name="T8" fmla="*/ 2147483647 w 793"/>
              <a:gd name="T9" fmla="*/ 2147483647 h 600"/>
              <a:gd name="T10" fmla="*/ 2147483647 w 793"/>
              <a:gd name="T11" fmla="*/ 2147483647 h 600"/>
              <a:gd name="T12" fmla="*/ 2147483647 w 793"/>
              <a:gd name="T13" fmla="*/ 2147483647 h 600"/>
              <a:gd name="T14" fmla="*/ 2147483647 w 793"/>
              <a:gd name="T15" fmla="*/ 2147483647 h 600"/>
              <a:gd name="T16" fmla="*/ 2147483647 w 793"/>
              <a:gd name="T17" fmla="*/ 2147483647 h 600"/>
              <a:gd name="T18" fmla="*/ 2147483647 w 793"/>
              <a:gd name="T19" fmla="*/ 2147483647 h 600"/>
              <a:gd name="T20" fmla="*/ 2147483647 w 793"/>
              <a:gd name="T21" fmla="*/ 2147483647 h 600"/>
              <a:gd name="T22" fmla="*/ 2147483647 w 793"/>
              <a:gd name="T23" fmla="*/ 2147483647 h 600"/>
              <a:gd name="T24" fmla="*/ 2147483647 w 793"/>
              <a:gd name="T25" fmla="*/ 2147483647 h 600"/>
              <a:gd name="T26" fmla="*/ 2147483647 w 793"/>
              <a:gd name="T27" fmla="*/ 2147483647 h 600"/>
              <a:gd name="T28" fmla="*/ 2147483647 w 793"/>
              <a:gd name="T29" fmla="*/ 2147483647 h 600"/>
              <a:gd name="T30" fmla="*/ 2147483647 w 793"/>
              <a:gd name="T31" fmla="*/ 2147483647 h 600"/>
              <a:gd name="T32" fmla="*/ 2147483647 w 793"/>
              <a:gd name="T33" fmla="*/ 2147483647 h 600"/>
              <a:gd name="T34" fmla="*/ 2147483647 w 793"/>
              <a:gd name="T35" fmla="*/ 2147483647 h 600"/>
              <a:gd name="T36" fmla="*/ 2147483647 w 793"/>
              <a:gd name="T37" fmla="*/ 2147483647 h 600"/>
              <a:gd name="T38" fmla="*/ 2147483647 w 793"/>
              <a:gd name="T39" fmla="*/ 2147483647 h 600"/>
              <a:gd name="T40" fmla="*/ 2147483647 w 793"/>
              <a:gd name="T41" fmla="*/ 2147483647 h 600"/>
              <a:gd name="T42" fmla="*/ 2147483647 w 793"/>
              <a:gd name="T43" fmla="*/ 2147483647 h 600"/>
              <a:gd name="T44" fmla="*/ 2147483647 w 793"/>
              <a:gd name="T45" fmla="*/ 2147483647 h 600"/>
              <a:gd name="T46" fmla="*/ 2147483647 w 793"/>
              <a:gd name="T47" fmla="*/ 2147483647 h 600"/>
              <a:gd name="T48" fmla="*/ 2147483647 w 793"/>
              <a:gd name="T49" fmla="*/ 2147483647 h 600"/>
              <a:gd name="T50" fmla="*/ 2147483647 w 793"/>
              <a:gd name="T51" fmla="*/ 2147483647 h 600"/>
              <a:gd name="T52" fmla="*/ 2147483647 w 793"/>
              <a:gd name="T53" fmla="*/ 2147483647 h 600"/>
              <a:gd name="T54" fmla="*/ 2147483647 w 793"/>
              <a:gd name="T55" fmla="*/ 2147483647 h 600"/>
              <a:gd name="T56" fmla="*/ 2147483647 w 793"/>
              <a:gd name="T57" fmla="*/ 2147483647 h 600"/>
              <a:gd name="T58" fmla="*/ 2147483647 w 793"/>
              <a:gd name="T59" fmla="*/ 2147483647 h 600"/>
              <a:gd name="T60" fmla="*/ 2147483647 w 793"/>
              <a:gd name="T61" fmla="*/ 0 h 600"/>
              <a:gd name="T62" fmla="*/ 2147483647 w 793"/>
              <a:gd name="T63" fmla="*/ 2147483647 h 600"/>
              <a:gd name="T64" fmla="*/ 2147483647 w 793"/>
              <a:gd name="T65" fmla="*/ 2147483647 h 600"/>
              <a:gd name="T66" fmla="*/ 2147483647 w 793"/>
              <a:gd name="T67" fmla="*/ 2147483647 h 600"/>
              <a:gd name="T68" fmla="*/ 2147483647 w 793"/>
              <a:gd name="T69" fmla="*/ 2147483647 h 600"/>
              <a:gd name="T70" fmla="*/ 2147483647 w 793"/>
              <a:gd name="T71" fmla="*/ 2147483647 h 600"/>
              <a:gd name="T72" fmla="*/ 2147483647 w 793"/>
              <a:gd name="T73" fmla="*/ 2147483647 h 600"/>
              <a:gd name="T74" fmla="*/ 2147483647 w 793"/>
              <a:gd name="T75" fmla="*/ 2147483647 h 600"/>
              <a:gd name="T76" fmla="*/ 2147483647 w 793"/>
              <a:gd name="T77" fmla="*/ 2147483647 h 600"/>
              <a:gd name="T78" fmla="*/ 2147483647 w 793"/>
              <a:gd name="T79" fmla="*/ 2147483647 h 600"/>
              <a:gd name="T80" fmla="*/ 2147483647 w 793"/>
              <a:gd name="T81" fmla="*/ 2147483647 h 600"/>
              <a:gd name="T82" fmla="*/ 2147483647 w 793"/>
              <a:gd name="T83" fmla="*/ 2147483647 h 600"/>
              <a:gd name="T84" fmla="*/ 2147483647 w 793"/>
              <a:gd name="T85" fmla="*/ 2147483647 h 600"/>
              <a:gd name="T86" fmla="*/ 2147483647 w 793"/>
              <a:gd name="T87" fmla="*/ 2147483647 h 600"/>
              <a:gd name="T88" fmla="*/ 2147483647 w 793"/>
              <a:gd name="T89" fmla="*/ 2147483647 h 600"/>
              <a:gd name="T90" fmla="*/ 2147483647 w 793"/>
              <a:gd name="T91" fmla="*/ 2147483647 h 600"/>
              <a:gd name="T92" fmla="*/ 0 w 793"/>
              <a:gd name="T93" fmla="*/ 2147483647 h 600"/>
              <a:gd name="T94" fmla="*/ 2147483647 w 793"/>
              <a:gd name="T95" fmla="*/ 2147483647 h 600"/>
              <a:gd name="T96" fmla="*/ 2147483647 w 793"/>
              <a:gd name="T97" fmla="*/ 2147483647 h 600"/>
              <a:gd name="T98" fmla="*/ 2147483647 w 793"/>
              <a:gd name="T99" fmla="*/ 2147483647 h 600"/>
              <a:gd name="T100" fmla="*/ 2147483647 w 793"/>
              <a:gd name="T101" fmla="*/ 2147483647 h 600"/>
              <a:gd name="T102" fmla="*/ 2147483647 w 793"/>
              <a:gd name="T103" fmla="*/ 2147483647 h 600"/>
              <a:gd name="T104" fmla="*/ 2147483647 w 793"/>
              <a:gd name="T105" fmla="*/ 2147483647 h 600"/>
              <a:gd name="T106" fmla="*/ 2147483647 w 793"/>
              <a:gd name="T107" fmla="*/ 2147483647 h 600"/>
              <a:gd name="T108" fmla="*/ 2147483647 w 793"/>
              <a:gd name="T109" fmla="*/ 2147483647 h 600"/>
              <a:gd name="T110" fmla="*/ 2147483647 w 793"/>
              <a:gd name="T111" fmla="*/ 2147483647 h 600"/>
              <a:gd name="T112" fmla="*/ 2147483647 w 793"/>
              <a:gd name="T113" fmla="*/ 2147483647 h 600"/>
              <a:gd name="T114" fmla="*/ 2147483647 w 793"/>
              <a:gd name="T115" fmla="*/ 2147483647 h 600"/>
              <a:gd name="T116" fmla="*/ 2147483647 w 793"/>
              <a:gd name="T117" fmla="*/ 2147483647 h 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93"/>
              <a:gd name="T178" fmla="*/ 0 h 600"/>
              <a:gd name="T179" fmla="*/ 793 w 793"/>
              <a:gd name="T180" fmla="*/ 600 h 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93" h="600">
                <a:moveTo>
                  <a:pt x="144" y="431"/>
                </a:moveTo>
                <a:lnTo>
                  <a:pt x="154" y="421"/>
                </a:lnTo>
                <a:lnTo>
                  <a:pt x="165" y="417"/>
                </a:lnTo>
                <a:lnTo>
                  <a:pt x="174" y="421"/>
                </a:lnTo>
                <a:lnTo>
                  <a:pt x="179" y="425"/>
                </a:lnTo>
                <a:lnTo>
                  <a:pt x="185" y="440"/>
                </a:lnTo>
                <a:lnTo>
                  <a:pt x="194" y="465"/>
                </a:lnTo>
                <a:lnTo>
                  <a:pt x="200" y="480"/>
                </a:lnTo>
                <a:lnTo>
                  <a:pt x="204" y="489"/>
                </a:lnTo>
                <a:lnTo>
                  <a:pt x="204" y="499"/>
                </a:lnTo>
                <a:lnTo>
                  <a:pt x="209" y="503"/>
                </a:lnTo>
                <a:lnTo>
                  <a:pt x="263" y="575"/>
                </a:lnTo>
                <a:lnTo>
                  <a:pt x="268" y="575"/>
                </a:lnTo>
                <a:lnTo>
                  <a:pt x="278" y="580"/>
                </a:lnTo>
                <a:lnTo>
                  <a:pt x="303" y="600"/>
                </a:lnTo>
                <a:lnTo>
                  <a:pt x="313" y="600"/>
                </a:lnTo>
                <a:lnTo>
                  <a:pt x="323" y="590"/>
                </a:lnTo>
                <a:lnTo>
                  <a:pt x="323" y="575"/>
                </a:lnTo>
                <a:lnTo>
                  <a:pt x="323" y="561"/>
                </a:lnTo>
                <a:lnTo>
                  <a:pt x="323" y="552"/>
                </a:lnTo>
                <a:lnTo>
                  <a:pt x="323" y="546"/>
                </a:lnTo>
                <a:lnTo>
                  <a:pt x="337" y="542"/>
                </a:lnTo>
                <a:lnTo>
                  <a:pt x="358" y="537"/>
                </a:lnTo>
                <a:lnTo>
                  <a:pt x="393" y="533"/>
                </a:lnTo>
                <a:lnTo>
                  <a:pt x="407" y="533"/>
                </a:lnTo>
                <a:lnTo>
                  <a:pt x="413" y="533"/>
                </a:lnTo>
                <a:lnTo>
                  <a:pt x="432" y="546"/>
                </a:lnTo>
                <a:lnTo>
                  <a:pt x="447" y="546"/>
                </a:lnTo>
                <a:lnTo>
                  <a:pt x="461" y="542"/>
                </a:lnTo>
                <a:lnTo>
                  <a:pt x="482" y="537"/>
                </a:lnTo>
                <a:lnTo>
                  <a:pt x="496" y="537"/>
                </a:lnTo>
                <a:lnTo>
                  <a:pt x="506" y="533"/>
                </a:lnTo>
                <a:lnTo>
                  <a:pt x="517" y="527"/>
                </a:lnTo>
                <a:lnTo>
                  <a:pt x="552" y="513"/>
                </a:lnTo>
                <a:lnTo>
                  <a:pt x="586" y="499"/>
                </a:lnTo>
                <a:lnTo>
                  <a:pt x="595" y="493"/>
                </a:lnTo>
                <a:lnTo>
                  <a:pt x="600" y="489"/>
                </a:lnTo>
                <a:lnTo>
                  <a:pt x="606" y="484"/>
                </a:lnTo>
                <a:lnTo>
                  <a:pt x="615" y="484"/>
                </a:lnTo>
                <a:lnTo>
                  <a:pt x="645" y="480"/>
                </a:lnTo>
                <a:lnTo>
                  <a:pt x="670" y="474"/>
                </a:lnTo>
                <a:lnTo>
                  <a:pt x="689" y="470"/>
                </a:lnTo>
                <a:lnTo>
                  <a:pt x="700" y="474"/>
                </a:lnTo>
                <a:lnTo>
                  <a:pt x="704" y="480"/>
                </a:lnTo>
                <a:lnTo>
                  <a:pt x="715" y="484"/>
                </a:lnTo>
                <a:lnTo>
                  <a:pt x="739" y="459"/>
                </a:lnTo>
                <a:lnTo>
                  <a:pt x="784" y="470"/>
                </a:lnTo>
                <a:lnTo>
                  <a:pt x="789" y="465"/>
                </a:lnTo>
                <a:lnTo>
                  <a:pt x="793" y="455"/>
                </a:lnTo>
                <a:lnTo>
                  <a:pt x="793" y="440"/>
                </a:lnTo>
                <a:lnTo>
                  <a:pt x="793" y="421"/>
                </a:lnTo>
                <a:lnTo>
                  <a:pt x="789" y="397"/>
                </a:lnTo>
                <a:lnTo>
                  <a:pt x="780" y="368"/>
                </a:lnTo>
                <a:lnTo>
                  <a:pt x="769" y="334"/>
                </a:lnTo>
                <a:lnTo>
                  <a:pt x="759" y="310"/>
                </a:lnTo>
                <a:lnTo>
                  <a:pt x="754" y="286"/>
                </a:lnTo>
                <a:lnTo>
                  <a:pt x="745" y="271"/>
                </a:lnTo>
                <a:lnTo>
                  <a:pt x="739" y="252"/>
                </a:lnTo>
                <a:lnTo>
                  <a:pt x="734" y="248"/>
                </a:lnTo>
                <a:lnTo>
                  <a:pt x="730" y="237"/>
                </a:lnTo>
                <a:lnTo>
                  <a:pt x="724" y="218"/>
                </a:lnTo>
                <a:lnTo>
                  <a:pt x="710" y="195"/>
                </a:lnTo>
                <a:lnTo>
                  <a:pt x="700" y="175"/>
                </a:lnTo>
                <a:lnTo>
                  <a:pt x="685" y="165"/>
                </a:lnTo>
                <a:lnTo>
                  <a:pt x="680" y="156"/>
                </a:lnTo>
                <a:lnTo>
                  <a:pt x="670" y="150"/>
                </a:lnTo>
                <a:lnTo>
                  <a:pt x="670" y="146"/>
                </a:lnTo>
                <a:lnTo>
                  <a:pt x="675" y="141"/>
                </a:lnTo>
                <a:lnTo>
                  <a:pt x="685" y="131"/>
                </a:lnTo>
                <a:lnTo>
                  <a:pt x="689" y="127"/>
                </a:lnTo>
                <a:lnTo>
                  <a:pt x="685" y="117"/>
                </a:lnTo>
                <a:lnTo>
                  <a:pt x="675" y="93"/>
                </a:lnTo>
                <a:lnTo>
                  <a:pt x="656" y="68"/>
                </a:lnTo>
                <a:lnTo>
                  <a:pt x="650" y="64"/>
                </a:lnTo>
                <a:lnTo>
                  <a:pt x="645" y="59"/>
                </a:lnTo>
                <a:lnTo>
                  <a:pt x="640" y="59"/>
                </a:lnTo>
                <a:lnTo>
                  <a:pt x="635" y="59"/>
                </a:lnTo>
                <a:lnTo>
                  <a:pt x="621" y="59"/>
                </a:lnTo>
                <a:lnTo>
                  <a:pt x="606" y="64"/>
                </a:lnTo>
                <a:lnTo>
                  <a:pt x="591" y="68"/>
                </a:lnTo>
                <a:lnTo>
                  <a:pt x="576" y="59"/>
                </a:lnTo>
                <a:lnTo>
                  <a:pt x="561" y="49"/>
                </a:lnTo>
                <a:lnTo>
                  <a:pt x="546" y="40"/>
                </a:lnTo>
                <a:lnTo>
                  <a:pt x="531" y="40"/>
                </a:lnTo>
                <a:lnTo>
                  <a:pt x="526" y="40"/>
                </a:lnTo>
                <a:lnTo>
                  <a:pt x="517" y="45"/>
                </a:lnTo>
                <a:lnTo>
                  <a:pt x="506" y="49"/>
                </a:lnTo>
                <a:lnTo>
                  <a:pt x="491" y="49"/>
                </a:lnTo>
                <a:lnTo>
                  <a:pt x="482" y="45"/>
                </a:lnTo>
                <a:lnTo>
                  <a:pt x="471" y="34"/>
                </a:lnTo>
                <a:lnTo>
                  <a:pt x="467" y="21"/>
                </a:lnTo>
                <a:lnTo>
                  <a:pt x="461" y="6"/>
                </a:lnTo>
                <a:lnTo>
                  <a:pt x="457" y="0"/>
                </a:lnTo>
                <a:lnTo>
                  <a:pt x="452" y="6"/>
                </a:lnTo>
                <a:lnTo>
                  <a:pt x="442" y="15"/>
                </a:lnTo>
                <a:lnTo>
                  <a:pt x="432" y="30"/>
                </a:lnTo>
                <a:lnTo>
                  <a:pt x="428" y="45"/>
                </a:lnTo>
                <a:lnTo>
                  <a:pt x="428" y="59"/>
                </a:lnTo>
                <a:lnTo>
                  <a:pt x="428" y="68"/>
                </a:lnTo>
                <a:lnTo>
                  <a:pt x="428" y="78"/>
                </a:lnTo>
                <a:lnTo>
                  <a:pt x="417" y="78"/>
                </a:lnTo>
                <a:lnTo>
                  <a:pt x="407" y="74"/>
                </a:lnTo>
                <a:lnTo>
                  <a:pt x="393" y="68"/>
                </a:lnTo>
                <a:lnTo>
                  <a:pt x="383" y="64"/>
                </a:lnTo>
                <a:lnTo>
                  <a:pt x="378" y="59"/>
                </a:lnTo>
                <a:lnTo>
                  <a:pt x="372" y="59"/>
                </a:lnTo>
                <a:lnTo>
                  <a:pt x="358" y="68"/>
                </a:lnTo>
                <a:lnTo>
                  <a:pt x="333" y="98"/>
                </a:lnTo>
                <a:lnTo>
                  <a:pt x="323" y="102"/>
                </a:lnTo>
                <a:lnTo>
                  <a:pt x="318" y="108"/>
                </a:lnTo>
                <a:lnTo>
                  <a:pt x="318" y="112"/>
                </a:lnTo>
                <a:lnTo>
                  <a:pt x="318" y="122"/>
                </a:lnTo>
                <a:lnTo>
                  <a:pt x="309" y="127"/>
                </a:lnTo>
                <a:lnTo>
                  <a:pt x="298" y="122"/>
                </a:lnTo>
                <a:lnTo>
                  <a:pt x="283" y="117"/>
                </a:lnTo>
                <a:lnTo>
                  <a:pt x="274" y="112"/>
                </a:lnTo>
                <a:lnTo>
                  <a:pt x="263" y="108"/>
                </a:lnTo>
                <a:lnTo>
                  <a:pt x="254" y="112"/>
                </a:lnTo>
                <a:lnTo>
                  <a:pt x="248" y="117"/>
                </a:lnTo>
                <a:lnTo>
                  <a:pt x="239" y="122"/>
                </a:lnTo>
                <a:lnTo>
                  <a:pt x="224" y="127"/>
                </a:lnTo>
                <a:lnTo>
                  <a:pt x="209" y="136"/>
                </a:lnTo>
                <a:lnTo>
                  <a:pt x="185" y="136"/>
                </a:lnTo>
                <a:lnTo>
                  <a:pt x="169" y="131"/>
                </a:lnTo>
                <a:lnTo>
                  <a:pt x="154" y="122"/>
                </a:lnTo>
                <a:lnTo>
                  <a:pt x="140" y="112"/>
                </a:lnTo>
                <a:lnTo>
                  <a:pt x="130" y="108"/>
                </a:lnTo>
                <a:lnTo>
                  <a:pt x="120" y="112"/>
                </a:lnTo>
                <a:lnTo>
                  <a:pt x="115" y="122"/>
                </a:lnTo>
                <a:lnTo>
                  <a:pt x="109" y="127"/>
                </a:lnTo>
                <a:lnTo>
                  <a:pt x="95" y="131"/>
                </a:lnTo>
                <a:lnTo>
                  <a:pt x="75" y="136"/>
                </a:lnTo>
                <a:lnTo>
                  <a:pt x="55" y="131"/>
                </a:lnTo>
                <a:lnTo>
                  <a:pt x="50" y="122"/>
                </a:lnTo>
                <a:lnTo>
                  <a:pt x="46" y="108"/>
                </a:lnTo>
                <a:lnTo>
                  <a:pt x="40" y="98"/>
                </a:lnTo>
                <a:lnTo>
                  <a:pt x="35" y="93"/>
                </a:lnTo>
                <a:lnTo>
                  <a:pt x="31" y="93"/>
                </a:lnTo>
                <a:lnTo>
                  <a:pt x="20" y="98"/>
                </a:lnTo>
                <a:lnTo>
                  <a:pt x="5" y="108"/>
                </a:lnTo>
                <a:lnTo>
                  <a:pt x="0" y="117"/>
                </a:lnTo>
                <a:lnTo>
                  <a:pt x="5" y="122"/>
                </a:lnTo>
                <a:lnTo>
                  <a:pt x="11" y="131"/>
                </a:lnTo>
                <a:lnTo>
                  <a:pt x="16" y="146"/>
                </a:lnTo>
                <a:lnTo>
                  <a:pt x="20" y="161"/>
                </a:lnTo>
                <a:lnTo>
                  <a:pt x="26" y="190"/>
                </a:lnTo>
                <a:lnTo>
                  <a:pt x="31" y="214"/>
                </a:lnTo>
                <a:lnTo>
                  <a:pt x="40" y="224"/>
                </a:lnTo>
                <a:lnTo>
                  <a:pt x="46" y="233"/>
                </a:lnTo>
                <a:lnTo>
                  <a:pt x="50" y="248"/>
                </a:lnTo>
                <a:lnTo>
                  <a:pt x="40" y="252"/>
                </a:lnTo>
                <a:lnTo>
                  <a:pt x="16" y="256"/>
                </a:lnTo>
                <a:lnTo>
                  <a:pt x="11" y="267"/>
                </a:lnTo>
                <a:lnTo>
                  <a:pt x="5" y="277"/>
                </a:lnTo>
                <a:lnTo>
                  <a:pt x="11" y="300"/>
                </a:lnTo>
                <a:lnTo>
                  <a:pt x="11" y="310"/>
                </a:lnTo>
                <a:lnTo>
                  <a:pt x="16" y="310"/>
                </a:lnTo>
                <a:lnTo>
                  <a:pt x="35" y="315"/>
                </a:lnTo>
                <a:lnTo>
                  <a:pt x="50" y="320"/>
                </a:lnTo>
                <a:lnTo>
                  <a:pt x="66" y="320"/>
                </a:lnTo>
                <a:lnTo>
                  <a:pt x="85" y="330"/>
                </a:lnTo>
                <a:lnTo>
                  <a:pt x="90" y="339"/>
                </a:lnTo>
                <a:lnTo>
                  <a:pt x="90" y="353"/>
                </a:lnTo>
                <a:lnTo>
                  <a:pt x="90" y="364"/>
                </a:lnTo>
                <a:lnTo>
                  <a:pt x="95" y="378"/>
                </a:lnTo>
                <a:lnTo>
                  <a:pt x="100" y="383"/>
                </a:lnTo>
                <a:lnTo>
                  <a:pt x="115" y="383"/>
                </a:lnTo>
                <a:lnTo>
                  <a:pt x="124" y="383"/>
                </a:lnTo>
                <a:lnTo>
                  <a:pt x="135" y="378"/>
                </a:lnTo>
                <a:lnTo>
                  <a:pt x="144" y="368"/>
                </a:lnTo>
                <a:lnTo>
                  <a:pt x="159" y="364"/>
                </a:lnTo>
                <a:lnTo>
                  <a:pt x="165" y="368"/>
                </a:lnTo>
                <a:lnTo>
                  <a:pt x="159" y="373"/>
                </a:lnTo>
                <a:lnTo>
                  <a:pt x="154" y="387"/>
                </a:lnTo>
                <a:lnTo>
                  <a:pt x="144" y="402"/>
                </a:lnTo>
                <a:lnTo>
                  <a:pt x="140" y="417"/>
                </a:lnTo>
                <a:lnTo>
                  <a:pt x="140" y="431"/>
                </a:lnTo>
                <a:lnTo>
                  <a:pt x="144" y="436"/>
                </a:lnTo>
                <a:lnTo>
                  <a:pt x="144" y="431"/>
                </a:lnTo>
                <a:close/>
              </a:path>
            </a:pathLst>
          </a:custGeom>
          <a:solidFill>
            <a:srgbClr val="005027"/>
          </a:solidFill>
          <a:ln w="9525">
            <a:solidFill>
              <a:schemeClr val="bg1"/>
            </a:solidFill>
            <a:round/>
            <a:headEnd/>
            <a:tailEnd/>
          </a:ln>
        </p:spPr>
        <p:txBody>
          <a:bodyPr/>
          <a:lstStyle/>
          <a:p>
            <a:endParaRPr lang="ro-RO"/>
          </a:p>
        </p:txBody>
      </p:sp>
      <p:sp>
        <p:nvSpPr>
          <p:cNvPr id="12299" name="Freeform 7"/>
          <p:cNvSpPr>
            <a:spLocks/>
          </p:cNvSpPr>
          <p:nvPr/>
        </p:nvSpPr>
        <p:spPr bwMode="auto">
          <a:xfrm>
            <a:off x="1936750" y="2701925"/>
            <a:ext cx="1027113" cy="1130300"/>
          </a:xfrm>
          <a:custGeom>
            <a:avLst/>
            <a:gdLst>
              <a:gd name="T0" fmla="*/ 2147483647 w 798"/>
              <a:gd name="T1" fmla="*/ 2147483647 h 819"/>
              <a:gd name="T2" fmla="*/ 2147483647 w 798"/>
              <a:gd name="T3" fmla="*/ 2147483647 h 819"/>
              <a:gd name="T4" fmla="*/ 2147483647 w 798"/>
              <a:gd name="T5" fmla="*/ 2147483647 h 819"/>
              <a:gd name="T6" fmla="*/ 2147483647 w 798"/>
              <a:gd name="T7" fmla="*/ 2147483647 h 819"/>
              <a:gd name="T8" fmla="*/ 2147483647 w 798"/>
              <a:gd name="T9" fmla="*/ 2147483647 h 819"/>
              <a:gd name="T10" fmla="*/ 2147483647 w 798"/>
              <a:gd name="T11" fmla="*/ 2147483647 h 819"/>
              <a:gd name="T12" fmla="*/ 2147483647 w 798"/>
              <a:gd name="T13" fmla="*/ 2147483647 h 819"/>
              <a:gd name="T14" fmla="*/ 2147483647 w 798"/>
              <a:gd name="T15" fmla="*/ 2147483647 h 819"/>
              <a:gd name="T16" fmla="*/ 2147483647 w 798"/>
              <a:gd name="T17" fmla="*/ 2147483647 h 819"/>
              <a:gd name="T18" fmla="*/ 2147483647 w 798"/>
              <a:gd name="T19" fmla="*/ 2147483647 h 819"/>
              <a:gd name="T20" fmla="*/ 2147483647 w 798"/>
              <a:gd name="T21" fmla="*/ 2147483647 h 819"/>
              <a:gd name="T22" fmla="*/ 2147483647 w 798"/>
              <a:gd name="T23" fmla="*/ 2147483647 h 819"/>
              <a:gd name="T24" fmla="*/ 2147483647 w 798"/>
              <a:gd name="T25" fmla="*/ 2147483647 h 819"/>
              <a:gd name="T26" fmla="*/ 2147483647 w 798"/>
              <a:gd name="T27" fmla="*/ 2147483647 h 819"/>
              <a:gd name="T28" fmla="*/ 2147483647 w 798"/>
              <a:gd name="T29" fmla="*/ 2147483647 h 819"/>
              <a:gd name="T30" fmla="*/ 2147483647 w 798"/>
              <a:gd name="T31" fmla="*/ 2147483647 h 819"/>
              <a:gd name="T32" fmla="*/ 2147483647 w 798"/>
              <a:gd name="T33" fmla="*/ 2147483647 h 819"/>
              <a:gd name="T34" fmla="*/ 2147483647 w 798"/>
              <a:gd name="T35" fmla="*/ 0 h 819"/>
              <a:gd name="T36" fmla="*/ 2147483647 w 798"/>
              <a:gd name="T37" fmla="*/ 2147483647 h 819"/>
              <a:gd name="T38" fmla="*/ 2147483647 w 798"/>
              <a:gd name="T39" fmla="*/ 2147483647 h 819"/>
              <a:gd name="T40" fmla="*/ 2147483647 w 798"/>
              <a:gd name="T41" fmla="*/ 2147483647 h 819"/>
              <a:gd name="T42" fmla="*/ 2147483647 w 798"/>
              <a:gd name="T43" fmla="*/ 2147483647 h 819"/>
              <a:gd name="T44" fmla="*/ 2147483647 w 798"/>
              <a:gd name="T45" fmla="*/ 2147483647 h 819"/>
              <a:gd name="T46" fmla="*/ 2147483647 w 798"/>
              <a:gd name="T47" fmla="*/ 2147483647 h 819"/>
              <a:gd name="T48" fmla="*/ 2147483647 w 798"/>
              <a:gd name="T49" fmla="*/ 2147483647 h 819"/>
              <a:gd name="T50" fmla="*/ 2147483647 w 798"/>
              <a:gd name="T51" fmla="*/ 2147483647 h 819"/>
              <a:gd name="T52" fmla="*/ 2147483647 w 798"/>
              <a:gd name="T53" fmla="*/ 2147483647 h 819"/>
              <a:gd name="T54" fmla="*/ 2147483647 w 798"/>
              <a:gd name="T55" fmla="*/ 2147483647 h 819"/>
              <a:gd name="T56" fmla="*/ 2147483647 w 798"/>
              <a:gd name="T57" fmla="*/ 2147483647 h 819"/>
              <a:gd name="T58" fmla="*/ 2147483647 w 798"/>
              <a:gd name="T59" fmla="*/ 2147483647 h 819"/>
              <a:gd name="T60" fmla="*/ 2147483647 w 798"/>
              <a:gd name="T61" fmla="*/ 2147483647 h 819"/>
              <a:gd name="T62" fmla="*/ 2147483647 w 798"/>
              <a:gd name="T63" fmla="*/ 2147483647 h 819"/>
              <a:gd name="T64" fmla="*/ 2147483647 w 798"/>
              <a:gd name="T65" fmla="*/ 2147483647 h 819"/>
              <a:gd name="T66" fmla="*/ 2147483647 w 798"/>
              <a:gd name="T67" fmla="*/ 2147483647 h 819"/>
              <a:gd name="T68" fmla="*/ 2147483647 w 798"/>
              <a:gd name="T69" fmla="*/ 2147483647 h 819"/>
              <a:gd name="T70" fmla="*/ 2147483647 w 798"/>
              <a:gd name="T71" fmla="*/ 2147483647 h 819"/>
              <a:gd name="T72" fmla="*/ 2147483647 w 798"/>
              <a:gd name="T73" fmla="*/ 2147483647 h 819"/>
              <a:gd name="T74" fmla="*/ 2147483647 w 798"/>
              <a:gd name="T75" fmla="*/ 2147483647 h 819"/>
              <a:gd name="T76" fmla="*/ 2147483647 w 798"/>
              <a:gd name="T77" fmla="*/ 2147483647 h 819"/>
              <a:gd name="T78" fmla="*/ 2147483647 w 798"/>
              <a:gd name="T79" fmla="*/ 2147483647 h 819"/>
              <a:gd name="T80" fmla="*/ 2147483647 w 798"/>
              <a:gd name="T81" fmla="*/ 2147483647 h 819"/>
              <a:gd name="T82" fmla="*/ 2147483647 w 798"/>
              <a:gd name="T83" fmla="*/ 2147483647 h 819"/>
              <a:gd name="T84" fmla="*/ 2147483647 w 798"/>
              <a:gd name="T85" fmla="*/ 2147483647 h 819"/>
              <a:gd name="T86" fmla="*/ 2147483647 w 798"/>
              <a:gd name="T87" fmla="*/ 2147483647 h 819"/>
              <a:gd name="T88" fmla="*/ 2147483647 w 798"/>
              <a:gd name="T89" fmla="*/ 2147483647 h 819"/>
              <a:gd name="T90" fmla="*/ 2147483647 w 798"/>
              <a:gd name="T91" fmla="*/ 2147483647 h 819"/>
              <a:gd name="T92" fmla="*/ 2147483647 w 798"/>
              <a:gd name="T93" fmla="*/ 2147483647 h 819"/>
              <a:gd name="T94" fmla="*/ 2147483647 w 798"/>
              <a:gd name="T95" fmla="*/ 2147483647 h 819"/>
              <a:gd name="T96" fmla="*/ 2147483647 w 798"/>
              <a:gd name="T97" fmla="*/ 2147483647 h 8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8"/>
              <a:gd name="T148" fmla="*/ 0 h 819"/>
              <a:gd name="T149" fmla="*/ 798 w 798"/>
              <a:gd name="T150" fmla="*/ 819 h 8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8" h="819">
                <a:moveTo>
                  <a:pt x="459" y="819"/>
                </a:moveTo>
                <a:lnTo>
                  <a:pt x="459" y="810"/>
                </a:lnTo>
                <a:lnTo>
                  <a:pt x="455" y="795"/>
                </a:lnTo>
                <a:lnTo>
                  <a:pt x="450" y="770"/>
                </a:lnTo>
                <a:lnTo>
                  <a:pt x="429" y="751"/>
                </a:lnTo>
                <a:lnTo>
                  <a:pt x="415" y="737"/>
                </a:lnTo>
                <a:lnTo>
                  <a:pt x="409" y="728"/>
                </a:lnTo>
                <a:lnTo>
                  <a:pt x="404" y="718"/>
                </a:lnTo>
                <a:lnTo>
                  <a:pt x="380" y="722"/>
                </a:lnTo>
                <a:lnTo>
                  <a:pt x="369" y="694"/>
                </a:lnTo>
                <a:lnTo>
                  <a:pt x="350" y="688"/>
                </a:lnTo>
                <a:lnTo>
                  <a:pt x="354" y="655"/>
                </a:lnTo>
                <a:lnTo>
                  <a:pt x="350" y="621"/>
                </a:lnTo>
                <a:lnTo>
                  <a:pt x="350" y="617"/>
                </a:lnTo>
                <a:lnTo>
                  <a:pt x="350" y="607"/>
                </a:lnTo>
                <a:lnTo>
                  <a:pt x="345" y="578"/>
                </a:lnTo>
                <a:lnTo>
                  <a:pt x="345" y="568"/>
                </a:lnTo>
                <a:lnTo>
                  <a:pt x="339" y="555"/>
                </a:lnTo>
                <a:lnTo>
                  <a:pt x="330" y="525"/>
                </a:lnTo>
                <a:lnTo>
                  <a:pt x="319" y="496"/>
                </a:lnTo>
                <a:lnTo>
                  <a:pt x="315" y="487"/>
                </a:lnTo>
                <a:lnTo>
                  <a:pt x="315" y="482"/>
                </a:lnTo>
                <a:lnTo>
                  <a:pt x="275" y="405"/>
                </a:lnTo>
                <a:lnTo>
                  <a:pt x="275" y="400"/>
                </a:lnTo>
                <a:lnTo>
                  <a:pt x="269" y="395"/>
                </a:lnTo>
                <a:lnTo>
                  <a:pt x="255" y="390"/>
                </a:lnTo>
                <a:lnTo>
                  <a:pt x="234" y="390"/>
                </a:lnTo>
                <a:lnTo>
                  <a:pt x="220" y="390"/>
                </a:lnTo>
                <a:lnTo>
                  <a:pt x="210" y="380"/>
                </a:lnTo>
                <a:lnTo>
                  <a:pt x="205" y="371"/>
                </a:lnTo>
                <a:lnTo>
                  <a:pt x="205" y="361"/>
                </a:lnTo>
                <a:lnTo>
                  <a:pt x="205" y="352"/>
                </a:lnTo>
                <a:lnTo>
                  <a:pt x="205" y="342"/>
                </a:lnTo>
                <a:lnTo>
                  <a:pt x="199" y="333"/>
                </a:lnTo>
                <a:lnTo>
                  <a:pt x="195" y="323"/>
                </a:lnTo>
                <a:lnTo>
                  <a:pt x="195" y="313"/>
                </a:lnTo>
                <a:lnTo>
                  <a:pt x="195" y="304"/>
                </a:lnTo>
                <a:lnTo>
                  <a:pt x="199" y="289"/>
                </a:lnTo>
                <a:lnTo>
                  <a:pt x="199" y="275"/>
                </a:lnTo>
                <a:lnTo>
                  <a:pt x="195" y="266"/>
                </a:lnTo>
                <a:lnTo>
                  <a:pt x="179" y="256"/>
                </a:lnTo>
                <a:lnTo>
                  <a:pt x="170" y="256"/>
                </a:lnTo>
                <a:lnTo>
                  <a:pt x="160" y="256"/>
                </a:lnTo>
                <a:lnTo>
                  <a:pt x="151" y="251"/>
                </a:lnTo>
                <a:lnTo>
                  <a:pt x="145" y="241"/>
                </a:lnTo>
                <a:lnTo>
                  <a:pt x="140" y="222"/>
                </a:lnTo>
                <a:lnTo>
                  <a:pt x="135" y="203"/>
                </a:lnTo>
                <a:lnTo>
                  <a:pt x="130" y="184"/>
                </a:lnTo>
                <a:lnTo>
                  <a:pt x="116" y="178"/>
                </a:lnTo>
                <a:lnTo>
                  <a:pt x="105" y="174"/>
                </a:lnTo>
                <a:lnTo>
                  <a:pt x="85" y="169"/>
                </a:lnTo>
                <a:lnTo>
                  <a:pt x="65" y="165"/>
                </a:lnTo>
                <a:lnTo>
                  <a:pt x="45" y="159"/>
                </a:lnTo>
                <a:lnTo>
                  <a:pt x="35" y="154"/>
                </a:lnTo>
                <a:lnTo>
                  <a:pt x="45" y="154"/>
                </a:lnTo>
                <a:lnTo>
                  <a:pt x="35" y="150"/>
                </a:lnTo>
                <a:lnTo>
                  <a:pt x="26" y="144"/>
                </a:lnTo>
                <a:lnTo>
                  <a:pt x="15" y="140"/>
                </a:lnTo>
                <a:lnTo>
                  <a:pt x="0" y="106"/>
                </a:lnTo>
                <a:lnTo>
                  <a:pt x="15" y="97"/>
                </a:lnTo>
                <a:lnTo>
                  <a:pt x="15" y="92"/>
                </a:lnTo>
                <a:lnTo>
                  <a:pt x="10" y="87"/>
                </a:lnTo>
                <a:lnTo>
                  <a:pt x="5" y="73"/>
                </a:lnTo>
                <a:lnTo>
                  <a:pt x="5" y="58"/>
                </a:lnTo>
                <a:lnTo>
                  <a:pt x="5" y="39"/>
                </a:lnTo>
                <a:lnTo>
                  <a:pt x="10" y="24"/>
                </a:lnTo>
                <a:lnTo>
                  <a:pt x="15" y="15"/>
                </a:lnTo>
                <a:lnTo>
                  <a:pt x="35" y="5"/>
                </a:lnTo>
                <a:lnTo>
                  <a:pt x="40" y="5"/>
                </a:lnTo>
                <a:lnTo>
                  <a:pt x="50" y="5"/>
                </a:lnTo>
                <a:lnTo>
                  <a:pt x="59" y="5"/>
                </a:lnTo>
                <a:lnTo>
                  <a:pt x="70" y="0"/>
                </a:lnTo>
                <a:lnTo>
                  <a:pt x="75" y="5"/>
                </a:lnTo>
                <a:lnTo>
                  <a:pt x="85" y="20"/>
                </a:lnTo>
                <a:lnTo>
                  <a:pt x="105" y="24"/>
                </a:lnTo>
                <a:lnTo>
                  <a:pt x="125" y="24"/>
                </a:lnTo>
                <a:lnTo>
                  <a:pt x="145" y="15"/>
                </a:lnTo>
                <a:lnTo>
                  <a:pt x="155" y="15"/>
                </a:lnTo>
                <a:lnTo>
                  <a:pt x="165" y="30"/>
                </a:lnTo>
                <a:lnTo>
                  <a:pt x="170" y="49"/>
                </a:lnTo>
                <a:lnTo>
                  <a:pt x="179" y="64"/>
                </a:lnTo>
                <a:lnTo>
                  <a:pt x="190" y="73"/>
                </a:lnTo>
                <a:lnTo>
                  <a:pt x="205" y="73"/>
                </a:lnTo>
                <a:lnTo>
                  <a:pt x="214" y="68"/>
                </a:lnTo>
                <a:lnTo>
                  <a:pt x="230" y="58"/>
                </a:lnTo>
                <a:lnTo>
                  <a:pt x="245" y="49"/>
                </a:lnTo>
                <a:lnTo>
                  <a:pt x="255" y="49"/>
                </a:lnTo>
                <a:lnTo>
                  <a:pt x="269" y="49"/>
                </a:lnTo>
                <a:lnTo>
                  <a:pt x="284" y="53"/>
                </a:lnTo>
                <a:lnTo>
                  <a:pt x="295" y="49"/>
                </a:lnTo>
                <a:lnTo>
                  <a:pt x="304" y="39"/>
                </a:lnTo>
                <a:lnTo>
                  <a:pt x="319" y="34"/>
                </a:lnTo>
                <a:lnTo>
                  <a:pt x="334" y="34"/>
                </a:lnTo>
                <a:lnTo>
                  <a:pt x="350" y="34"/>
                </a:lnTo>
                <a:lnTo>
                  <a:pt x="369" y="34"/>
                </a:lnTo>
                <a:lnTo>
                  <a:pt x="380" y="39"/>
                </a:lnTo>
                <a:lnTo>
                  <a:pt x="389" y="49"/>
                </a:lnTo>
                <a:lnTo>
                  <a:pt x="400" y="53"/>
                </a:lnTo>
                <a:lnTo>
                  <a:pt x="415" y="58"/>
                </a:lnTo>
                <a:lnTo>
                  <a:pt x="435" y="58"/>
                </a:lnTo>
                <a:lnTo>
                  <a:pt x="459" y="64"/>
                </a:lnTo>
                <a:lnTo>
                  <a:pt x="474" y="73"/>
                </a:lnTo>
                <a:lnTo>
                  <a:pt x="479" y="77"/>
                </a:lnTo>
                <a:lnTo>
                  <a:pt x="474" y="92"/>
                </a:lnTo>
                <a:lnTo>
                  <a:pt x="474" y="106"/>
                </a:lnTo>
                <a:lnTo>
                  <a:pt x="474" y="121"/>
                </a:lnTo>
                <a:lnTo>
                  <a:pt x="489" y="140"/>
                </a:lnTo>
                <a:lnTo>
                  <a:pt x="499" y="140"/>
                </a:lnTo>
                <a:lnTo>
                  <a:pt x="504" y="140"/>
                </a:lnTo>
                <a:lnTo>
                  <a:pt x="509" y="131"/>
                </a:lnTo>
                <a:lnTo>
                  <a:pt x="509" y="111"/>
                </a:lnTo>
                <a:lnTo>
                  <a:pt x="509" y="97"/>
                </a:lnTo>
                <a:lnTo>
                  <a:pt x="514" y="92"/>
                </a:lnTo>
                <a:lnTo>
                  <a:pt x="534" y="87"/>
                </a:lnTo>
                <a:lnTo>
                  <a:pt x="559" y="87"/>
                </a:lnTo>
                <a:lnTo>
                  <a:pt x="579" y="87"/>
                </a:lnTo>
                <a:lnTo>
                  <a:pt x="594" y="87"/>
                </a:lnTo>
                <a:lnTo>
                  <a:pt x="614" y="87"/>
                </a:lnTo>
                <a:lnTo>
                  <a:pt x="644" y="102"/>
                </a:lnTo>
                <a:lnTo>
                  <a:pt x="654" y="106"/>
                </a:lnTo>
                <a:lnTo>
                  <a:pt x="664" y="102"/>
                </a:lnTo>
                <a:lnTo>
                  <a:pt x="664" y="97"/>
                </a:lnTo>
                <a:lnTo>
                  <a:pt x="669" y="97"/>
                </a:lnTo>
                <a:lnTo>
                  <a:pt x="684" y="92"/>
                </a:lnTo>
                <a:lnTo>
                  <a:pt x="693" y="102"/>
                </a:lnTo>
                <a:lnTo>
                  <a:pt x="689" y="116"/>
                </a:lnTo>
                <a:lnTo>
                  <a:pt x="684" y="131"/>
                </a:lnTo>
                <a:lnTo>
                  <a:pt x="679" y="144"/>
                </a:lnTo>
                <a:lnTo>
                  <a:pt x="673" y="154"/>
                </a:lnTo>
                <a:lnTo>
                  <a:pt x="679" y="165"/>
                </a:lnTo>
                <a:lnTo>
                  <a:pt x="689" y="165"/>
                </a:lnTo>
                <a:lnTo>
                  <a:pt x="693" y="165"/>
                </a:lnTo>
                <a:lnTo>
                  <a:pt x="699" y="178"/>
                </a:lnTo>
                <a:lnTo>
                  <a:pt x="708" y="188"/>
                </a:lnTo>
                <a:lnTo>
                  <a:pt x="714" y="188"/>
                </a:lnTo>
                <a:lnTo>
                  <a:pt x="719" y="184"/>
                </a:lnTo>
                <a:lnTo>
                  <a:pt x="728" y="184"/>
                </a:lnTo>
                <a:lnTo>
                  <a:pt x="739" y="188"/>
                </a:lnTo>
                <a:lnTo>
                  <a:pt x="748" y="203"/>
                </a:lnTo>
                <a:lnTo>
                  <a:pt x="763" y="217"/>
                </a:lnTo>
                <a:lnTo>
                  <a:pt x="778" y="232"/>
                </a:lnTo>
                <a:lnTo>
                  <a:pt x="793" y="241"/>
                </a:lnTo>
                <a:lnTo>
                  <a:pt x="798" y="246"/>
                </a:lnTo>
                <a:lnTo>
                  <a:pt x="783" y="256"/>
                </a:lnTo>
                <a:lnTo>
                  <a:pt x="778" y="275"/>
                </a:lnTo>
                <a:lnTo>
                  <a:pt x="773" y="294"/>
                </a:lnTo>
                <a:lnTo>
                  <a:pt x="769" y="304"/>
                </a:lnTo>
                <a:lnTo>
                  <a:pt x="763" y="309"/>
                </a:lnTo>
                <a:lnTo>
                  <a:pt x="754" y="319"/>
                </a:lnTo>
                <a:lnTo>
                  <a:pt x="724" y="338"/>
                </a:lnTo>
                <a:lnTo>
                  <a:pt x="699" y="357"/>
                </a:lnTo>
                <a:lnTo>
                  <a:pt x="689" y="366"/>
                </a:lnTo>
                <a:lnTo>
                  <a:pt x="689" y="371"/>
                </a:lnTo>
                <a:lnTo>
                  <a:pt x="689" y="386"/>
                </a:lnTo>
                <a:lnTo>
                  <a:pt x="689" y="400"/>
                </a:lnTo>
                <a:lnTo>
                  <a:pt x="684" y="405"/>
                </a:lnTo>
                <a:lnTo>
                  <a:pt x="679" y="405"/>
                </a:lnTo>
                <a:lnTo>
                  <a:pt x="658" y="405"/>
                </a:lnTo>
                <a:lnTo>
                  <a:pt x="638" y="395"/>
                </a:lnTo>
                <a:lnTo>
                  <a:pt x="623" y="395"/>
                </a:lnTo>
                <a:lnTo>
                  <a:pt x="614" y="405"/>
                </a:lnTo>
                <a:lnTo>
                  <a:pt x="604" y="414"/>
                </a:lnTo>
                <a:lnTo>
                  <a:pt x="604" y="424"/>
                </a:lnTo>
                <a:lnTo>
                  <a:pt x="604" y="433"/>
                </a:lnTo>
                <a:lnTo>
                  <a:pt x="604" y="448"/>
                </a:lnTo>
                <a:lnTo>
                  <a:pt x="594" y="458"/>
                </a:lnTo>
                <a:lnTo>
                  <a:pt x="584" y="463"/>
                </a:lnTo>
                <a:lnTo>
                  <a:pt x="574" y="467"/>
                </a:lnTo>
                <a:lnTo>
                  <a:pt x="564" y="477"/>
                </a:lnTo>
                <a:lnTo>
                  <a:pt x="559" y="487"/>
                </a:lnTo>
                <a:lnTo>
                  <a:pt x="559" y="492"/>
                </a:lnTo>
                <a:lnTo>
                  <a:pt x="553" y="501"/>
                </a:lnTo>
                <a:lnTo>
                  <a:pt x="544" y="515"/>
                </a:lnTo>
                <a:lnTo>
                  <a:pt x="529" y="534"/>
                </a:lnTo>
                <a:lnTo>
                  <a:pt x="509" y="545"/>
                </a:lnTo>
                <a:lnTo>
                  <a:pt x="494" y="549"/>
                </a:lnTo>
                <a:lnTo>
                  <a:pt x="485" y="555"/>
                </a:lnTo>
                <a:lnTo>
                  <a:pt x="479" y="564"/>
                </a:lnTo>
                <a:lnTo>
                  <a:pt x="479" y="568"/>
                </a:lnTo>
                <a:lnTo>
                  <a:pt x="479" y="578"/>
                </a:lnTo>
                <a:lnTo>
                  <a:pt x="479" y="593"/>
                </a:lnTo>
                <a:lnTo>
                  <a:pt x="469" y="607"/>
                </a:lnTo>
                <a:lnTo>
                  <a:pt x="459" y="621"/>
                </a:lnTo>
                <a:lnTo>
                  <a:pt x="459" y="636"/>
                </a:lnTo>
                <a:lnTo>
                  <a:pt x="459" y="650"/>
                </a:lnTo>
                <a:lnTo>
                  <a:pt x="464" y="660"/>
                </a:lnTo>
                <a:lnTo>
                  <a:pt x="474" y="669"/>
                </a:lnTo>
                <a:lnTo>
                  <a:pt x="479" y="688"/>
                </a:lnTo>
                <a:lnTo>
                  <a:pt x="479" y="709"/>
                </a:lnTo>
                <a:lnTo>
                  <a:pt x="469" y="722"/>
                </a:lnTo>
                <a:lnTo>
                  <a:pt x="469" y="737"/>
                </a:lnTo>
                <a:lnTo>
                  <a:pt x="479" y="761"/>
                </a:lnTo>
                <a:lnTo>
                  <a:pt x="494" y="776"/>
                </a:lnTo>
                <a:lnTo>
                  <a:pt x="499" y="785"/>
                </a:lnTo>
                <a:lnTo>
                  <a:pt x="489" y="800"/>
                </a:lnTo>
                <a:lnTo>
                  <a:pt x="469" y="804"/>
                </a:lnTo>
                <a:lnTo>
                  <a:pt x="464" y="804"/>
                </a:lnTo>
                <a:lnTo>
                  <a:pt x="459" y="810"/>
                </a:lnTo>
                <a:lnTo>
                  <a:pt x="459" y="819"/>
                </a:lnTo>
                <a:close/>
              </a:path>
            </a:pathLst>
          </a:custGeom>
          <a:solidFill>
            <a:srgbClr val="005027"/>
          </a:solidFill>
          <a:ln w="9525">
            <a:solidFill>
              <a:schemeClr val="bg1"/>
            </a:solidFill>
            <a:round/>
            <a:headEnd/>
            <a:tailEnd/>
          </a:ln>
        </p:spPr>
        <p:txBody>
          <a:bodyPr/>
          <a:lstStyle/>
          <a:p>
            <a:endParaRPr lang="ro-RO"/>
          </a:p>
        </p:txBody>
      </p:sp>
      <p:sp>
        <p:nvSpPr>
          <p:cNvPr id="12300" name="Freeform 8"/>
          <p:cNvSpPr>
            <a:spLocks/>
          </p:cNvSpPr>
          <p:nvPr/>
        </p:nvSpPr>
        <p:spPr bwMode="auto">
          <a:xfrm>
            <a:off x="1963738" y="4541838"/>
            <a:ext cx="987425" cy="1038225"/>
          </a:xfrm>
          <a:custGeom>
            <a:avLst/>
            <a:gdLst>
              <a:gd name="T0" fmla="*/ 2147483647 w 768"/>
              <a:gd name="T1" fmla="*/ 2147483647 h 752"/>
              <a:gd name="T2" fmla="*/ 2147483647 w 768"/>
              <a:gd name="T3" fmla="*/ 2147483647 h 752"/>
              <a:gd name="T4" fmla="*/ 2147483647 w 768"/>
              <a:gd name="T5" fmla="*/ 2147483647 h 752"/>
              <a:gd name="T6" fmla="*/ 2147483647 w 768"/>
              <a:gd name="T7" fmla="*/ 2147483647 h 752"/>
              <a:gd name="T8" fmla="*/ 2147483647 w 768"/>
              <a:gd name="T9" fmla="*/ 2147483647 h 752"/>
              <a:gd name="T10" fmla="*/ 2147483647 w 768"/>
              <a:gd name="T11" fmla="*/ 2147483647 h 752"/>
              <a:gd name="T12" fmla="*/ 2147483647 w 768"/>
              <a:gd name="T13" fmla="*/ 2147483647 h 752"/>
              <a:gd name="T14" fmla="*/ 2147483647 w 768"/>
              <a:gd name="T15" fmla="*/ 2147483647 h 752"/>
              <a:gd name="T16" fmla="*/ 2147483647 w 768"/>
              <a:gd name="T17" fmla="*/ 2147483647 h 752"/>
              <a:gd name="T18" fmla="*/ 2147483647 w 768"/>
              <a:gd name="T19" fmla="*/ 2147483647 h 752"/>
              <a:gd name="T20" fmla="*/ 0 w 768"/>
              <a:gd name="T21" fmla="*/ 2147483647 h 752"/>
              <a:gd name="T22" fmla="*/ 2147483647 w 768"/>
              <a:gd name="T23" fmla="*/ 2147483647 h 752"/>
              <a:gd name="T24" fmla="*/ 2147483647 w 768"/>
              <a:gd name="T25" fmla="*/ 2147483647 h 752"/>
              <a:gd name="T26" fmla="*/ 2147483647 w 768"/>
              <a:gd name="T27" fmla="*/ 2147483647 h 752"/>
              <a:gd name="T28" fmla="*/ 2147483647 w 768"/>
              <a:gd name="T29" fmla="*/ 2147483647 h 752"/>
              <a:gd name="T30" fmla="*/ 2147483647 w 768"/>
              <a:gd name="T31" fmla="*/ 2147483647 h 752"/>
              <a:gd name="T32" fmla="*/ 2147483647 w 768"/>
              <a:gd name="T33" fmla="*/ 2147483647 h 752"/>
              <a:gd name="T34" fmla="*/ 2147483647 w 768"/>
              <a:gd name="T35" fmla="*/ 2147483647 h 752"/>
              <a:gd name="T36" fmla="*/ 2147483647 w 768"/>
              <a:gd name="T37" fmla="*/ 2147483647 h 752"/>
              <a:gd name="T38" fmla="*/ 2147483647 w 768"/>
              <a:gd name="T39" fmla="*/ 2147483647 h 752"/>
              <a:gd name="T40" fmla="*/ 2147483647 w 768"/>
              <a:gd name="T41" fmla="*/ 2147483647 h 752"/>
              <a:gd name="T42" fmla="*/ 2147483647 w 768"/>
              <a:gd name="T43" fmla="*/ 2147483647 h 752"/>
              <a:gd name="T44" fmla="*/ 2147483647 w 768"/>
              <a:gd name="T45" fmla="*/ 2147483647 h 752"/>
              <a:gd name="T46" fmla="*/ 2147483647 w 768"/>
              <a:gd name="T47" fmla="*/ 2147483647 h 752"/>
              <a:gd name="T48" fmla="*/ 2147483647 w 768"/>
              <a:gd name="T49" fmla="*/ 2147483647 h 752"/>
              <a:gd name="T50" fmla="*/ 2147483647 w 768"/>
              <a:gd name="T51" fmla="*/ 2147483647 h 752"/>
              <a:gd name="T52" fmla="*/ 2147483647 w 768"/>
              <a:gd name="T53" fmla="*/ 2147483647 h 752"/>
              <a:gd name="T54" fmla="*/ 2147483647 w 768"/>
              <a:gd name="T55" fmla="*/ 2147483647 h 752"/>
              <a:gd name="T56" fmla="*/ 2147483647 w 768"/>
              <a:gd name="T57" fmla="*/ 2147483647 h 752"/>
              <a:gd name="T58" fmla="*/ 2147483647 w 768"/>
              <a:gd name="T59" fmla="*/ 2147483647 h 752"/>
              <a:gd name="T60" fmla="*/ 2147483647 w 768"/>
              <a:gd name="T61" fmla="*/ 2147483647 h 752"/>
              <a:gd name="T62" fmla="*/ 2147483647 w 768"/>
              <a:gd name="T63" fmla="*/ 2147483647 h 752"/>
              <a:gd name="T64" fmla="*/ 2147483647 w 768"/>
              <a:gd name="T65" fmla="*/ 2147483647 h 752"/>
              <a:gd name="T66" fmla="*/ 2147483647 w 768"/>
              <a:gd name="T67" fmla="*/ 2147483647 h 752"/>
              <a:gd name="T68" fmla="*/ 2147483647 w 768"/>
              <a:gd name="T69" fmla="*/ 2147483647 h 752"/>
              <a:gd name="T70" fmla="*/ 2147483647 w 768"/>
              <a:gd name="T71" fmla="*/ 2147483647 h 752"/>
              <a:gd name="T72" fmla="*/ 2147483647 w 768"/>
              <a:gd name="T73" fmla="*/ 2147483647 h 752"/>
              <a:gd name="T74" fmla="*/ 2147483647 w 768"/>
              <a:gd name="T75" fmla="*/ 2147483647 h 752"/>
              <a:gd name="T76" fmla="*/ 2147483647 w 768"/>
              <a:gd name="T77" fmla="*/ 2147483647 h 752"/>
              <a:gd name="T78" fmla="*/ 2147483647 w 768"/>
              <a:gd name="T79" fmla="*/ 2147483647 h 752"/>
              <a:gd name="T80" fmla="*/ 2147483647 w 768"/>
              <a:gd name="T81" fmla="*/ 2147483647 h 752"/>
              <a:gd name="T82" fmla="*/ 2147483647 w 768"/>
              <a:gd name="T83" fmla="*/ 2147483647 h 752"/>
              <a:gd name="T84" fmla="*/ 2147483647 w 768"/>
              <a:gd name="T85" fmla="*/ 2147483647 h 752"/>
              <a:gd name="T86" fmla="*/ 2147483647 w 768"/>
              <a:gd name="T87" fmla="*/ 2147483647 h 752"/>
              <a:gd name="T88" fmla="*/ 2147483647 w 768"/>
              <a:gd name="T89" fmla="*/ 2147483647 h 752"/>
              <a:gd name="T90" fmla="*/ 2147483647 w 768"/>
              <a:gd name="T91" fmla="*/ 2147483647 h 752"/>
              <a:gd name="T92" fmla="*/ 2147483647 w 768"/>
              <a:gd name="T93" fmla="*/ 2147483647 h 752"/>
              <a:gd name="T94" fmla="*/ 2147483647 w 768"/>
              <a:gd name="T95" fmla="*/ 2147483647 h 752"/>
              <a:gd name="T96" fmla="*/ 2147483647 w 768"/>
              <a:gd name="T97" fmla="*/ 2147483647 h 752"/>
              <a:gd name="T98" fmla="*/ 2147483647 w 768"/>
              <a:gd name="T99" fmla="*/ 2147483647 h 752"/>
              <a:gd name="T100" fmla="*/ 2147483647 w 768"/>
              <a:gd name="T101" fmla="*/ 2147483647 h 752"/>
              <a:gd name="T102" fmla="*/ 2147483647 w 768"/>
              <a:gd name="T103" fmla="*/ 2147483647 h 752"/>
              <a:gd name="T104" fmla="*/ 2147483647 w 768"/>
              <a:gd name="T105" fmla="*/ 2147483647 h 752"/>
              <a:gd name="T106" fmla="*/ 2147483647 w 768"/>
              <a:gd name="T107" fmla="*/ 2147483647 h 752"/>
              <a:gd name="T108" fmla="*/ 2147483647 w 768"/>
              <a:gd name="T109" fmla="*/ 2147483647 h 752"/>
              <a:gd name="T110" fmla="*/ 2147483647 w 768"/>
              <a:gd name="T111" fmla="*/ 2147483647 h 752"/>
              <a:gd name="T112" fmla="*/ 2147483647 w 768"/>
              <a:gd name="T113" fmla="*/ 2147483647 h 752"/>
              <a:gd name="T114" fmla="*/ 2147483647 w 768"/>
              <a:gd name="T115" fmla="*/ 2147483647 h 752"/>
              <a:gd name="T116" fmla="*/ 2147483647 w 768"/>
              <a:gd name="T117" fmla="*/ 2147483647 h 752"/>
              <a:gd name="T118" fmla="*/ 2147483647 w 768"/>
              <a:gd name="T119" fmla="*/ 2147483647 h 75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68"/>
              <a:gd name="T181" fmla="*/ 0 h 752"/>
              <a:gd name="T182" fmla="*/ 768 w 768"/>
              <a:gd name="T183" fmla="*/ 752 h 75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68" h="752">
                <a:moveTo>
                  <a:pt x="683" y="752"/>
                </a:moveTo>
                <a:lnTo>
                  <a:pt x="672" y="748"/>
                </a:lnTo>
                <a:lnTo>
                  <a:pt x="663" y="743"/>
                </a:lnTo>
                <a:lnTo>
                  <a:pt x="648" y="724"/>
                </a:lnTo>
                <a:lnTo>
                  <a:pt x="633" y="714"/>
                </a:lnTo>
                <a:lnTo>
                  <a:pt x="618" y="704"/>
                </a:lnTo>
                <a:lnTo>
                  <a:pt x="593" y="699"/>
                </a:lnTo>
                <a:lnTo>
                  <a:pt x="563" y="695"/>
                </a:lnTo>
                <a:lnTo>
                  <a:pt x="559" y="695"/>
                </a:lnTo>
                <a:lnTo>
                  <a:pt x="548" y="690"/>
                </a:lnTo>
                <a:lnTo>
                  <a:pt x="528" y="685"/>
                </a:lnTo>
                <a:lnTo>
                  <a:pt x="513" y="671"/>
                </a:lnTo>
                <a:lnTo>
                  <a:pt x="494" y="661"/>
                </a:lnTo>
                <a:lnTo>
                  <a:pt x="464" y="661"/>
                </a:lnTo>
                <a:lnTo>
                  <a:pt x="439" y="666"/>
                </a:lnTo>
                <a:lnTo>
                  <a:pt x="424" y="666"/>
                </a:lnTo>
                <a:lnTo>
                  <a:pt x="404" y="661"/>
                </a:lnTo>
                <a:lnTo>
                  <a:pt x="389" y="657"/>
                </a:lnTo>
                <a:lnTo>
                  <a:pt x="339" y="632"/>
                </a:lnTo>
                <a:lnTo>
                  <a:pt x="314" y="623"/>
                </a:lnTo>
                <a:lnTo>
                  <a:pt x="284" y="617"/>
                </a:lnTo>
                <a:lnTo>
                  <a:pt x="255" y="617"/>
                </a:lnTo>
                <a:lnTo>
                  <a:pt x="220" y="627"/>
                </a:lnTo>
                <a:lnTo>
                  <a:pt x="200" y="637"/>
                </a:lnTo>
                <a:lnTo>
                  <a:pt x="186" y="642"/>
                </a:lnTo>
                <a:lnTo>
                  <a:pt x="160" y="646"/>
                </a:lnTo>
                <a:lnTo>
                  <a:pt x="135" y="646"/>
                </a:lnTo>
                <a:lnTo>
                  <a:pt x="120" y="646"/>
                </a:lnTo>
                <a:lnTo>
                  <a:pt x="100" y="646"/>
                </a:lnTo>
                <a:lnTo>
                  <a:pt x="65" y="642"/>
                </a:lnTo>
                <a:lnTo>
                  <a:pt x="31" y="632"/>
                </a:lnTo>
                <a:lnTo>
                  <a:pt x="11" y="608"/>
                </a:lnTo>
                <a:lnTo>
                  <a:pt x="0" y="579"/>
                </a:lnTo>
                <a:lnTo>
                  <a:pt x="6" y="560"/>
                </a:lnTo>
                <a:lnTo>
                  <a:pt x="26" y="545"/>
                </a:lnTo>
                <a:lnTo>
                  <a:pt x="46" y="530"/>
                </a:lnTo>
                <a:lnTo>
                  <a:pt x="65" y="522"/>
                </a:lnTo>
                <a:lnTo>
                  <a:pt x="90" y="507"/>
                </a:lnTo>
                <a:lnTo>
                  <a:pt x="105" y="497"/>
                </a:lnTo>
                <a:lnTo>
                  <a:pt x="116" y="482"/>
                </a:lnTo>
                <a:lnTo>
                  <a:pt x="116" y="463"/>
                </a:lnTo>
                <a:lnTo>
                  <a:pt x="105" y="444"/>
                </a:lnTo>
                <a:lnTo>
                  <a:pt x="90" y="439"/>
                </a:lnTo>
                <a:lnTo>
                  <a:pt x="90" y="435"/>
                </a:lnTo>
                <a:lnTo>
                  <a:pt x="96" y="420"/>
                </a:lnTo>
                <a:lnTo>
                  <a:pt x="100" y="406"/>
                </a:lnTo>
                <a:lnTo>
                  <a:pt x="110" y="406"/>
                </a:lnTo>
                <a:lnTo>
                  <a:pt x="125" y="410"/>
                </a:lnTo>
                <a:lnTo>
                  <a:pt x="140" y="414"/>
                </a:lnTo>
                <a:lnTo>
                  <a:pt x="155" y="414"/>
                </a:lnTo>
                <a:lnTo>
                  <a:pt x="166" y="410"/>
                </a:lnTo>
                <a:lnTo>
                  <a:pt x="166" y="406"/>
                </a:lnTo>
                <a:lnTo>
                  <a:pt x="166" y="401"/>
                </a:lnTo>
                <a:lnTo>
                  <a:pt x="166" y="395"/>
                </a:lnTo>
                <a:lnTo>
                  <a:pt x="166" y="376"/>
                </a:lnTo>
                <a:lnTo>
                  <a:pt x="166" y="357"/>
                </a:lnTo>
                <a:lnTo>
                  <a:pt x="160" y="338"/>
                </a:lnTo>
                <a:lnTo>
                  <a:pt x="155" y="323"/>
                </a:lnTo>
                <a:lnTo>
                  <a:pt x="151" y="314"/>
                </a:lnTo>
                <a:lnTo>
                  <a:pt x="151" y="304"/>
                </a:lnTo>
                <a:lnTo>
                  <a:pt x="160" y="299"/>
                </a:lnTo>
                <a:lnTo>
                  <a:pt x="179" y="285"/>
                </a:lnTo>
                <a:lnTo>
                  <a:pt x="200" y="266"/>
                </a:lnTo>
                <a:lnTo>
                  <a:pt x="210" y="256"/>
                </a:lnTo>
                <a:lnTo>
                  <a:pt x="225" y="247"/>
                </a:lnTo>
                <a:lnTo>
                  <a:pt x="230" y="237"/>
                </a:lnTo>
                <a:lnTo>
                  <a:pt x="225" y="232"/>
                </a:lnTo>
                <a:lnTo>
                  <a:pt x="214" y="226"/>
                </a:lnTo>
                <a:lnTo>
                  <a:pt x="200" y="218"/>
                </a:lnTo>
                <a:lnTo>
                  <a:pt x="195" y="213"/>
                </a:lnTo>
                <a:lnTo>
                  <a:pt x="190" y="207"/>
                </a:lnTo>
                <a:lnTo>
                  <a:pt x="190" y="203"/>
                </a:lnTo>
                <a:lnTo>
                  <a:pt x="200" y="198"/>
                </a:lnTo>
                <a:lnTo>
                  <a:pt x="205" y="184"/>
                </a:lnTo>
                <a:lnTo>
                  <a:pt x="210" y="173"/>
                </a:lnTo>
                <a:lnTo>
                  <a:pt x="210" y="169"/>
                </a:lnTo>
                <a:lnTo>
                  <a:pt x="220" y="169"/>
                </a:lnTo>
                <a:lnTo>
                  <a:pt x="235" y="164"/>
                </a:lnTo>
                <a:lnTo>
                  <a:pt x="240" y="159"/>
                </a:lnTo>
                <a:lnTo>
                  <a:pt x="245" y="150"/>
                </a:lnTo>
                <a:lnTo>
                  <a:pt x="255" y="135"/>
                </a:lnTo>
                <a:lnTo>
                  <a:pt x="260" y="125"/>
                </a:lnTo>
                <a:lnTo>
                  <a:pt x="269" y="125"/>
                </a:lnTo>
                <a:lnTo>
                  <a:pt x="275" y="125"/>
                </a:lnTo>
                <a:lnTo>
                  <a:pt x="295" y="135"/>
                </a:lnTo>
                <a:lnTo>
                  <a:pt x="314" y="135"/>
                </a:lnTo>
                <a:lnTo>
                  <a:pt x="334" y="131"/>
                </a:lnTo>
                <a:lnTo>
                  <a:pt x="339" y="131"/>
                </a:lnTo>
                <a:lnTo>
                  <a:pt x="345" y="131"/>
                </a:lnTo>
                <a:lnTo>
                  <a:pt x="339" y="125"/>
                </a:lnTo>
                <a:lnTo>
                  <a:pt x="339" y="116"/>
                </a:lnTo>
                <a:lnTo>
                  <a:pt x="345" y="106"/>
                </a:lnTo>
                <a:lnTo>
                  <a:pt x="364" y="87"/>
                </a:lnTo>
                <a:lnTo>
                  <a:pt x="380" y="82"/>
                </a:lnTo>
                <a:lnTo>
                  <a:pt x="389" y="82"/>
                </a:lnTo>
                <a:lnTo>
                  <a:pt x="395" y="82"/>
                </a:lnTo>
                <a:lnTo>
                  <a:pt x="399" y="82"/>
                </a:lnTo>
                <a:lnTo>
                  <a:pt x="415" y="87"/>
                </a:lnTo>
                <a:lnTo>
                  <a:pt x="429" y="87"/>
                </a:lnTo>
                <a:lnTo>
                  <a:pt x="449" y="92"/>
                </a:lnTo>
                <a:lnTo>
                  <a:pt x="469" y="92"/>
                </a:lnTo>
                <a:lnTo>
                  <a:pt x="478" y="92"/>
                </a:lnTo>
                <a:lnTo>
                  <a:pt x="484" y="87"/>
                </a:lnTo>
                <a:lnTo>
                  <a:pt x="489" y="82"/>
                </a:lnTo>
                <a:lnTo>
                  <a:pt x="484" y="68"/>
                </a:lnTo>
                <a:lnTo>
                  <a:pt x="478" y="63"/>
                </a:lnTo>
                <a:lnTo>
                  <a:pt x="484" y="59"/>
                </a:lnTo>
                <a:lnTo>
                  <a:pt x="489" y="49"/>
                </a:lnTo>
                <a:lnTo>
                  <a:pt x="494" y="38"/>
                </a:lnTo>
                <a:lnTo>
                  <a:pt x="489" y="29"/>
                </a:lnTo>
                <a:lnTo>
                  <a:pt x="489" y="19"/>
                </a:lnTo>
                <a:lnTo>
                  <a:pt x="498" y="5"/>
                </a:lnTo>
                <a:lnTo>
                  <a:pt x="509" y="0"/>
                </a:lnTo>
                <a:lnTo>
                  <a:pt x="513" y="5"/>
                </a:lnTo>
                <a:lnTo>
                  <a:pt x="519" y="10"/>
                </a:lnTo>
                <a:lnTo>
                  <a:pt x="524" y="25"/>
                </a:lnTo>
                <a:lnTo>
                  <a:pt x="524" y="38"/>
                </a:lnTo>
                <a:lnTo>
                  <a:pt x="528" y="53"/>
                </a:lnTo>
                <a:lnTo>
                  <a:pt x="539" y="63"/>
                </a:lnTo>
                <a:lnTo>
                  <a:pt x="548" y="68"/>
                </a:lnTo>
                <a:lnTo>
                  <a:pt x="554" y="68"/>
                </a:lnTo>
                <a:lnTo>
                  <a:pt x="583" y="82"/>
                </a:lnTo>
                <a:lnTo>
                  <a:pt x="583" y="78"/>
                </a:lnTo>
                <a:lnTo>
                  <a:pt x="578" y="78"/>
                </a:lnTo>
                <a:lnTo>
                  <a:pt x="578" y="82"/>
                </a:lnTo>
                <a:lnTo>
                  <a:pt x="583" y="92"/>
                </a:lnTo>
                <a:lnTo>
                  <a:pt x="593" y="106"/>
                </a:lnTo>
                <a:lnTo>
                  <a:pt x="598" y="121"/>
                </a:lnTo>
                <a:lnTo>
                  <a:pt x="603" y="135"/>
                </a:lnTo>
                <a:lnTo>
                  <a:pt x="603" y="145"/>
                </a:lnTo>
                <a:lnTo>
                  <a:pt x="589" y="154"/>
                </a:lnTo>
                <a:lnTo>
                  <a:pt x="583" y="164"/>
                </a:lnTo>
                <a:lnTo>
                  <a:pt x="578" y="179"/>
                </a:lnTo>
                <a:lnTo>
                  <a:pt x="574" y="193"/>
                </a:lnTo>
                <a:lnTo>
                  <a:pt x="578" y="207"/>
                </a:lnTo>
                <a:lnTo>
                  <a:pt x="589" y="226"/>
                </a:lnTo>
                <a:lnTo>
                  <a:pt x="603" y="237"/>
                </a:lnTo>
                <a:lnTo>
                  <a:pt x="609" y="237"/>
                </a:lnTo>
                <a:lnTo>
                  <a:pt x="613" y="237"/>
                </a:lnTo>
                <a:lnTo>
                  <a:pt x="618" y="241"/>
                </a:lnTo>
                <a:lnTo>
                  <a:pt x="638" y="247"/>
                </a:lnTo>
                <a:lnTo>
                  <a:pt x="653" y="260"/>
                </a:lnTo>
                <a:lnTo>
                  <a:pt x="658" y="266"/>
                </a:lnTo>
                <a:lnTo>
                  <a:pt x="658" y="270"/>
                </a:lnTo>
                <a:lnTo>
                  <a:pt x="658" y="285"/>
                </a:lnTo>
                <a:lnTo>
                  <a:pt x="663" y="299"/>
                </a:lnTo>
                <a:lnTo>
                  <a:pt x="668" y="309"/>
                </a:lnTo>
                <a:lnTo>
                  <a:pt x="672" y="314"/>
                </a:lnTo>
                <a:lnTo>
                  <a:pt x="753" y="391"/>
                </a:lnTo>
                <a:lnTo>
                  <a:pt x="753" y="395"/>
                </a:lnTo>
                <a:lnTo>
                  <a:pt x="753" y="410"/>
                </a:lnTo>
                <a:lnTo>
                  <a:pt x="748" y="425"/>
                </a:lnTo>
                <a:lnTo>
                  <a:pt x="748" y="448"/>
                </a:lnTo>
                <a:lnTo>
                  <a:pt x="742" y="468"/>
                </a:lnTo>
                <a:lnTo>
                  <a:pt x="742" y="488"/>
                </a:lnTo>
                <a:lnTo>
                  <a:pt x="738" y="502"/>
                </a:lnTo>
                <a:lnTo>
                  <a:pt x="738" y="507"/>
                </a:lnTo>
                <a:lnTo>
                  <a:pt x="742" y="511"/>
                </a:lnTo>
                <a:lnTo>
                  <a:pt x="748" y="522"/>
                </a:lnTo>
                <a:lnTo>
                  <a:pt x="762" y="536"/>
                </a:lnTo>
                <a:lnTo>
                  <a:pt x="768" y="545"/>
                </a:lnTo>
                <a:lnTo>
                  <a:pt x="768" y="549"/>
                </a:lnTo>
                <a:lnTo>
                  <a:pt x="762" y="555"/>
                </a:lnTo>
                <a:lnTo>
                  <a:pt x="753" y="555"/>
                </a:lnTo>
                <a:lnTo>
                  <a:pt x="742" y="555"/>
                </a:lnTo>
                <a:lnTo>
                  <a:pt x="738" y="555"/>
                </a:lnTo>
                <a:lnTo>
                  <a:pt x="738" y="560"/>
                </a:lnTo>
                <a:lnTo>
                  <a:pt x="738" y="564"/>
                </a:lnTo>
                <a:lnTo>
                  <a:pt x="748" y="579"/>
                </a:lnTo>
                <a:lnTo>
                  <a:pt x="753" y="579"/>
                </a:lnTo>
                <a:lnTo>
                  <a:pt x="748" y="583"/>
                </a:lnTo>
                <a:lnTo>
                  <a:pt x="738" y="598"/>
                </a:lnTo>
                <a:lnTo>
                  <a:pt x="733" y="617"/>
                </a:lnTo>
                <a:lnTo>
                  <a:pt x="738" y="627"/>
                </a:lnTo>
                <a:lnTo>
                  <a:pt x="738" y="637"/>
                </a:lnTo>
                <a:lnTo>
                  <a:pt x="727" y="646"/>
                </a:lnTo>
                <a:lnTo>
                  <a:pt x="713" y="661"/>
                </a:lnTo>
                <a:lnTo>
                  <a:pt x="698" y="685"/>
                </a:lnTo>
                <a:lnTo>
                  <a:pt x="688" y="714"/>
                </a:lnTo>
                <a:lnTo>
                  <a:pt x="683" y="743"/>
                </a:lnTo>
                <a:lnTo>
                  <a:pt x="683" y="748"/>
                </a:lnTo>
                <a:lnTo>
                  <a:pt x="683" y="752"/>
                </a:lnTo>
                <a:close/>
              </a:path>
            </a:pathLst>
          </a:custGeom>
          <a:solidFill>
            <a:srgbClr val="005027"/>
          </a:solidFill>
          <a:ln w="9525">
            <a:solidFill>
              <a:schemeClr val="bg1"/>
            </a:solidFill>
            <a:round/>
            <a:headEnd/>
            <a:tailEnd/>
          </a:ln>
        </p:spPr>
        <p:txBody>
          <a:bodyPr/>
          <a:lstStyle/>
          <a:p>
            <a:endParaRPr lang="ro-RO"/>
          </a:p>
        </p:txBody>
      </p:sp>
      <p:sp>
        <p:nvSpPr>
          <p:cNvPr id="12301" name="Freeform 9"/>
          <p:cNvSpPr>
            <a:spLocks/>
          </p:cNvSpPr>
          <p:nvPr/>
        </p:nvSpPr>
        <p:spPr bwMode="auto">
          <a:xfrm>
            <a:off x="2703513" y="4379913"/>
            <a:ext cx="677862" cy="1200150"/>
          </a:xfrm>
          <a:custGeom>
            <a:avLst/>
            <a:gdLst>
              <a:gd name="T0" fmla="*/ 2147483647 w 528"/>
              <a:gd name="T1" fmla="*/ 2147483647 h 869"/>
              <a:gd name="T2" fmla="*/ 2147483647 w 528"/>
              <a:gd name="T3" fmla="*/ 2147483647 h 869"/>
              <a:gd name="T4" fmla="*/ 2147483647 w 528"/>
              <a:gd name="T5" fmla="*/ 2147483647 h 869"/>
              <a:gd name="T6" fmla="*/ 2147483647 w 528"/>
              <a:gd name="T7" fmla="*/ 2147483647 h 869"/>
              <a:gd name="T8" fmla="*/ 2147483647 w 528"/>
              <a:gd name="T9" fmla="*/ 2147483647 h 869"/>
              <a:gd name="T10" fmla="*/ 2147483647 w 528"/>
              <a:gd name="T11" fmla="*/ 2147483647 h 869"/>
              <a:gd name="T12" fmla="*/ 2147483647 w 528"/>
              <a:gd name="T13" fmla="*/ 2147483647 h 869"/>
              <a:gd name="T14" fmla="*/ 2147483647 w 528"/>
              <a:gd name="T15" fmla="*/ 2147483647 h 869"/>
              <a:gd name="T16" fmla="*/ 2147483647 w 528"/>
              <a:gd name="T17" fmla="*/ 2147483647 h 869"/>
              <a:gd name="T18" fmla="*/ 2147483647 w 528"/>
              <a:gd name="T19" fmla="*/ 2147483647 h 869"/>
              <a:gd name="T20" fmla="*/ 2147483647 w 528"/>
              <a:gd name="T21" fmla="*/ 2147483647 h 869"/>
              <a:gd name="T22" fmla="*/ 0 w 528"/>
              <a:gd name="T23" fmla="*/ 2147483647 h 869"/>
              <a:gd name="T24" fmla="*/ 2147483647 w 528"/>
              <a:gd name="T25" fmla="*/ 2147483647 h 869"/>
              <a:gd name="T26" fmla="*/ 2147483647 w 528"/>
              <a:gd name="T27" fmla="*/ 2147483647 h 869"/>
              <a:gd name="T28" fmla="*/ 2147483647 w 528"/>
              <a:gd name="T29" fmla="*/ 2147483647 h 869"/>
              <a:gd name="T30" fmla="*/ 2147483647 w 528"/>
              <a:gd name="T31" fmla="*/ 2147483647 h 869"/>
              <a:gd name="T32" fmla="*/ 2147483647 w 528"/>
              <a:gd name="T33" fmla="*/ 2147483647 h 869"/>
              <a:gd name="T34" fmla="*/ 2147483647 w 528"/>
              <a:gd name="T35" fmla="*/ 2147483647 h 869"/>
              <a:gd name="T36" fmla="*/ 2147483647 w 528"/>
              <a:gd name="T37" fmla="*/ 2147483647 h 869"/>
              <a:gd name="T38" fmla="*/ 2147483647 w 528"/>
              <a:gd name="T39" fmla="*/ 2147483647 h 869"/>
              <a:gd name="T40" fmla="*/ 2147483647 w 528"/>
              <a:gd name="T41" fmla="*/ 2147483647 h 869"/>
              <a:gd name="T42" fmla="*/ 2147483647 w 528"/>
              <a:gd name="T43" fmla="*/ 2147483647 h 869"/>
              <a:gd name="T44" fmla="*/ 2147483647 w 528"/>
              <a:gd name="T45" fmla="*/ 2147483647 h 869"/>
              <a:gd name="T46" fmla="*/ 2147483647 w 528"/>
              <a:gd name="T47" fmla="*/ 2147483647 h 869"/>
              <a:gd name="T48" fmla="*/ 2147483647 w 528"/>
              <a:gd name="T49" fmla="*/ 2147483647 h 869"/>
              <a:gd name="T50" fmla="*/ 2147483647 w 528"/>
              <a:gd name="T51" fmla="*/ 2147483647 h 869"/>
              <a:gd name="T52" fmla="*/ 2147483647 w 528"/>
              <a:gd name="T53" fmla="*/ 2147483647 h 869"/>
              <a:gd name="T54" fmla="*/ 2147483647 w 528"/>
              <a:gd name="T55" fmla="*/ 2147483647 h 869"/>
              <a:gd name="T56" fmla="*/ 2147483647 w 528"/>
              <a:gd name="T57" fmla="*/ 2147483647 h 869"/>
              <a:gd name="T58" fmla="*/ 2147483647 w 528"/>
              <a:gd name="T59" fmla="*/ 2147483647 h 869"/>
              <a:gd name="T60" fmla="*/ 2147483647 w 528"/>
              <a:gd name="T61" fmla="*/ 2147483647 h 869"/>
              <a:gd name="T62" fmla="*/ 2147483647 w 528"/>
              <a:gd name="T63" fmla="*/ 2147483647 h 869"/>
              <a:gd name="T64" fmla="*/ 2147483647 w 528"/>
              <a:gd name="T65" fmla="*/ 2147483647 h 869"/>
              <a:gd name="T66" fmla="*/ 2147483647 w 528"/>
              <a:gd name="T67" fmla="*/ 2147483647 h 869"/>
              <a:gd name="T68" fmla="*/ 2147483647 w 528"/>
              <a:gd name="T69" fmla="*/ 2147483647 h 869"/>
              <a:gd name="T70" fmla="*/ 2147483647 w 528"/>
              <a:gd name="T71" fmla="*/ 2147483647 h 869"/>
              <a:gd name="T72" fmla="*/ 2147483647 w 528"/>
              <a:gd name="T73" fmla="*/ 2147483647 h 869"/>
              <a:gd name="T74" fmla="*/ 2147483647 w 528"/>
              <a:gd name="T75" fmla="*/ 2147483647 h 869"/>
              <a:gd name="T76" fmla="*/ 2147483647 w 528"/>
              <a:gd name="T77" fmla="*/ 2147483647 h 869"/>
              <a:gd name="T78" fmla="*/ 2147483647 w 528"/>
              <a:gd name="T79" fmla="*/ 2147483647 h 869"/>
              <a:gd name="T80" fmla="*/ 2147483647 w 528"/>
              <a:gd name="T81" fmla="*/ 2147483647 h 869"/>
              <a:gd name="T82" fmla="*/ 2147483647 w 528"/>
              <a:gd name="T83" fmla="*/ 2147483647 h 869"/>
              <a:gd name="T84" fmla="*/ 2147483647 w 528"/>
              <a:gd name="T85" fmla="*/ 2147483647 h 869"/>
              <a:gd name="T86" fmla="*/ 2147483647 w 528"/>
              <a:gd name="T87" fmla="*/ 2147483647 h 869"/>
              <a:gd name="T88" fmla="*/ 2147483647 w 528"/>
              <a:gd name="T89" fmla="*/ 2147483647 h 869"/>
              <a:gd name="T90" fmla="*/ 2147483647 w 528"/>
              <a:gd name="T91" fmla="*/ 2147483647 h 869"/>
              <a:gd name="T92" fmla="*/ 2147483647 w 528"/>
              <a:gd name="T93" fmla="*/ 2147483647 h 869"/>
              <a:gd name="T94" fmla="*/ 2147483647 w 528"/>
              <a:gd name="T95" fmla="*/ 2147483647 h 8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8"/>
              <a:gd name="T145" fmla="*/ 0 h 869"/>
              <a:gd name="T146" fmla="*/ 528 w 528"/>
              <a:gd name="T147" fmla="*/ 869 h 8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8" h="869">
                <a:moveTo>
                  <a:pt x="108" y="869"/>
                </a:moveTo>
                <a:lnTo>
                  <a:pt x="113" y="841"/>
                </a:lnTo>
                <a:lnTo>
                  <a:pt x="119" y="816"/>
                </a:lnTo>
                <a:lnTo>
                  <a:pt x="123" y="797"/>
                </a:lnTo>
                <a:lnTo>
                  <a:pt x="138" y="778"/>
                </a:lnTo>
                <a:lnTo>
                  <a:pt x="152" y="763"/>
                </a:lnTo>
                <a:lnTo>
                  <a:pt x="163" y="754"/>
                </a:lnTo>
                <a:lnTo>
                  <a:pt x="163" y="744"/>
                </a:lnTo>
                <a:lnTo>
                  <a:pt x="158" y="734"/>
                </a:lnTo>
                <a:lnTo>
                  <a:pt x="163" y="715"/>
                </a:lnTo>
                <a:lnTo>
                  <a:pt x="173" y="700"/>
                </a:lnTo>
                <a:lnTo>
                  <a:pt x="178" y="696"/>
                </a:lnTo>
                <a:lnTo>
                  <a:pt x="173" y="696"/>
                </a:lnTo>
                <a:lnTo>
                  <a:pt x="163" y="681"/>
                </a:lnTo>
                <a:lnTo>
                  <a:pt x="163" y="677"/>
                </a:lnTo>
                <a:lnTo>
                  <a:pt x="163" y="672"/>
                </a:lnTo>
                <a:lnTo>
                  <a:pt x="167" y="672"/>
                </a:lnTo>
                <a:lnTo>
                  <a:pt x="178" y="672"/>
                </a:lnTo>
                <a:lnTo>
                  <a:pt x="187" y="672"/>
                </a:lnTo>
                <a:lnTo>
                  <a:pt x="192" y="666"/>
                </a:lnTo>
                <a:lnTo>
                  <a:pt x="192" y="662"/>
                </a:lnTo>
                <a:lnTo>
                  <a:pt x="187" y="653"/>
                </a:lnTo>
                <a:lnTo>
                  <a:pt x="173" y="638"/>
                </a:lnTo>
                <a:lnTo>
                  <a:pt x="167" y="628"/>
                </a:lnTo>
                <a:lnTo>
                  <a:pt x="163" y="624"/>
                </a:lnTo>
                <a:lnTo>
                  <a:pt x="163" y="619"/>
                </a:lnTo>
                <a:lnTo>
                  <a:pt x="167" y="605"/>
                </a:lnTo>
                <a:lnTo>
                  <a:pt x="167" y="585"/>
                </a:lnTo>
                <a:lnTo>
                  <a:pt x="173" y="565"/>
                </a:lnTo>
                <a:lnTo>
                  <a:pt x="173" y="541"/>
                </a:lnTo>
                <a:lnTo>
                  <a:pt x="178" y="527"/>
                </a:lnTo>
                <a:lnTo>
                  <a:pt x="178" y="512"/>
                </a:lnTo>
                <a:lnTo>
                  <a:pt x="178" y="507"/>
                </a:lnTo>
                <a:lnTo>
                  <a:pt x="98" y="431"/>
                </a:lnTo>
                <a:lnTo>
                  <a:pt x="93" y="425"/>
                </a:lnTo>
                <a:lnTo>
                  <a:pt x="89" y="416"/>
                </a:lnTo>
                <a:lnTo>
                  <a:pt x="84" y="402"/>
                </a:lnTo>
                <a:lnTo>
                  <a:pt x="84" y="387"/>
                </a:lnTo>
                <a:lnTo>
                  <a:pt x="84" y="382"/>
                </a:lnTo>
                <a:lnTo>
                  <a:pt x="78" y="377"/>
                </a:lnTo>
                <a:lnTo>
                  <a:pt x="63" y="363"/>
                </a:lnTo>
                <a:lnTo>
                  <a:pt x="44" y="357"/>
                </a:lnTo>
                <a:lnTo>
                  <a:pt x="39" y="353"/>
                </a:lnTo>
                <a:lnTo>
                  <a:pt x="34" y="353"/>
                </a:lnTo>
                <a:lnTo>
                  <a:pt x="29" y="353"/>
                </a:lnTo>
                <a:lnTo>
                  <a:pt x="15" y="343"/>
                </a:lnTo>
                <a:lnTo>
                  <a:pt x="4" y="324"/>
                </a:lnTo>
                <a:lnTo>
                  <a:pt x="0" y="309"/>
                </a:lnTo>
                <a:lnTo>
                  <a:pt x="4" y="295"/>
                </a:lnTo>
                <a:lnTo>
                  <a:pt x="15" y="281"/>
                </a:lnTo>
                <a:lnTo>
                  <a:pt x="19" y="271"/>
                </a:lnTo>
                <a:lnTo>
                  <a:pt x="29" y="266"/>
                </a:lnTo>
                <a:lnTo>
                  <a:pt x="29" y="262"/>
                </a:lnTo>
                <a:lnTo>
                  <a:pt x="34" y="262"/>
                </a:lnTo>
                <a:lnTo>
                  <a:pt x="49" y="262"/>
                </a:lnTo>
                <a:lnTo>
                  <a:pt x="63" y="262"/>
                </a:lnTo>
                <a:lnTo>
                  <a:pt x="78" y="271"/>
                </a:lnTo>
                <a:lnTo>
                  <a:pt x="89" y="281"/>
                </a:lnTo>
                <a:lnTo>
                  <a:pt x="98" y="285"/>
                </a:lnTo>
                <a:lnTo>
                  <a:pt x="108" y="281"/>
                </a:lnTo>
                <a:lnTo>
                  <a:pt x="119" y="266"/>
                </a:lnTo>
                <a:lnTo>
                  <a:pt x="128" y="256"/>
                </a:lnTo>
                <a:lnTo>
                  <a:pt x="128" y="252"/>
                </a:lnTo>
                <a:lnTo>
                  <a:pt x="138" y="252"/>
                </a:lnTo>
                <a:lnTo>
                  <a:pt x="152" y="247"/>
                </a:lnTo>
                <a:lnTo>
                  <a:pt x="173" y="241"/>
                </a:lnTo>
                <a:lnTo>
                  <a:pt x="178" y="241"/>
                </a:lnTo>
                <a:lnTo>
                  <a:pt x="182" y="237"/>
                </a:lnTo>
                <a:lnTo>
                  <a:pt x="187" y="218"/>
                </a:lnTo>
                <a:lnTo>
                  <a:pt x="197" y="203"/>
                </a:lnTo>
                <a:lnTo>
                  <a:pt x="202" y="199"/>
                </a:lnTo>
                <a:lnTo>
                  <a:pt x="207" y="203"/>
                </a:lnTo>
                <a:lnTo>
                  <a:pt x="212" y="213"/>
                </a:lnTo>
                <a:lnTo>
                  <a:pt x="212" y="222"/>
                </a:lnTo>
                <a:lnTo>
                  <a:pt x="227" y="222"/>
                </a:lnTo>
                <a:lnTo>
                  <a:pt x="232" y="209"/>
                </a:lnTo>
                <a:lnTo>
                  <a:pt x="232" y="194"/>
                </a:lnTo>
                <a:lnTo>
                  <a:pt x="221" y="180"/>
                </a:lnTo>
                <a:lnTo>
                  <a:pt x="217" y="160"/>
                </a:lnTo>
                <a:lnTo>
                  <a:pt x="217" y="131"/>
                </a:lnTo>
                <a:lnTo>
                  <a:pt x="217" y="107"/>
                </a:lnTo>
                <a:lnTo>
                  <a:pt x="221" y="87"/>
                </a:lnTo>
                <a:lnTo>
                  <a:pt x="232" y="78"/>
                </a:lnTo>
                <a:lnTo>
                  <a:pt x="236" y="73"/>
                </a:lnTo>
                <a:lnTo>
                  <a:pt x="236" y="68"/>
                </a:lnTo>
                <a:lnTo>
                  <a:pt x="236" y="63"/>
                </a:lnTo>
                <a:lnTo>
                  <a:pt x="252" y="25"/>
                </a:lnTo>
                <a:lnTo>
                  <a:pt x="256" y="19"/>
                </a:lnTo>
                <a:lnTo>
                  <a:pt x="266" y="10"/>
                </a:lnTo>
                <a:lnTo>
                  <a:pt x="271" y="0"/>
                </a:lnTo>
                <a:lnTo>
                  <a:pt x="277" y="6"/>
                </a:lnTo>
                <a:lnTo>
                  <a:pt x="281" y="30"/>
                </a:lnTo>
                <a:lnTo>
                  <a:pt x="286" y="44"/>
                </a:lnTo>
                <a:lnTo>
                  <a:pt x="291" y="53"/>
                </a:lnTo>
                <a:lnTo>
                  <a:pt x="296" y="59"/>
                </a:lnTo>
                <a:lnTo>
                  <a:pt x="306" y="59"/>
                </a:lnTo>
                <a:lnTo>
                  <a:pt x="311" y="53"/>
                </a:lnTo>
                <a:lnTo>
                  <a:pt x="331" y="30"/>
                </a:lnTo>
                <a:lnTo>
                  <a:pt x="340" y="15"/>
                </a:lnTo>
                <a:lnTo>
                  <a:pt x="351" y="10"/>
                </a:lnTo>
                <a:lnTo>
                  <a:pt x="355" y="10"/>
                </a:lnTo>
                <a:lnTo>
                  <a:pt x="355" y="15"/>
                </a:lnTo>
                <a:lnTo>
                  <a:pt x="355" y="30"/>
                </a:lnTo>
                <a:lnTo>
                  <a:pt x="355" y="40"/>
                </a:lnTo>
                <a:lnTo>
                  <a:pt x="360" y="59"/>
                </a:lnTo>
                <a:lnTo>
                  <a:pt x="370" y="83"/>
                </a:lnTo>
                <a:lnTo>
                  <a:pt x="385" y="107"/>
                </a:lnTo>
                <a:lnTo>
                  <a:pt x="394" y="112"/>
                </a:lnTo>
                <a:lnTo>
                  <a:pt x="400" y="116"/>
                </a:lnTo>
                <a:lnTo>
                  <a:pt x="409" y="121"/>
                </a:lnTo>
                <a:lnTo>
                  <a:pt x="420" y="126"/>
                </a:lnTo>
                <a:lnTo>
                  <a:pt x="424" y="141"/>
                </a:lnTo>
                <a:lnTo>
                  <a:pt x="424" y="150"/>
                </a:lnTo>
                <a:lnTo>
                  <a:pt x="424" y="169"/>
                </a:lnTo>
                <a:lnTo>
                  <a:pt x="429" y="188"/>
                </a:lnTo>
                <a:lnTo>
                  <a:pt x="435" y="213"/>
                </a:lnTo>
                <a:lnTo>
                  <a:pt x="440" y="228"/>
                </a:lnTo>
                <a:lnTo>
                  <a:pt x="440" y="247"/>
                </a:lnTo>
                <a:lnTo>
                  <a:pt x="440" y="275"/>
                </a:lnTo>
                <a:lnTo>
                  <a:pt x="444" y="305"/>
                </a:lnTo>
                <a:lnTo>
                  <a:pt x="454" y="338"/>
                </a:lnTo>
                <a:lnTo>
                  <a:pt x="459" y="353"/>
                </a:lnTo>
                <a:lnTo>
                  <a:pt x="464" y="363"/>
                </a:lnTo>
                <a:lnTo>
                  <a:pt x="474" y="372"/>
                </a:lnTo>
                <a:lnTo>
                  <a:pt x="483" y="372"/>
                </a:lnTo>
                <a:lnTo>
                  <a:pt x="509" y="372"/>
                </a:lnTo>
                <a:lnTo>
                  <a:pt x="518" y="372"/>
                </a:lnTo>
                <a:lnTo>
                  <a:pt x="524" y="377"/>
                </a:lnTo>
                <a:lnTo>
                  <a:pt x="528" y="382"/>
                </a:lnTo>
                <a:lnTo>
                  <a:pt x="528" y="387"/>
                </a:lnTo>
                <a:lnTo>
                  <a:pt x="524" y="387"/>
                </a:lnTo>
                <a:lnTo>
                  <a:pt x="518" y="387"/>
                </a:lnTo>
                <a:lnTo>
                  <a:pt x="513" y="391"/>
                </a:lnTo>
                <a:lnTo>
                  <a:pt x="494" y="402"/>
                </a:lnTo>
                <a:lnTo>
                  <a:pt x="494" y="416"/>
                </a:lnTo>
                <a:lnTo>
                  <a:pt x="498" y="425"/>
                </a:lnTo>
                <a:lnTo>
                  <a:pt x="504" y="435"/>
                </a:lnTo>
                <a:lnTo>
                  <a:pt x="509" y="440"/>
                </a:lnTo>
                <a:lnTo>
                  <a:pt x="509" y="444"/>
                </a:lnTo>
                <a:lnTo>
                  <a:pt x="504" y="450"/>
                </a:lnTo>
                <a:lnTo>
                  <a:pt x="494" y="469"/>
                </a:lnTo>
                <a:lnTo>
                  <a:pt x="483" y="493"/>
                </a:lnTo>
                <a:lnTo>
                  <a:pt x="479" y="507"/>
                </a:lnTo>
                <a:lnTo>
                  <a:pt x="483" y="512"/>
                </a:lnTo>
                <a:lnTo>
                  <a:pt x="483" y="517"/>
                </a:lnTo>
                <a:lnTo>
                  <a:pt x="494" y="527"/>
                </a:lnTo>
                <a:lnTo>
                  <a:pt x="498" y="537"/>
                </a:lnTo>
                <a:lnTo>
                  <a:pt x="509" y="551"/>
                </a:lnTo>
                <a:lnTo>
                  <a:pt x="513" y="565"/>
                </a:lnTo>
                <a:lnTo>
                  <a:pt x="518" y="575"/>
                </a:lnTo>
                <a:lnTo>
                  <a:pt x="509" y="585"/>
                </a:lnTo>
                <a:lnTo>
                  <a:pt x="494" y="585"/>
                </a:lnTo>
                <a:lnTo>
                  <a:pt x="479" y="579"/>
                </a:lnTo>
                <a:lnTo>
                  <a:pt x="459" y="579"/>
                </a:lnTo>
                <a:lnTo>
                  <a:pt x="449" y="585"/>
                </a:lnTo>
                <a:lnTo>
                  <a:pt x="440" y="594"/>
                </a:lnTo>
                <a:lnTo>
                  <a:pt x="424" y="619"/>
                </a:lnTo>
                <a:lnTo>
                  <a:pt x="400" y="628"/>
                </a:lnTo>
                <a:lnTo>
                  <a:pt x="385" y="632"/>
                </a:lnTo>
                <a:lnTo>
                  <a:pt x="375" y="643"/>
                </a:lnTo>
                <a:lnTo>
                  <a:pt x="370" y="657"/>
                </a:lnTo>
                <a:lnTo>
                  <a:pt x="375" y="666"/>
                </a:lnTo>
                <a:lnTo>
                  <a:pt x="385" y="681"/>
                </a:lnTo>
                <a:lnTo>
                  <a:pt x="394" y="700"/>
                </a:lnTo>
                <a:lnTo>
                  <a:pt x="405" y="720"/>
                </a:lnTo>
                <a:lnTo>
                  <a:pt x="405" y="729"/>
                </a:lnTo>
                <a:lnTo>
                  <a:pt x="405" y="734"/>
                </a:lnTo>
                <a:lnTo>
                  <a:pt x="414" y="744"/>
                </a:lnTo>
                <a:lnTo>
                  <a:pt x="429" y="759"/>
                </a:lnTo>
                <a:lnTo>
                  <a:pt x="454" y="774"/>
                </a:lnTo>
                <a:lnTo>
                  <a:pt x="464" y="782"/>
                </a:lnTo>
                <a:lnTo>
                  <a:pt x="469" y="788"/>
                </a:lnTo>
                <a:lnTo>
                  <a:pt x="459" y="802"/>
                </a:lnTo>
                <a:lnTo>
                  <a:pt x="444" y="807"/>
                </a:lnTo>
                <a:lnTo>
                  <a:pt x="429" y="812"/>
                </a:lnTo>
                <a:lnTo>
                  <a:pt x="420" y="821"/>
                </a:lnTo>
                <a:lnTo>
                  <a:pt x="414" y="835"/>
                </a:lnTo>
                <a:lnTo>
                  <a:pt x="409" y="850"/>
                </a:lnTo>
                <a:lnTo>
                  <a:pt x="409" y="860"/>
                </a:lnTo>
                <a:lnTo>
                  <a:pt x="390" y="846"/>
                </a:lnTo>
                <a:lnTo>
                  <a:pt x="366" y="831"/>
                </a:lnTo>
                <a:lnTo>
                  <a:pt x="346" y="821"/>
                </a:lnTo>
                <a:lnTo>
                  <a:pt x="316" y="816"/>
                </a:lnTo>
                <a:lnTo>
                  <a:pt x="296" y="821"/>
                </a:lnTo>
                <a:lnTo>
                  <a:pt x="286" y="827"/>
                </a:lnTo>
                <a:lnTo>
                  <a:pt x="277" y="835"/>
                </a:lnTo>
                <a:lnTo>
                  <a:pt x="266" y="850"/>
                </a:lnTo>
                <a:lnTo>
                  <a:pt x="247" y="860"/>
                </a:lnTo>
                <a:lnTo>
                  <a:pt x="221" y="869"/>
                </a:lnTo>
                <a:lnTo>
                  <a:pt x="182" y="869"/>
                </a:lnTo>
                <a:lnTo>
                  <a:pt x="158" y="869"/>
                </a:lnTo>
                <a:lnTo>
                  <a:pt x="128" y="869"/>
                </a:lnTo>
                <a:lnTo>
                  <a:pt x="113" y="869"/>
                </a:lnTo>
                <a:lnTo>
                  <a:pt x="103" y="865"/>
                </a:lnTo>
                <a:lnTo>
                  <a:pt x="108" y="869"/>
                </a:lnTo>
                <a:close/>
              </a:path>
            </a:pathLst>
          </a:custGeom>
          <a:solidFill>
            <a:srgbClr val="005027"/>
          </a:solidFill>
          <a:ln w="9525">
            <a:solidFill>
              <a:schemeClr val="bg1"/>
            </a:solidFill>
            <a:round/>
            <a:headEnd/>
            <a:tailEnd/>
          </a:ln>
        </p:spPr>
        <p:txBody>
          <a:bodyPr/>
          <a:lstStyle/>
          <a:p>
            <a:endParaRPr lang="ro-RO"/>
          </a:p>
        </p:txBody>
      </p:sp>
      <p:sp>
        <p:nvSpPr>
          <p:cNvPr id="12302" name="Freeform 11"/>
          <p:cNvSpPr>
            <a:spLocks/>
          </p:cNvSpPr>
          <p:nvPr/>
        </p:nvSpPr>
        <p:spPr bwMode="auto">
          <a:xfrm>
            <a:off x="3179763" y="4759325"/>
            <a:ext cx="763587" cy="884238"/>
          </a:xfrm>
          <a:custGeom>
            <a:avLst/>
            <a:gdLst>
              <a:gd name="T0" fmla="*/ 2147483647 w 594"/>
              <a:gd name="T1" fmla="*/ 2147483647 h 640"/>
              <a:gd name="T2" fmla="*/ 2147483647 w 594"/>
              <a:gd name="T3" fmla="*/ 2147483647 h 640"/>
              <a:gd name="T4" fmla="*/ 2147483647 w 594"/>
              <a:gd name="T5" fmla="*/ 2147483647 h 640"/>
              <a:gd name="T6" fmla="*/ 2147483647 w 594"/>
              <a:gd name="T7" fmla="*/ 2147483647 h 640"/>
              <a:gd name="T8" fmla="*/ 2147483647 w 594"/>
              <a:gd name="T9" fmla="*/ 2147483647 h 640"/>
              <a:gd name="T10" fmla="*/ 2147483647 w 594"/>
              <a:gd name="T11" fmla="*/ 2147483647 h 640"/>
              <a:gd name="T12" fmla="*/ 2147483647 w 594"/>
              <a:gd name="T13" fmla="*/ 2147483647 h 640"/>
              <a:gd name="T14" fmla="*/ 2147483647 w 594"/>
              <a:gd name="T15" fmla="*/ 2147483647 h 640"/>
              <a:gd name="T16" fmla="*/ 2147483647 w 594"/>
              <a:gd name="T17" fmla="*/ 2147483647 h 640"/>
              <a:gd name="T18" fmla="*/ 2147483647 w 594"/>
              <a:gd name="T19" fmla="*/ 2147483647 h 640"/>
              <a:gd name="T20" fmla="*/ 2147483647 w 594"/>
              <a:gd name="T21" fmla="*/ 2147483647 h 640"/>
              <a:gd name="T22" fmla="*/ 2147483647 w 594"/>
              <a:gd name="T23" fmla="*/ 2147483647 h 640"/>
              <a:gd name="T24" fmla="*/ 2147483647 w 594"/>
              <a:gd name="T25" fmla="*/ 2147483647 h 640"/>
              <a:gd name="T26" fmla="*/ 2147483647 w 594"/>
              <a:gd name="T27" fmla="*/ 2147483647 h 640"/>
              <a:gd name="T28" fmla="*/ 2147483647 w 594"/>
              <a:gd name="T29" fmla="*/ 2147483647 h 640"/>
              <a:gd name="T30" fmla="*/ 2147483647 w 594"/>
              <a:gd name="T31" fmla="*/ 2147483647 h 640"/>
              <a:gd name="T32" fmla="*/ 2147483647 w 594"/>
              <a:gd name="T33" fmla="*/ 2147483647 h 640"/>
              <a:gd name="T34" fmla="*/ 2147483647 w 594"/>
              <a:gd name="T35" fmla="*/ 2147483647 h 640"/>
              <a:gd name="T36" fmla="*/ 2147483647 w 594"/>
              <a:gd name="T37" fmla="*/ 2147483647 h 640"/>
              <a:gd name="T38" fmla="*/ 2147483647 w 594"/>
              <a:gd name="T39" fmla="*/ 2147483647 h 640"/>
              <a:gd name="T40" fmla="*/ 2147483647 w 594"/>
              <a:gd name="T41" fmla="*/ 2147483647 h 640"/>
              <a:gd name="T42" fmla="*/ 2147483647 w 594"/>
              <a:gd name="T43" fmla="*/ 2147483647 h 640"/>
              <a:gd name="T44" fmla="*/ 2147483647 w 594"/>
              <a:gd name="T45" fmla="*/ 2147483647 h 640"/>
              <a:gd name="T46" fmla="*/ 2147483647 w 594"/>
              <a:gd name="T47" fmla="*/ 2147483647 h 640"/>
              <a:gd name="T48" fmla="*/ 2147483647 w 594"/>
              <a:gd name="T49" fmla="*/ 2147483647 h 640"/>
              <a:gd name="T50" fmla="*/ 2147483647 w 594"/>
              <a:gd name="T51" fmla="*/ 2147483647 h 640"/>
              <a:gd name="T52" fmla="*/ 2147483647 w 594"/>
              <a:gd name="T53" fmla="*/ 2147483647 h 640"/>
              <a:gd name="T54" fmla="*/ 2147483647 w 594"/>
              <a:gd name="T55" fmla="*/ 2147483647 h 640"/>
              <a:gd name="T56" fmla="*/ 2147483647 w 594"/>
              <a:gd name="T57" fmla="*/ 2147483647 h 640"/>
              <a:gd name="T58" fmla="*/ 2147483647 w 594"/>
              <a:gd name="T59" fmla="*/ 2147483647 h 640"/>
              <a:gd name="T60" fmla="*/ 2147483647 w 594"/>
              <a:gd name="T61" fmla="*/ 2147483647 h 640"/>
              <a:gd name="T62" fmla="*/ 2147483647 w 594"/>
              <a:gd name="T63" fmla="*/ 2147483647 h 640"/>
              <a:gd name="T64" fmla="*/ 2147483647 w 594"/>
              <a:gd name="T65" fmla="*/ 2147483647 h 640"/>
              <a:gd name="T66" fmla="*/ 2147483647 w 594"/>
              <a:gd name="T67" fmla="*/ 2147483647 h 640"/>
              <a:gd name="T68" fmla="*/ 2147483647 w 594"/>
              <a:gd name="T69" fmla="*/ 2147483647 h 640"/>
              <a:gd name="T70" fmla="*/ 2147483647 w 594"/>
              <a:gd name="T71" fmla="*/ 2147483647 h 640"/>
              <a:gd name="T72" fmla="*/ 2147483647 w 594"/>
              <a:gd name="T73" fmla="*/ 2147483647 h 640"/>
              <a:gd name="T74" fmla="*/ 2147483647 w 594"/>
              <a:gd name="T75" fmla="*/ 2147483647 h 640"/>
              <a:gd name="T76" fmla="*/ 2147483647 w 594"/>
              <a:gd name="T77" fmla="*/ 2147483647 h 640"/>
              <a:gd name="T78" fmla="*/ 2147483647 w 594"/>
              <a:gd name="T79" fmla="*/ 2147483647 h 640"/>
              <a:gd name="T80" fmla="*/ 2147483647 w 594"/>
              <a:gd name="T81" fmla="*/ 2147483647 h 640"/>
              <a:gd name="T82" fmla="*/ 2147483647 w 594"/>
              <a:gd name="T83" fmla="*/ 2147483647 h 640"/>
              <a:gd name="T84" fmla="*/ 2147483647 w 594"/>
              <a:gd name="T85" fmla="*/ 2147483647 h 640"/>
              <a:gd name="T86" fmla="*/ 2147483647 w 594"/>
              <a:gd name="T87" fmla="*/ 2147483647 h 640"/>
              <a:gd name="T88" fmla="*/ 2147483647 w 594"/>
              <a:gd name="T89" fmla="*/ 2147483647 h 640"/>
              <a:gd name="T90" fmla="*/ 2147483647 w 594"/>
              <a:gd name="T91" fmla="*/ 2147483647 h 640"/>
              <a:gd name="T92" fmla="*/ 2147483647 w 594"/>
              <a:gd name="T93" fmla="*/ 2147483647 h 640"/>
              <a:gd name="T94" fmla="*/ 2147483647 w 594"/>
              <a:gd name="T95" fmla="*/ 2147483647 h 640"/>
              <a:gd name="T96" fmla="*/ 2147483647 w 594"/>
              <a:gd name="T97" fmla="*/ 2147483647 h 640"/>
              <a:gd name="T98" fmla="*/ 2147483647 w 594"/>
              <a:gd name="T99" fmla="*/ 2147483647 h 640"/>
              <a:gd name="T100" fmla="*/ 2147483647 w 594"/>
              <a:gd name="T101" fmla="*/ 2147483647 h 640"/>
              <a:gd name="T102" fmla="*/ 2147483647 w 594"/>
              <a:gd name="T103" fmla="*/ 2147483647 h 640"/>
              <a:gd name="T104" fmla="*/ 2147483647 w 59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94"/>
              <a:gd name="T160" fmla="*/ 0 h 640"/>
              <a:gd name="T161" fmla="*/ 594 w 59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94" h="640">
                <a:moveTo>
                  <a:pt x="39" y="573"/>
                </a:moveTo>
                <a:lnTo>
                  <a:pt x="39" y="562"/>
                </a:lnTo>
                <a:lnTo>
                  <a:pt x="44" y="548"/>
                </a:lnTo>
                <a:lnTo>
                  <a:pt x="50" y="533"/>
                </a:lnTo>
                <a:lnTo>
                  <a:pt x="59" y="524"/>
                </a:lnTo>
                <a:lnTo>
                  <a:pt x="74" y="520"/>
                </a:lnTo>
                <a:lnTo>
                  <a:pt x="89" y="514"/>
                </a:lnTo>
                <a:lnTo>
                  <a:pt x="99" y="501"/>
                </a:lnTo>
                <a:lnTo>
                  <a:pt x="93" y="495"/>
                </a:lnTo>
                <a:lnTo>
                  <a:pt x="84" y="486"/>
                </a:lnTo>
                <a:lnTo>
                  <a:pt x="59" y="472"/>
                </a:lnTo>
                <a:lnTo>
                  <a:pt x="44" y="457"/>
                </a:lnTo>
                <a:lnTo>
                  <a:pt x="35" y="447"/>
                </a:lnTo>
                <a:lnTo>
                  <a:pt x="35" y="442"/>
                </a:lnTo>
                <a:lnTo>
                  <a:pt x="35" y="433"/>
                </a:lnTo>
                <a:lnTo>
                  <a:pt x="24" y="413"/>
                </a:lnTo>
                <a:lnTo>
                  <a:pt x="15" y="394"/>
                </a:lnTo>
                <a:lnTo>
                  <a:pt x="4" y="379"/>
                </a:lnTo>
                <a:lnTo>
                  <a:pt x="0" y="371"/>
                </a:lnTo>
                <a:lnTo>
                  <a:pt x="4" y="356"/>
                </a:lnTo>
                <a:lnTo>
                  <a:pt x="15" y="346"/>
                </a:lnTo>
                <a:lnTo>
                  <a:pt x="30" y="341"/>
                </a:lnTo>
                <a:lnTo>
                  <a:pt x="54" y="332"/>
                </a:lnTo>
                <a:lnTo>
                  <a:pt x="69" y="308"/>
                </a:lnTo>
                <a:lnTo>
                  <a:pt x="78" y="298"/>
                </a:lnTo>
                <a:lnTo>
                  <a:pt x="89" y="293"/>
                </a:lnTo>
                <a:lnTo>
                  <a:pt x="109" y="293"/>
                </a:lnTo>
                <a:lnTo>
                  <a:pt x="124" y="298"/>
                </a:lnTo>
                <a:lnTo>
                  <a:pt x="139" y="298"/>
                </a:lnTo>
                <a:lnTo>
                  <a:pt x="148" y="288"/>
                </a:lnTo>
                <a:lnTo>
                  <a:pt x="143" y="278"/>
                </a:lnTo>
                <a:lnTo>
                  <a:pt x="139" y="265"/>
                </a:lnTo>
                <a:lnTo>
                  <a:pt x="128" y="250"/>
                </a:lnTo>
                <a:lnTo>
                  <a:pt x="124" y="240"/>
                </a:lnTo>
                <a:lnTo>
                  <a:pt x="113" y="231"/>
                </a:lnTo>
                <a:lnTo>
                  <a:pt x="113" y="225"/>
                </a:lnTo>
                <a:lnTo>
                  <a:pt x="109" y="221"/>
                </a:lnTo>
                <a:lnTo>
                  <a:pt x="113" y="206"/>
                </a:lnTo>
                <a:lnTo>
                  <a:pt x="124" y="183"/>
                </a:lnTo>
                <a:lnTo>
                  <a:pt x="134" y="164"/>
                </a:lnTo>
                <a:lnTo>
                  <a:pt x="139" y="158"/>
                </a:lnTo>
                <a:lnTo>
                  <a:pt x="139" y="154"/>
                </a:lnTo>
                <a:lnTo>
                  <a:pt x="134" y="149"/>
                </a:lnTo>
                <a:lnTo>
                  <a:pt x="128" y="139"/>
                </a:lnTo>
                <a:lnTo>
                  <a:pt x="124" y="130"/>
                </a:lnTo>
                <a:lnTo>
                  <a:pt x="124" y="115"/>
                </a:lnTo>
                <a:lnTo>
                  <a:pt x="143" y="105"/>
                </a:lnTo>
                <a:lnTo>
                  <a:pt x="148" y="101"/>
                </a:lnTo>
                <a:lnTo>
                  <a:pt x="154" y="101"/>
                </a:lnTo>
                <a:lnTo>
                  <a:pt x="178" y="91"/>
                </a:lnTo>
                <a:lnTo>
                  <a:pt x="183" y="91"/>
                </a:lnTo>
                <a:lnTo>
                  <a:pt x="188" y="86"/>
                </a:lnTo>
                <a:lnTo>
                  <a:pt x="213" y="77"/>
                </a:lnTo>
                <a:lnTo>
                  <a:pt x="238" y="67"/>
                </a:lnTo>
                <a:lnTo>
                  <a:pt x="258" y="63"/>
                </a:lnTo>
                <a:lnTo>
                  <a:pt x="272" y="57"/>
                </a:lnTo>
                <a:lnTo>
                  <a:pt x="287" y="48"/>
                </a:lnTo>
                <a:lnTo>
                  <a:pt x="302" y="43"/>
                </a:lnTo>
                <a:lnTo>
                  <a:pt x="312" y="48"/>
                </a:lnTo>
                <a:lnTo>
                  <a:pt x="317" y="57"/>
                </a:lnTo>
                <a:lnTo>
                  <a:pt x="321" y="67"/>
                </a:lnTo>
                <a:lnTo>
                  <a:pt x="332" y="72"/>
                </a:lnTo>
                <a:lnTo>
                  <a:pt x="341" y="77"/>
                </a:lnTo>
                <a:lnTo>
                  <a:pt x="356" y="72"/>
                </a:lnTo>
                <a:lnTo>
                  <a:pt x="367" y="67"/>
                </a:lnTo>
                <a:lnTo>
                  <a:pt x="381" y="63"/>
                </a:lnTo>
                <a:lnTo>
                  <a:pt x="391" y="53"/>
                </a:lnTo>
                <a:lnTo>
                  <a:pt x="397" y="38"/>
                </a:lnTo>
                <a:lnTo>
                  <a:pt x="397" y="33"/>
                </a:lnTo>
                <a:lnTo>
                  <a:pt x="397" y="23"/>
                </a:lnTo>
                <a:lnTo>
                  <a:pt x="401" y="10"/>
                </a:lnTo>
                <a:lnTo>
                  <a:pt x="406" y="4"/>
                </a:lnTo>
                <a:lnTo>
                  <a:pt x="410" y="0"/>
                </a:lnTo>
                <a:lnTo>
                  <a:pt x="421" y="0"/>
                </a:lnTo>
                <a:lnTo>
                  <a:pt x="436" y="10"/>
                </a:lnTo>
                <a:lnTo>
                  <a:pt x="451" y="19"/>
                </a:lnTo>
                <a:lnTo>
                  <a:pt x="460" y="29"/>
                </a:lnTo>
                <a:lnTo>
                  <a:pt x="466" y="38"/>
                </a:lnTo>
                <a:lnTo>
                  <a:pt x="460" y="48"/>
                </a:lnTo>
                <a:lnTo>
                  <a:pt x="445" y="63"/>
                </a:lnTo>
                <a:lnTo>
                  <a:pt x="436" y="72"/>
                </a:lnTo>
                <a:lnTo>
                  <a:pt x="436" y="82"/>
                </a:lnTo>
                <a:lnTo>
                  <a:pt x="441" y="96"/>
                </a:lnTo>
                <a:lnTo>
                  <a:pt x="451" y="120"/>
                </a:lnTo>
                <a:lnTo>
                  <a:pt x="455" y="134"/>
                </a:lnTo>
                <a:lnTo>
                  <a:pt x="466" y="139"/>
                </a:lnTo>
                <a:lnTo>
                  <a:pt x="480" y="149"/>
                </a:lnTo>
                <a:lnTo>
                  <a:pt x="500" y="145"/>
                </a:lnTo>
                <a:lnTo>
                  <a:pt x="515" y="145"/>
                </a:lnTo>
                <a:lnTo>
                  <a:pt x="534" y="139"/>
                </a:lnTo>
                <a:lnTo>
                  <a:pt x="540" y="145"/>
                </a:lnTo>
                <a:lnTo>
                  <a:pt x="540" y="149"/>
                </a:lnTo>
                <a:lnTo>
                  <a:pt x="540" y="158"/>
                </a:lnTo>
                <a:lnTo>
                  <a:pt x="545" y="168"/>
                </a:lnTo>
                <a:lnTo>
                  <a:pt x="549" y="168"/>
                </a:lnTo>
                <a:lnTo>
                  <a:pt x="555" y="168"/>
                </a:lnTo>
                <a:lnTo>
                  <a:pt x="560" y="168"/>
                </a:lnTo>
                <a:lnTo>
                  <a:pt x="564" y="164"/>
                </a:lnTo>
                <a:lnTo>
                  <a:pt x="569" y="164"/>
                </a:lnTo>
                <a:lnTo>
                  <a:pt x="579" y="168"/>
                </a:lnTo>
                <a:lnTo>
                  <a:pt x="584" y="178"/>
                </a:lnTo>
                <a:lnTo>
                  <a:pt x="579" y="187"/>
                </a:lnTo>
                <a:lnTo>
                  <a:pt x="575" y="192"/>
                </a:lnTo>
                <a:lnTo>
                  <a:pt x="569" y="206"/>
                </a:lnTo>
                <a:lnTo>
                  <a:pt x="564" y="231"/>
                </a:lnTo>
                <a:lnTo>
                  <a:pt x="564" y="250"/>
                </a:lnTo>
                <a:lnTo>
                  <a:pt x="579" y="259"/>
                </a:lnTo>
                <a:lnTo>
                  <a:pt x="590" y="274"/>
                </a:lnTo>
                <a:lnTo>
                  <a:pt x="594" y="284"/>
                </a:lnTo>
                <a:lnTo>
                  <a:pt x="590" y="288"/>
                </a:lnTo>
                <a:lnTo>
                  <a:pt x="579" y="293"/>
                </a:lnTo>
                <a:lnTo>
                  <a:pt x="560" y="298"/>
                </a:lnTo>
                <a:lnTo>
                  <a:pt x="545" y="308"/>
                </a:lnTo>
                <a:lnTo>
                  <a:pt x="534" y="332"/>
                </a:lnTo>
                <a:lnTo>
                  <a:pt x="534" y="356"/>
                </a:lnTo>
                <a:lnTo>
                  <a:pt x="534" y="379"/>
                </a:lnTo>
                <a:lnTo>
                  <a:pt x="534" y="400"/>
                </a:lnTo>
                <a:lnTo>
                  <a:pt x="545" y="428"/>
                </a:lnTo>
                <a:lnTo>
                  <a:pt x="549" y="438"/>
                </a:lnTo>
                <a:lnTo>
                  <a:pt x="549" y="452"/>
                </a:lnTo>
                <a:lnTo>
                  <a:pt x="545" y="467"/>
                </a:lnTo>
                <a:lnTo>
                  <a:pt x="549" y="480"/>
                </a:lnTo>
                <a:lnTo>
                  <a:pt x="560" y="505"/>
                </a:lnTo>
                <a:lnTo>
                  <a:pt x="569" y="524"/>
                </a:lnTo>
                <a:lnTo>
                  <a:pt x="575" y="548"/>
                </a:lnTo>
                <a:lnTo>
                  <a:pt x="579" y="573"/>
                </a:lnTo>
                <a:lnTo>
                  <a:pt x="579" y="577"/>
                </a:lnTo>
                <a:lnTo>
                  <a:pt x="579" y="582"/>
                </a:lnTo>
                <a:lnTo>
                  <a:pt x="564" y="582"/>
                </a:lnTo>
                <a:lnTo>
                  <a:pt x="555" y="587"/>
                </a:lnTo>
                <a:lnTo>
                  <a:pt x="545" y="596"/>
                </a:lnTo>
                <a:lnTo>
                  <a:pt x="540" y="606"/>
                </a:lnTo>
                <a:lnTo>
                  <a:pt x="525" y="621"/>
                </a:lnTo>
                <a:lnTo>
                  <a:pt x="505" y="630"/>
                </a:lnTo>
                <a:lnTo>
                  <a:pt x="471" y="634"/>
                </a:lnTo>
                <a:lnTo>
                  <a:pt x="445" y="640"/>
                </a:lnTo>
                <a:lnTo>
                  <a:pt x="416" y="640"/>
                </a:lnTo>
                <a:lnTo>
                  <a:pt x="397" y="640"/>
                </a:lnTo>
                <a:lnTo>
                  <a:pt x="381" y="630"/>
                </a:lnTo>
                <a:lnTo>
                  <a:pt x="371" y="615"/>
                </a:lnTo>
                <a:lnTo>
                  <a:pt x="356" y="596"/>
                </a:lnTo>
                <a:lnTo>
                  <a:pt x="347" y="592"/>
                </a:lnTo>
                <a:lnTo>
                  <a:pt x="327" y="587"/>
                </a:lnTo>
                <a:lnTo>
                  <a:pt x="312" y="587"/>
                </a:lnTo>
                <a:lnTo>
                  <a:pt x="297" y="592"/>
                </a:lnTo>
                <a:lnTo>
                  <a:pt x="282" y="596"/>
                </a:lnTo>
                <a:lnTo>
                  <a:pt x="267" y="596"/>
                </a:lnTo>
                <a:lnTo>
                  <a:pt x="258" y="596"/>
                </a:lnTo>
                <a:lnTo>
                  <a:pt x="247" y="592"/>
                </a:lnTo>
                <a:lnTo>
                  <a:pt x="238" y="577"/>
                </a:lnTo>
                <a:lnTo>
                  <a:pt x="232" y="567"/>
                </a:lnTo>
                <a:lnTo>
                  <a:pt x="223" y="562"/>
                </a:lnTo>
                <a:lnTo>
                  <a:pt x="203" y="562"/>
                </a:lnTo>
                <a:lnTo>
                  <a:pt x="183" y="562"/>
                </a:lnTo>
                <a:lnTo>
                  <a:pt x="134" y="573"/>
                </a:lnTo>
                <a:lnTo>
                  <a:pt x="109" y="582"/>
                </a:lnTo>
                <a:lnTo>
                  <a:pt x="78" y="582"/>
                </a:lnTo>
                <a:lnTo>
                  <a:pt x="59" y="582"/>
                </a:lnTo>
                <a:lnTo>
                  <a:pt x="39" y="573"/>
                </a:lnTo>
                <a:close/>
              </a:path>
            </a:pathLst>
          </a:custGeom>
          <a:solidFill>
            <a:srgbClr val="005027"/>
          </a:solidFill>
          <a:ln w="9525">
            <a:solidFill>
              <a:schemeClr val="bg1"/>
            </a:solidFill>
            <a:round/>
            <a:headEnd/>
            <a:tailEnd/>
          </a:ln>
        </p:spPr>
        <p:txBody>
          <a:bodyPr/>
          <a:lstStyle/>
          <a:p>
            <a:endParaRPr lang="ro-RO"/>
          </a:p>
        </p:txBody>
      </p:sp>
      <p:sp>
        <p:nvSpPr>
          <p:cNvPr id="12303" name="Freeform 12"/>
          <p:cNvSpPr>
            <a:spLocks/>
          </p:cNvSpPr>
          <p:nvPr/>
        </p:nvSpPr>
        <p:spPr bwMode="auto">
          <a:xfrm>
            <a:off x="3741738" y="4730750"/>
            <a:ext cx="685800" cy="849313"/>
          </a:xfrm>
          <a:custGeom>
            <a:avLst/>
            <a:gdLst>
              <a:gd name="T0" fmla="*/ 2147483647 w 533"/>
              <a:gd name="T1" fmla="*/ 2147483647 h 615"/>
              <a:gd name="T2" fmla="*/ 2147483647 w 533"/>
              <a:gd name="T3" fmla="*/ 2147483647 h 615"/>
              <a:gd name="T4" fmla="*/ 2147483647 w 533"/>
              <a:gd name="T5" fmla="*/ 2147483647 h 615"/>
              <a:gd name="T6" fmla="*/ 2147483647 w 533"/>
              <a:gd name="T7" fmla="*/ 2147483647 h 615"/>
              <a:gd name="T8" fmla="*/ 2147483647 w 533"/>
              <a:gd name="T9" fmla="*/ 2147483647 h 615"/>
              <a:gd name="T10" fmla="*/ 2147483647 w 533"/>
              <a:gd name="T11" fmla="*/ 2147483647 h 615"/>
              <a:gd name="T12" fmla="*/ 2147483647 w 533"/>
              <a:gd name="T13" fmla="*/ 2147483647 h 615"/>
              <a:gd name="T14" fmla="*/ 2147483647 w 533"/>
              <a:gd name="T15" fmla="*/ 2147483647 h 615"/>
              <a:gd name="T16" fmla="*/ 2147483647 w 533"/>
              <a:gd name="T17" fmla="*/ 2147483647 h 615"/>
              <a:gd name="T18" fmla="*/ 2147483647 w 533"/>
              <a:gd name="T19" fmla="*/ 2147483647 h 615"/>
              <a:gd name="T20" fmla="*/ 2147483647 w 533"/>
              <a:gd name="T21" fmla="*/ 2147483647 h 615"/>
              <a:gd name="T22" fmla="*/ 2147483647 w 533"/>
              <a:gd name="T23" fmla="*/ 2147483647 h 615"/>
              <a:gd name="T24" fmla="*/ 2147483647 w 533"/>
              <a:gd name="T25" fmla="*/ 2147483647 h 615"/>
              <a:gd name="T26" fmla="*/ 2147483647 w 533"/>
              <a:gd name="T27" fmla="*/ 2147483647 h 615"/>
              <a:gd name="T28" fmla="*/ 2147483647 w 533"/>
              <a:gd name="T29" fmla="*/ 2147483647 h 615"/>
              <a:gd name="T30" fmla="*/ 2147483647 w 533"/>
              <a:gd name="T31" fmla="*/ 2147483647 h 615"/>
              <a:gd name="T32" fmla="*/ 2147483647 w 533"/>
              <a:gd name="T33" fmla="*/ 2147483647 h 615"/>
              <a:gd name="T34" fmla="*/ 2147483647 w 533"/>
              <a:gd name="T35" fmla="*/ 2147483647 h 615"/>
              <a:gd name="T36" fmla="*/ 2147483647 w 533"/>
              <a:gd name="T37" fmla="*/ 2147483647 h 615"/>
              <a:gd name="T38" fmla="*/ 2147483647 w 533"/>
              <a:gd name="T39" fmla="*/ 2147483647 h 615"/>
              <a:gd name="T40" fmla="*/ 2147483647 w 533"/>
              <a:gd name="T41" fmla="*/ 2147483647 h 615"/>
              <a:gd name="T42" fmla="*/ 2147483647 w 533"/>
              <a:gd name="T43" fmla="*/ 2147483647 h 615"/>
              <a:gd name="T44" fmla="*/ 2147483647 w 533"/>
              <a:gd name="T45" fmla="*/ 2147483647 h 615"/>
              <a:gd name="T46" fmla="*/ 0 w 533"/>
              <a:gd name="T47" fmla="*/ 2147483647 h 615"/>
              <a:gd name="T48" fmla="*/ 2147483647 w 533"/>
              <a:gd name="T49" fmla="*/ 2147483647 h 615"/>
              <a:gd name="T50" fmla="*/ 0 w 533"/>
              <a:gd name="T51" fmla="*/ 2147483647 h 615"/>
              <a:gd name="T52" fmla="*/ 2147483647 w 533"/>
              <a:gd name="T53" fmla="*/ 2147483647 h 615"/>
              <a:gd name="T54" fmla="*/ 2147483647 w 533"/>
              <a:gd name="T55" fmla="*/ 2147483647 h 615"/>
              <a:gd name="T56" fmla="*/ 2147483647 w 533"/>
              <a:gd name="T57" fmla="*/ 0 h 615"/>
              <a:gd name="T58" fmla="*/ 2147483647 w 533"/>
              <a:gd name="T59" fmla="*/ 2147483647 h 615"/>
              <a:gd name="T60" fmla="*/ 2147483647 w 533"/>
              <a:gd name="T61" fmla="*/ 2147483647 h 615"/>
              <a:gd name="T62" fmla="*/ 2147483647 w 533"/>
              <a:gd name="T63" fmla="*/ 2147483647 h 615"/>
              <a:gd name="T64" fmla="*/ 2147483647 w 533"/>
              <a:gd name="T65" fmla="*/ 2147483647 h 615"/>
              <a:gd name="T66" fmla="*/ 2147483647 w 533"/>
              <a:gd name="T67" fmla="*/ 2147483647 h 615"/>
              <a:gd name="T68" fmla="*/ 2147483647 w 533"/>
              <a:gd name="T69" fmla="*/ 2147483647 h 615"/>
              <a:gd name="T70" fmla="*/ 2147483647 w 533"/>
              <a:gd name="T71" fmla="*/ 2147483647 h 615"/>
              <a:gd name="T72" fmla="*/ 2147483647 w 533"/>
              <a:gd name="T73" fmla="*/ 2147483647 h 615"/>
              <a:gd name="T74" fmla="*/ 2147483647 w 533"/>
              <a:gd name="T75" fmla="*/ 2147483647 h 615"/>
              <a:gd name="T76" fmla="*/ 2147483647 w 533"/>
              <a:gd name="T77" fmla="*/ 2147483647 h 615"/>
              <a:gd name="T78" fmla="*/ 2147483647 w 533"/>
              <a:gd name="T79" fmla="*/ 2147483647 h 615"/>
              <a:gd name="T80" fmla="*/ 2147483647 w 533"/>
              <a:gd name="T81" fmla="*/ 2147483647 h 615"/>
              <a:gd name="T82" fmla="*/ 2147483647 w 533"/>
              <a:gd name="T83" fmla="*/ 2147483647 h 615"/>
              <a:gd name="T84" fmla="*/ 2147483647 w 533"/>
              <a:gd name="T85" fmla="*/ 2147483647 h 615"/>
              <a:gd name="T86" fmla="*/ 2147483647 w 533"/>
              <a:gd name="T87" fmla="*/ 2147483647 h 615"/>
              <a:gd name="T88" fmla="*/ 2147483647 w 533"/>
              <a:gd name="T89" fmla="*/ 2147483647 h 615"/>
              <a:gd name="T90" fmla="*/ 2147483647 w 533"/>
              <a:gd name="T91" fmla="*/ 2147483647 h 61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33"/>
              <a:gd name="T139" fmla="*/ 0 h 615"/>
              <a:gd name="T140" fmla="*/ 533 w 533"/>
              <a:gd name="T141" fmla="*/ 615 h 61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33" h="615">
                <a:moveTo>
                  <a:pt x="524" y="375"/>
                </a:moveTo>
                <a:lnTo>
                  <a:pt x="479" y="380"/>
                </a:lnTo>
                <a:lnTo>
                  <a:pt x="455" y="390"/>
                </a:lnTo>
                <a:lnTo>
                  <a:pt x="440" y="394"/>
                </a:lnTo>
                <a:lnTo>
                  <a:pt x="435" y="400"/>
                </a:lnTo>
                <a:lnTo>
                  <a:pt x="410" y="394"/>
                </a:lnTo>
                <a:lnTo>
                  <a:pt x="395" y="400"/>
                </a:lnTo>
                <a:lnTo>
                  <a:pt x="371" y="413"/>
                </a:lnTo>
                <a:lnTo>
                  <a:pt x="355" y="433"/>
                </a:lnTo>
                <a:lnTo>
                  <a:pt x="341" y="447"/>
                </a:lnTo>
                <a:lnTo>
                  <a:pt x="321" y="472"/>
                </a:lnTo>
                <a:lnTo>
                  <a:pt x="312" y="486"/>
                </a:lnTo>
                <a:lnTo>
                  <a:pt x="297" y="491"/>
                </a:lnTo>
                <a:lnTo>
                  <a:pt x="286" y="501"/>
                </a:lnTo>
                <a:lnTo>
                  <a:pt x="277" y="510"/>
                </a:lnTo>
                <a:lnTo>
                  <a:pt x="267" y="539"/>
                </a:lnTo>
                <a:lnTo>
                  <a:pt x="257" y="558"/>
                </a:lnTo>
                <a:lnTo>
                  <a:pt x="252" y="567"/>
                </a:lnTo>
                <a:lnTo>
                  <a:pt x="237" y="567"/>
                </a:lnTo>
                <a:lnTo>
                  <a:pt x="227" y="573"/>
                </a:lnTo>
                <a:lnTo>
                  <a:pt x="223" y="577"/>
                </a:lnTo>
                <a:lnTo>
                  <a:pt x="208" y="596"/>
                </a:lnTo>
                <a:lnTo>
                  <a:pt x="182" y="611"/>
                </a:lnTo>
                <a:lnTo>
                  <a:pt x="167" y="615"/>
                </a:lnTo>
                <a:lnTo>
                  <a:pt x="143" y="615"/>
                </a:lnTo>
                <a:lnTo>
                  <a:pt x="143" y="611"/>
                </a:lnTo>
                <a:lnTo>
                  <a:pt x="143" y="606"/>
                </a:lnTo>
                <a:lnTo>
                  <a:pt x="139" y="581"/>
                </a:lnTo>
                <a:lnTo>
                  <a:pt x="133" y="558"/>
                </a:lnTo>
                <a:lnTo>
                  <a:pt x="124" y="539"/>
                </a:lnTo>
                <a:lnTo>
                  <a:pt x="113" y="514"/>
                </a:lnTo>
                <a:lnTo>
                  <a:pt x="108" y="501"/>
                </a:lnTo>
                <a:lnTo>
                  <a:pt x="113" y="486"/>
                </a:lnTo>
                <a:lnTo>
                  <a:pt x="113" y="472"/>
                </a:lnTo>
                <a:lnTo>
                  <a:pt x="108" y="461"/>
                </a:lnTo>
                <a:lnTo>
                  <a:pt x="98" y="433"/>
                </a:lnTo>
                <a:lnTo>
                  <a:pt x="98" y="413"/>
                </a:lnTo>
                <a:lnTo>
                  <a:pt x="98" y="390"/>
                </a:lnTo>
                <a:lnTo>
                  <a:pt x="98" y="366"/>
                </a:lnTo>
                <a:lnTo>
                  <a:pt x="108" y="341"/>
                </a:lnTo>
                <a:lnTo>
                  <a:pt x="124" y="332"/>
                </a:lnTo>
                <a:lnTo>
                  <a:pt x="143" y="327"/>
                </a:lnTo>
                <a:lnTo>
                  <a:pt x="153" y="322"/>
                </a:lnTo>
                <a:lnTo>
                  <a:pt x="158" y="318"/>
                </a:lnTo>
                <a:lnTo>
                  <a:pt x="153" y="308"/>
                </a:lnTo>
                <a:lnTo>
                  <a:pt x="143" y="293"/>
                </a:lnTo>
                <a:lnTo>
                  <a:pt x="128" y="284"/>
                </a:lnTo>
                <a:lnTo>
                  <a:pt x="128" y="265"/>
                </a:lnTo>
                <a:lnTo>
                  <a:pt x="133" y="240"/>
                </a:lnTo>
                <a:lnTo>
                  <a:pt x="139" y="226"/>
                </a:lnTo>
                <a:lnTo>
                  <a:pt x="143" y="221"/>
                </a:lnTo>
                <a:lnTo>
                  <a:pt x="148" y="212"/>
                </a:lnTo>
                <a:lnTo>
                  <a:pt x="143" y="202"/>
                </a:lnTo>
                <a:lnTo>
                  <a:pt x="133" y="198"/>
                </a:lnTo>
                <a:lnTo>
                  <a:pt x="128" y="198"/>
                </a:lnTo>
                <a:lnTo>
                  <a:pt x="124" y="202"/>
                </a:lnTo>
                <a:lnTo>
                  <a:pt x="119" y="202"/>
                </a:lnTo>
                <a:lnTo>
                  <a:pt x="113" y="202"/>
                </a:lnTo>
                <a:lnTo>
                  <a:pt x="108" y="202"/>
                </a:lnTo>
                <a:lnTo>
                  <a:pt x="104" y="192"/>
                </a:lnTo>
                <a:lnTo>
                  <a:pt x="104" y="183"/>
                </a:lnTo>
                <a:lnTo>
                  <a:pt x="104" y="179"/>
                </a:lnTo>
                <a:lnTo>
                  <a:pt x="98" y="173"/>
                </a:lnTo>
                <a:lnTo>
                  <a:pt x="78" y="179"/>
                </a:lnTo>
                <a:lnTo>
                  <a:pt x="63" y="179"/>
                </a:lnTo>
                <a:lnTo>
                  <a:pt x="44" y="183"/>
                </a:lnTo>
                <a:lnTo>
                  <a:pt x="30" y="173"/>
                </a:lnTo>
                <a:lnTo>
                  <a:pt x="19" y="169"/>
                </a:lnTo>
                <a:lnTo>
                  <a:pt x="15" y="154"/>
                </a:lnTo>
                <a:lnTo>
                  <a:pt x="4" y="130"/>
                </a:lnTo>
                <a:lnTo>
                  <a:pt x="0" y="116"/>
                </a:lnTo>
                <a:lnTo>
                  <a:pt x="0" y="106"/>
                </a:lnTo>
                <a:lnTo>
                  <a:pt x="9" y="97"/>
                </a:lnTo>
                <a:lnTo>
                  <a:pt x="24" y="82"/>
                </a:lnTo>
                <a:lnTo>
                  <a:pt x="30" y="72"/>
                </a:lnTo>
                <a:lnTo>
                  <a:pt x="24" y="63"/>
                </a:lnTo>
                <a:lnTo>
                  <a:pt x="15" y="53"/>
                </a:lnTo>
                <a:lnTo>
                  <a:pt x="0" y="44"/>
                </a:lnTo>
                <a:lnTo>
                  <a:pt x="4" y="39"/>
                </a:lnTo>
                <a:lnTo>
                  <a:pt x="15" y="34"/>
                </a:lnTo>
                <a:lnTo>
                  <a:pt x="30" y="29"/>
                </a:lnTo>
                <a:lnTo>
                  <a:pt x="44" y="29"/>
                </a:lnTo>
                <a:lnTo>
                  <a:pt x="54" y="24"/>
                </a:lnTo>
                <a:lnTo>
                  <a:pt x="63" y="20"/>
                </a:lnTo>
                <a:lnTo>
                  <a:pt x="63" y="15"/>
                </a:lnTo>
                <a:lnTo>
                  <a:pt x="63" y="10"/>
                </a:lnTo>
                <a:lnTo>
                  <a:pt x="74" y="0"/>
                </a:lnTo>
                <a:lnTo>
                  <a:pt x="89" y="0"/>
                </a:lnTo>
                <a:lnTo>
                  <a:pt x="98" y="0"/>
                </a:lnTo>
                <a:lnTo>
                  <a:pt x="108" y="10"/>
                </a:lnTo>
                <a:lnTo>
                  <a:pt x="119" y="20"/>
                </a:lnTo>
                <a:lnTo>
                  <a:pt x="128" y="24"/>
                </a:lnTo>
                <a:lnTo>
                  <a:pt x="148" y="29"/>
                </a:lnTo>
                <a:lnTo>
                  <a:pt x="167" y="24"/>
                </a:lnTo>
                <a:lnTo>
                  <a:pt x="182" y="20"/>
                </a:lnTo>
                <a:lnTo>
                  <a:pt x="197" y="15"/>
                </a:lnTo>
                <a:lnTo>
                  <a:pt x="223" y="15"/>
                </a:lnTo>
                <a:lnTo>
                  <a:pt x="242" y="20"/>
                </a:lnTo>
                <a:lnTo>
                  <a:pt x="257" y="24"/>
                </a:lnTo>
                <a:lnTo>
                  <a:pt x="262" y="39"/>
                </a:lnTo>
                <a:lnTo>
                  <a:pt x="252" y="53"/>
                </a:lnTo>
                <a:lnTo>
                  <a:pt x="242" y="78"/>
                </a:lnTo>
                <a:lnTo>
                  <a:pt x="232" y="97"/>
                </a:lnTo>
                <a:lnTo>
                  <a:pt x="227" y="116"/>
                </a:lnTo>
                <a:lnTo>
                  <a:pt x="232" y="135"/>
                </a:lnTo>
                <a:lnTo>
                  <a:pt x="247" y="149"/>
                </a:lnTo>
                <a:lnTo>
                  <a:pt x="271" y="164"/>
                </a:lnTo>
                <a:lnTo>
                  <a:pt x="286" y="169"/>
                </a:lnTo>
                <a:lnTo>
                  <a:pt x="291" y="169"/>
                </a:lnTo>
                <a:lnTo>
                  <a:pt x="291" y="173"/>
                </a:lnTo>
                <a:lnTo>
                  <a:pt x="291" y="179"/>
                </a:lnTo>
                <a:lnTo>
                  <a:pt x="301" y="179"/>
                </a:lnTo>
                <a:lnTo>
                  <a:pt x="312" y="188"/>
                </a:lnTo>
                <a:lnTo>
                  <a:pt x="336" y="198"/>
                </a:lnTo>
                <a:lnTo>
                  <a:pt x="360" y="212"/>
                </a:lnTo>
                <a:lnTo>
                  <a:pt x="375" y="221"/>
                </a:lnTo>
                <a:lnTo>
                  <a:pt x="386" y="231"/>
                </a:lnTo>
                <a:lnTo>
                  <a:pt x="390" y="236"/>
                </a:lnTo>
                <a:lnTo>
                  <a:pt x="395" y="231"/>
                </a:lnTo>
                <a:lnTo>
                  <a:pt x="405" y="226"/>
                </a:lnTo>
                <a:lnTo>
                  <a:pt x="420" y="217"/>
                </a:lnTo>
                <a:lnTo>
                  <a:pt x="435" y="207"/>
                </a:lnTo>
                <a:lnTo>
                  <a:pt x="444" y="202"/>
                </a:lnTo>
                <a:lnTo>
                  <a:pt x="450" y="207"/>
                </a:lnTo>
                <a:lnTo>
                  <a:pt x="455" y="212"/>
                </a:lnTo>
                <a:lnTo>
                  <a:pt x="460" y="221"/>
                </a:lnTo>
                <a:lnTo>
                  <a:pt x="470" y="226"/>
                </a:lnTo>
                <a:lnTo>
                  <a:pt x="485" y="236"/>
                </a:lnTo>
                <a:lnTo>
                  <a:pt x="514" y="265"/>
                </a:lnTo>
                <a:lnTo>
                  <a:pt x="524" y="284"/>
                </a:lnTo>
                <a:lnTo>
                  <a:pt x="533" y="299"/>
                </a:lnTo>
                <a:lnTo>
                  <a:pt x="533" y="312"/>
                </a:lnTo>
                <a:lnTo>
                  <a:pt x="524" y="322"/>
                </a:lnTo>
                <a:lnTo>
                  <a:pt x="514" y="327"/>
                </a:lnTo>
                <a:lnTo>
                  <a:pt x="509" y="337"/>
                </a:lnTo>
                <a:lnTo>
                  <a:pt x="509" y="356"/>
                </a:lnTo>
                <a:lnTo>
                  <a:pt x="518" y="371"/>
                </a:lnTo>
                <a:lnTo>
                  <a:pt x="524" y="375"/>
                </a:lnTo>
                <a:close/>
              </a:path>
            </a:pathLst>
          </a:custGeom>
          <a:solidFill>
            <a:srgbClr val="FFFF66"/>
          </a:solidFill>
          <a:ln w="9525">
            <a:solidFill>
              <a:schemeClr val="bg1"/>
            </a:solidFill>
            <a:round/>
            <a:headEnd/>
            <a:tailEnd/>
          </a:ln>
        </p:spPr>
        <p:txBody>
          <a:bodyPr/>
          <a:lstStyle/>
          <a:p>
            <a:endParaRPr lang="ro-RO"/>
          </a:p>
        </p:txBody>
      </p:sp>
      <p:sp>
        <p:nvSpPr>
          <p:cNvPr id="12304" name="Freeform 13"/>
          <p:cNvSpPr>
            <a:spLocks noEditPoints="1"/>
          </p:cNvSpPr>
          <p:nvPr/>
        </p:nvSpPr>
        <p:spPr bwMode="auto">
          <a:xfrm>
            <a:off x="3738563" y="4727575"/>
            <a:ext cx="692150" cy="857250"/>
          </a:xfrm>
          <a:custGeom>
            <a:avLst/>
            <a:gdLst>
              <a:gd name="T0" fmla="*/ 2147483647 w 1696"/>
              <a:gd name="T1" fmla="*/ 2147483647 h 1952"/>
              <a:gd name="T2" fmla="*/ 2147483647 w 1696"/>
              <a:gd name="T3" fmla="*/ 2147483647 h 1952"/>
              <a:gd name="T4" fmla="*/ 2147483647 w 1696"/>
              <a:gd name="T5" fmla="*/ 2147483647 h 1952"/>
              <a:gd name="T6" fmla="*/ 2147483647 w 1696"/>
              <a:gd name="T7" fmla="*/ 2147483647 h 1952"/>
              <a:gd name="T8" fmla="*/ 2147483647 w 1696"/>
              <a:gd name="T9" fmla="*/ 2147483647 h 1952"/>
              <a:gd name="T10" fmla="*/ 2147483647 w 1696"/>
              <a:gd name="T11" fmla="*/ 2147483647 h 1952"/>
              <a:gd name="T12" fmla="*/ 2147483647 w 1696"/>
              <a:gd name="T13" fmla="*/ 2147483647 h 1952"/>
              <a:gd name="T14" fmla="*/ 2147483647 w 1696"/>
              <a:gd name="T15" fmla="*/ 2147483647 h 1952"/>
              <a:gd name="T16" fmla="*/ 2147483647 w 1696"/>
              <a:gd name="T17" fmla="*/ 2147483647 h 1952"/>
              <a:gd name="T18" fmla="*/ 2147483647 w 1696"/>
              <a:gd name="T19" fmla="*/ 2147483647 h 1952"/>
              <a:gd name="T20" fmla="*/ 2147483647 w 1696"/>
              <a:gd name="T21" fmla="*/ 2147483647 h 1952"/>
              <a:gd name="T22" fmla="*/ 2147483647 w 1696"/>
              <a:gd name="T23" fmla="*/ 2147483647 h 1952"/>
              <a:gd name="T24" fmla="*/ 2147483647 w 1696"/>
              <a:gd name="T25" fmla="*/ 2147483647 h 1952"/>
              <a:gd name="T26" fmla="*/ 2147483647 w 1696"/>
              <a:gd name="T27" fmla="*/ 2147483647 h 1952"/>
              <a:gd name="T28" fmla="*/ 2147483647 w 1696"/>
              <a:gd name="T29" fmla="*/ 2147483647 h 1952"/>
              <a:gd name="T30" fmla="*/ 2147483647 w 1696"/>
              <a:gd name="T31" fmla="*/ 2147483647 h 1952"/>
              <a:gd name="T32" fmla="*/ 2147483647 w 1696"/>
              <a:gd name="T33" fmla="*/ 2147483647 h 1952"/>
              <a:gd name="T34" fmla="*/ 2147483647 w 1696"/>
              <a:gd name="T35" fmla="*/ 2147483647 h 1952"/>
              <a:gd name="T36" fmla="*/ 2147483647 w 1696"/>
              <a:gd name="T37" fmla="*/ 2147483647 h 1952"/>
              <a:gd name="T38" fmla="*/ 2147483647 w 1696"/>
              <a:gd name="T39" fmla="*/ 2147483647 h 1952"/>
              <a:gd name="T40" fmla="*/ 2147483647 w 1696"/>
              <a:gd name="T41" fmla="*/ 2147483647 h 1952"/>
              <a:gd name="T42" fmla="*/ 2147483647 w 1696"/>
              <a:gd name="T43" fmla="*/ 2147483647 h 1952"/>
              <a:gd name="T44" fmla="*/ 2147483647 w 1696"/>
              <a:gd name="T45" fmla="*/ 2147483647 h 1952"/>
              <a:gd name="T46" fmla="*/ 2147483647 w 1696"/>
              <a:gd name="T47" fmla="*/ 2147483647 h 1952"/>
              <a:gd name="T48" fmla="*/ 2147483647 w 1696"/>
              <a:gd name="T49" fmla="*/ 2147483647 h 1952"/>
              <a:gd name="T50" fmla="*/ 2147483647 w 1696"/>
              <a:gd name="T51" fmla="*/ 2147483647 h 1952"/>
              <a:gd name="T52" fmla="*/ 2147483647 w 1696"/>
              <a:gd name="T53" fmla="*/ 2147483647 h 1952"/>
              <a:gd name="T54" fmla="*/ 2147483647 w 1696"/>
              <a:gd name="T55" fmla="*/ 2147483647 h 1952"/>
              <a:gd name="T56" fmla="*/ 2147483647 w 1696"/>
              <a:gd name="T57" fmla="*/ 2147483647 h 1952"/>
              <a:gd name="T58" fmla="*/ 2147483647 w 1696"/>
              <a:gd name="T59" fmla="*/ 2147483647 h 1952"/>
              <a:gd name="T60" fmla="*/ 2147483647 w 1696"/>
              <a:gd name="T61" fmla="*/ 2147483647 h 1952"/>
              <a:gd name="T62" fmla="*/ 2147483647 w 1696"/>
              <a:gd name="T63" fmla="*/ 2147483647 h 1952"/>
              <a:gd name="T64" fmla="*/ 2147483647 w 1696"/>
              <a:gd name="T65" fmla="*/ 2147483647 h 1952"/>
              <a:gd name="T66" fmla="*/ 2147483647 w 1696"/>
              <a:gd name="T67" fmla="*/ 2147483647 h 1952"/>
              <a:gd name="T68" fmla="*/ 2147483647 w 1696"/>
              <a:gd name="T69" fmla="*/ 2147483647 h 1952"/>
              <a:gd name="T70" fmla="*/ 2147483647 w 1696"/>
              <a:gd name="T71" fmla="*/ 2147483647 h 1952"/>
              <a:gd name="T72" fmla="*/ 2147483647 w 1696"/>
              <a:gd name="T73" fmla="*/ 2147483647 h 1952"/>
              <a:gd name="T74" fmla="*/ 2147483647 w 1696"/>
              <a:gd name="T75" fmla="*/ 2147483647 h 1952"/>
              <a:gd name="T76" fmla="*/ 2147483647 w 1696"/>
              <a:gd name="T77" fmla="*/ 2147483647 h 1952"/>
              <a:gd name="T78" fmla="*/ 2147483647 w 1696"/>
              <a:gd name="T79" fmla="*/ 2147483647 h 1952"/>
              <a:gd name="T80" fmla="*/ 2147483647 w 1696"/>
              <a:gd name="T81" fmla="*/ 2147483647 h 1952"/>
              <a:gd name="T82" fmla="*/ 2147483647 w 1696"/>
              <a:gd name="T83" fmla="*/ 2147483647 h 1952"/>
              <a:gd name="T84" fmla="*/ 2147483647 w 1696"/>
              <a:gd name="T85" fmla="*/ 2147483647 h 1952"/>
              <a:gd name="T86" fmla="*/ 2147483647 w 1696"/>
              <a:gd name="T87" fmla="*/ 2147483647 h 1952"/>
              <a:gd name="T88" fmla="*/ 2147483647 w 1696"/>
              <a:gd name="T89" fmla="*/ 2147483647 h 1952"/>
              <a:gd name="T90" fmla="*/ 2147483647 w 1696"/>
              <a:gd name="T91" fmla="*/ 2147483647 h 1952"/>
              <a:gd name="T92" fmla="*/ 2147483647 w 1696"/>
              <a:gd name="T93" fmla="*/ 2147483647 h 1952"/>
              <a:gd name="T94" fmla="*/ 2147483647 w 1696"/>
              <a:gd name="T95" fmla="*/ 2147483647 h 1952"/>
              <a:gd name="T96" fmla="*/ 2147483647 w 1696"/>
              <a:gd name="T97" fmla="*/ 2147483647 h 1952"/>
              <a:gd name="T98" fmla="*/ 2147483647 w 1696"/>
              <a:gd name="T99" fmla="*/ 2147483647 h 1952"/>
              <a:gd name="T100" fmla="*/ 2147483647 w 1696"/>
              <a:gd name="T101" fmla="*/ 2147483647 h 1952"/>
              <a:gd name="T102" fmla="*/ 2147483647 w 1696"/>
              <a:gd name="T103" fmla="*/ 2147483647 h 1952"/>
              <a:gd name="T104" fmla="*/ 2147483647 w 1696"/>
              <a:gd name="T105" fmla="*/ 2147483647 h 1952"/>
              <a:gd name="T106" fmla="*/ 2147483647 w 1696"/>
              <a:gd name="T107" fmla="*/ 2147483647 h 1952"/>
              <a:gd name="T108" fmla="*/ 2147483647 w 1696"/>
              <a:gd name="T109" fmla="*/ 2147483647 h 1952"/>
              <a:gd name="T110" fmla="*/ 2147483647 w 1696"/>
              <a:gd name="T111" fmla="*/ 2147483647 h 1952"/>
              <a:gd name="T112" fmla="*/ 2147483647 w 1696"/>
              <a:gd name="T113" fmla="*/ 2147483647 h 1952"/>
              <a:gd name="T114" fmla="*/ 2147483647 w 1696"/>
              <a:gd name="T115" fmla="*/ 2147483647 h 1952"/>
              <a:gd name="T116" fmla="*/ 2147483647 w 1696"/>
              <a:gd name="T117" fmla="*/ 2147483647 h 1952"/>
              <a:gd name="T118" fmla="*/ 2147483647 w 1696"/>
              <a:gd name="T119" fmla="*/ 2147483647 h 195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96"/>
              <a:gd name="T181" fmla="*/ 0 h 1952"/>
              <a:gd name="T182" fmla="*/ 1696 w 1696"/>
              <a:gd name="T183" fmla="*/ 1952 h 195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96" h="1952">
                <a:moveTo>
                  <a:pt x="1664" y="1182"/>
                </a:moveTo>
                <a:cubicBezTo>
                  <a:pt x="1667" y="1184"/>
                  <a:pt x="1668" y="1188"/>
                  <a:pt x="1667" y="1191"/>
                </a:cubicBezTo>
                <a:cubicBezTo>
                  <a:pt x="1666" y="1194"/>
                  <a:pt x="1663" y="1196"/>
                  <a:pt x="1660" y="1196"/>
                </a:cubicBezTo>
                <a:lnTo>
                  <a:pt x="1518" y="1211"/>
                </a:lnTo>
                <a:lnTo>
                  <a:pt x="1521" y="1210"/>
                </a:lnTo>
                <a:lnTo>
                  <a:pt x="1444" y="1242"/>
                </a:lnTo>
                <a:lnTo>
                  <a:pt x="1396" y="1256"/>
                </a:lnTo>
                <a:lnTo>
                  <a:pt x="1400" y="1254"/>
                </a:lnTo>
                <a:lnTo>
                  <a:pt x="1386" y="1271"/>
                </a:lnTo>
                <a:cubicBezTo>
                  <a:pt x="1384" y="1274"/>
                  <a:pt x="1381" y="1275"/>
                  <a:pt x="1378" y="1274"/>
                </a:cubicBezTo>
                <a:lnTo>
                  <a:pt x="1298" y="1256"/>
                </a:lnTo>
                <a:lnTo>
                  <a:pt x="1302" y="1256"/>
                </a:lnTo>
                <a:lnTo>
                  <a:pt x="1255" y="1274"/>
                </a:lnTo>
                <a:lnTo>
                  <a:pt x="1256" y="1273"/>
                </a:lnTo>
                <a:lnTo>
                  <a:pt x="1180" y="1316"/>
                </a:lnTo>
                <a:lnTo>
                  <a:pt x="1182" y="1313"/>
                </a:lnTo>
                <a:lnTo>
                  <a:pt x="1135" y="1377"/>
                </a:lnTo>
                <a:cubicBezTo>
                  <a:pt x="1135" y="1377"/>
                  <a:pt x="1134" y="1378"/>
                  <a:pt x="1134" y="1378"/>
                </a:cubicBezTo>
                <a:lnTo>
                  <a:pt x="1087" y="1420"/>
                </a:lnTo>
                <a:lnTo>
                  <a:pt x="1026" y="1497"/>
                </a:lnTo>
                <a:lnTo>
                  <a:pt x="997" y="1542"/>
                </a:lnTo>
                <a:cubicBezTo>
                  <a:pt x="996" y="1544"/>
                  <a:pt x="994" y="1545"/>
                  <a:pt x="993" y="1546"/>
                </a:cubicBezTo>
                <a:lnTo>
                  <a:pt x="945" y="1560"/>
                </a:lnTo>
                <a:lnTo>
                  <a:pt x="949" y="1558"/>
                </a:lnTo>
                <a:lnTo>
                  <a:pt x="916" y="1590"/>
                </a:lnTo>
                <a:lnTo>
                  <a:pt x="887" y="1618"/>
                </a:lnTo>
                <a:lnTo>
                  <a:pt x="889" y="1615"/>
                </a:lnTo>
                <a:lnTo>
                  <a:pt x="856" y="1707"/>
                </a:lnTo>
                <a:lnTo>
                  <a:pt x="827" y="1768"/>
                </a:lnTo>
                <a:lnTo>
                  <a:pt x="808" y="1797"/>
                </a:lnTo>
                <a:cubicBezTo>
                  <a:pt x="806" y="1799"/>
                  <a:pt x="804" y="1801"/>
                  <a:pt x="801" y="1801"/>
                </a:cubicBezTo>
                <a:lnTo>
                  <a:pt x="754" y="1801"/>
                </a:lnTo>
                <a:lnTo>
                  <a:pt x="758" y="1799"/>
                </a:lnTo>
                <a:lnTo>
                  <a:pt x="729" y="1817"/>
                </a:lnTo>
                <a:lnTo>
                  <a:pt x="730" y="1816"/>
                </a:lnTo>
                <a:lnTo>
                  <a:pt x="716" y="1830"/>
                </a:lnTo>
                <a:lnTo>
                  <a:pt x="669" y="1889"/>
                </a:lnTo>
                <a:cubicBezTo>
                  <a:pt x="669" y="1890"/>
                  <a:pt x="668" y="1891"/>
                  <a:pt x="667" y="1891"/>
                </a:cubicBezTo>
                <a:lnTo>
                  <a:pt x="587" y="1937"/>
                </a:lnTo>
                <a:cubicBezTo>
                  <a:pt x="586" y="1938"/>
                  <a:pt x="586" y="1938"/>
                  <a:pt x="585" y="1938"/>
                </a:cubicBezTo>
                <a:lnTo>
                  <a:pt x="538" y="1952"/>
                </a:lnTo>
                <a:cubicBezTo>
                  <a:pt x="537" y="1952"/>
                  <a:pt x="537" y="1952"/>
                  <a:pt x="536" y="1952"/>
                </a:cubicBezTo>
                <a:lnTo>
                  <a:pt x="459" y="1952"/>
                </a:lnTo>
                <a:cubicBezTo>
                  <a:pt x="455" y="1952"/>
                  <a:pt x="451" y="1949"/>
                  <a:pt x="451" y="1944"/>
                </a:cubicBezTo>
                <a:lnTo>
                  <a:pt x="451" y="1930"/>
                </a:lnTo>
                <a:lnTo>
                  <a:pt x="451" y="1916"/>
                </a:lnTo>
                <a:lnTo>
                  <a:pt x="452" y="1918"/>
                </a:lnTo>
                <a:lnTo>
                  <a:pt x="437" y="1840"/>
                </a:lnTo>
                <a:lnTo>
                  <a:pt x="419" y="1766"/>
                </a:lnTo>
                <a:lnTo>
                  <a:pt x="419" y="1768"/>
                </a:lnTo>
                <a:lnTo>
                  <a:pt x="390" y="1708"/>
                </a:lnTo>
                <a:lnTo>
                  <a:pt x="357" y="1630"/>
                </a:lnTo>
                <a:lnTo>
                  <a:pt x="343" y="1587"/>
                </a:lnTo>
                <a:cubicBezTo>
                  <a:pt x="342" y="1585"/>
                  <a:pt x="342" y="1583"/>
                  <a:pt x="343" y="1582"/>
                </a:cubicBezTo>
                <a:lnTo>
                  <a:pt x="357" y="1536"/>
                </a:lnTo>
                <a:lnTo>
                  <a:pt x="357" y="1538"/>
                </a:lnTo>
                <a:lnTo>
                  <a:pt x="357" y="1492"/>
                </a:lnTo>
                <a:lnTo>
                  <a:pt x="358" y="1496"/>
                </a:lnTo>
                <a:lnTo>
                  <a:pt x="343" y="1464"/>
                </a:lnTo>
                <a:lnTo>
                  <a:pt x="310" y="1375"/>
                </a:lnTo>
                <a:cubicBezTo>
                  <a:pt x="310" y="1374"/>
                  <a:pt x="310" y="1373"/>
                  <a:pt x="310" y="1372"/>
                </a:cubicBezTo>
                <a:lnTo>
                  <a:pt x="310" y="1309"/>
                </a:lnTo>
                <a:lnTo>
                  <a:pt x="310" y="1234"/>
                </a:lnTo>
                <a:lnTo>
                  <a:pt x="310" y="1160"/>
                </a:lnTo>
                <a:cubicBezTo>
                  <a:pt x="310" y="1159"/>
                  <a:pt x="310" y="1158"/>
                  <a:pt x="310" y="1157"/>
                </a:cubicBezTo>
                <a:lnTo>
                  <a:pt x="343" y="1079"/>
                </a:lnTo>
                <a:cubicBezTo>
                  <a:pt x="344" y="1078"/>
                  <a:pt x="345" y="1076"/>
                  <a:pt x="346" y="1076"/>
                </a:cubicBezTo>
                <a:lnTo>
                  <a:pt x="393" y="1047"/>
                </a:lnTo>
                <a:cubicBezTo>
                  <a:pt x="394" y="1047"/>
                  <a:pt x="395" y="1047"/>
                  <a:pt x="395" y="1046"/>
                </a:cubicBezTo>
                <a:lnTo>
                  <a:pt x="457" y="1029"/>
                </a:lnTo>
                <a:lnTo>
                  <a:pt x="489" y="1015"/>
                </a:lnTo>
                <a:lnTo>
                  <a:pt x="487" y="1017"/>
                </a:lnTo>
                <a:lnTo>
                  <a:pt x="501" y="1003"/>
                </a:lnTo>
                <a:lnTo>
                  <a:pt x="499" y="1012"/>
                </a:lnTo>
                <a:lnTo>
                  <a:pt x="485" y="980"/>
                </a:lnTo>
                <a:lnTo>
                  <a:pt x="486" y="981"/>
                </a:lnTo>
                <a:lnTo>
                  <a:pt x="453" y="935"/>
                </a:lnTo>
                <a:lnTo>
                  <a:pt x="455" y="937"/>
                </a:lnTo>
                <a:lnTo>
                  <a:pt x="408" y="909"/>
                </a:lnTo>
                <a:cubicBezTo>
                  <a:pt x="406" y="908"/>
                  <a:pt x="404" y="905"/>
                  <a:pt x="404" y="902"/>
                </a:cubicBezTo>
                <a:lnTo>
                  <a:pt x="404" y="842"/>
                </a:lnTo>
                <a:cubicBezTo>
                  <a:pt x="404" y="842"/>
                  <a:pt x="404" y="841"/>
                  <a:pt x="404" y="841"/>
                </a:cubicBezTo>
                <a:lnTo>
                  <a:pt x="419" y="763"/>
                </a:lnTo>
                <a:cubicBezTo>
                  <a:pt x="419" y="763"/>
                  <a:pt x="419" y="762"/>
                  <a:pt x="419" y="762"/>
                </a:cubicBezTo>
                <a:lnTo>
                  <a:pt x="437" y="716"/>
                </a:lnTo>
                <a:cubicBezTo>
                  <a:pt x="438" y="715"/>
                  <a:pt x="438" y="714"/>
                  <a:pt x="439" y="713"/>
                </a:cubicBezTo>
                <a:lnTo>
                  <a:pt x="454" y="699"/>
                </a:lnTo>
                <a:lnTo>
                  <a:pt x="452" y="701"/>
                </a:lnTo>
                <a:lnTo>
                  <a:pt x="467" y="673"/>
                </a:lnTo>
                <a:lnTo>
                  <a:pt x="467" y="680"/>
                </a:lnTo>
                <a:lnTo>
                  <a:pt x="452" y="648"/>
                </a:lnTo>
                <a:lnTo>
                  <a:pt x="456" y="652"/>
                </a:lnTo>
                <a:lnTo>
                  <a:pt x="423" y="638"/>
                </a:lnTo>
                <a:lnTo>
                  <a:pt x="427" y="638"/>
                </a:lnTo>
                <a:lnTo>
                  <a:pt x="412" y="638"/>
                </a:lnTo>
                <a:lnTo>
                  <a:pt x="418" y="636"/>
                </a:lnTo>
                <a:lnTo>
                  <a:pt x="403" y="650"/>
                </a:lnTo>
                <a:cubicBezTo>
                  <a:pt x="402" y="652"/>
                  <a:pt x="400" y="652"/>
                  <a:pt x="398" y="652"/>
                </a:cubicBezTo>
                <a:lnTo>
                  <a:pt x="383" y="652"/>
                </a:lnTo>
                <a:lnTo>
                  <a:pt x="365" y="652"/>
                </a:lnTo>
                <a:lnTo>
                  <a:pt x="350" y="652"/>
                </a:lnTo>
                <a:cubicBezTo>
                  <a:pt x="347" y="652"/>
                  <a:pt x="344" y="651"/>
                  <a:pt x="343" y="648"/>
                </a:cubicBezTo>
                <a:lnTo>
                  <a:pt x="328" y="616"/>
                </a:lnTo>
                <a:cubicBezTo>
                  <a:pt x="328" y="615"/>
                  <a:pt x="328" y="614"/>
                  <a:pt x="328" y="613"/>
                </a:cubicBezTo>
                <a:lnTo>
                  <a:pt x="328" y="584"/>
                </a:lnTo>
                <a:lnTo>
                  <a:pt x="328" y="570"/>
                </a:lnTo>
                <a:lnTo>
                  <a:pt x="330" y="576"/>
                </a:lnTo>
                <a:lnTo>
                  <a:pt x="312" y="558"/>
                </a:lnTo>
                <a:lnTo>
                  <a:pt x="320" y="560"/>
                </a:lnTo>
                <a:lnTo>
                  <a:pt x="258" y="578"/>
                </a:lnTo>
                <a:cubicBezTo>
                  <a:pt x="257" y="578"/>
                  <a:pt x="256" y="578"/>
                  <a:pt x="256" y="578"/>
                </a:cubicBezTo>
                <a:lnTo>
                  <a:pt x="208" y="578"/>
                </a:lnTo>
                <a:lnTo>
                  <a:pt x="210" y="578"/>
                </a:lnTo>
                <a:lnTo>
                  <a:pt x="148" y="592"/>
                </a:lnTo>
                <a:cubicBezTo>
                  <a:pt x="146" y="593"/>
                  <a:pt x="144" y="592"/>
                  <a:pt x="142" y="591"/>
                </a:cubicBezTo>
                <a:lnTo>
                  <a:pt x="98" y="559"/>
                </a:lnTo>
                <a:lnTo>
                  <a:pt x="100" y="560"/>
                </a:lnTo>
                <a:lnTo>
                  <a:pt x="67" y="546"/>
                </a:lnTo>
                <a:cubicBezTo>
                  <a:pt x="65" y="545"/>
                  <a:pt x="63" y="543"/>
                  <a:pt x="63" y="541"/>
                </a:cubicBezTo>
                <a:lnTo>
                  <a:pt x="48" y="495"/>
                </a:lnTo>
                <a:lnTo>
                  <a:pt x="16" y="422"/>
                </a:lnTo>
                <a:lnTo>
                  <a:pt x="1" y="375"/>
                </a:lnTo>
                <a:cubicBezTo>
                  <a:pt x="1" y="374"/>
                  <a:pt x="0" y="373"/>
                  <a:pt x="0" y="372"/>
                </a:cubicBezTo>
                <a:lnTo>
                  <a:pt x="0" y="341"/>
                </a:lnTo>
                <a:cubicBezTo>
                  <a:pt x="0" y="338"/>
                  <a:pt x="1" y="336"/>
                  <a:pt x="3" y="335"/>
                </a:cubicBezTo>
                <a:lnTo>
                  <a:pt x="32" y="307"/>
                </a:lnTo>
                <a:lnTo>
                  <a:pt x="79" y="261"/>
                </a:lnTo>
                <a:lnTo>
                  <a:pt x="78" y="262"/>
                </a:lnTo>
                <a:lnTo>
                  <a:pt x="96" y="231"/>
                </a:lnTo>
                <a:lnTo>
                  <a:pt x="96" y="239"/>
                </a:lnTo>
                <a:lnTo>
                  <a:pt x="78" y="211"/>
                </a:lnTo>
                <a:lnTo>
                  <a:pt x="79" y="212"/>
                </a:lnTo>
                <a:lnTo>
                  <a:pt x="50" y="180"/>
                </a:lnTo>
                <a:lnTo>
                  <a:pt x="52" y="181"/>
                </a:lnTo>
                <a:lnTo>
                  <a:pt x="4" y="153"/>
                </a:lnTo>
                <a:cubicBezTo>
                  <a:pt x="2" y="152"/>
                  <a:pt x="1" y="150"/>
                  <a:pt x="1" y="148"/>
                </a:cubicBezTo>
                <a:cubicBezTo>
                  <a:pt x="0" y="145"/>
                  <a:pt x="1" y="143"/>
                  <a:pt x="2" y="141"/>
                </a:cubicBezTo>
                <a:lnTo>
                  <a:pt x="17" y="123"/>
                </a:lnTo>
                <a:cubicBezTo>
                  <a:pt x="18" y="123"/>
                  <a:pt x="19" y="122"/>
                  <a:pt x="20" y="121"/>
                </a:cubicBezTo>
                <a:lnTo>
                  <a:pt x="53" y="107"/>
                </a:lnTo>
                <a:lnTo>
                  <a:pt x="101" y="93"/>
                </a:lnTo>
                <a:cubicBezTo>
                  <a:pt x="101" y="92"/>
                  <a:pt x="102" y="92"/>
                  <a:pt x="103" y="92"/>
                </a:cubicBezTo>
                <a:lnTo>
                  <a:pt x="147" y="92"/>
                </a:lnTo>
                <a:lnTo>
                  <a:pt x="143" y="93"/>
                </a:lnTo>
                <a:lnTo>
                  <a:pt x="176" y="76"/>
                </a:lnTo>
                <a:lnTo>
                  <a:pt x="205" y="61"/>
                </a:lnTo>
                <a:lnTo>
                  <a:pt x="200" y="69"/>
                </a:lnTo>
                <a:lnTo>
                  <a:pt x="200" y="54"/>
                </a:lnTo>
                <a:lnTo>
                  <a:pt x="200" y="40"/>
                </a:lnTo>
                <a:cubicBezTo>
                  <a:pt x="200" y="38"/>
                  <a:pt x="201" y="36"/>
                  <a:pt x="203" y="35"/>
                </a:cubicBezTo>
                <a:lnTo>
                  <a:pt x="236" y="3"/>
                </a:lnTo>
                <a:cubicBezTo>
                  <a:pt x="237" y="1"/>
                  <a:pt x="239" y="0"/>
                  <a:pt x="241" y="0"/>
                </a:cubicBezTo>
                <a:lnTo>
                  <a:pt x="288" y="0"/>
                </a:lnTo>
                <a:lnTo>
                  <a:pt x="318" y="0"/>
                </a:lnTo>
                <a:cubicBezTo>
                  <a:pt x="320" y="0"/>
                  <a:pt x="322" y="1"/>
                  <a:pt x="323" y="3"/>
                </a:cubicBezTo>
                <a:lnTo>
                  <a:pt x="356" y="35"/>
                </a:lnTo>
                <a:lnTo>
                  <a:pt x="388" y="62"/>
                </a:lnTo>
                <a:lnTo>
                  <a:pt x="387" y="61"/>
                </a:lnTo>
                <a:lnTo>
                  <a:pt x="416" y="75"/>
                </a:lnTo>
                <a:lnTo>
                  <a:pt x="414" y="75"/>
                </a:lnTo>
                <a:lnTo>
                  <a:pt x="476" y="93"/>
                </a:lnTo>
                <a:lnTo>
                  <a:pt x="472" y="93"/>
                </a:lnTo>
                <a:lnTo>
                  <a:pt x="534" y="75"/>
                </a:lnTo>
                <a:lnTo>
                  <a:pt x="581" y="61"/>
                </a:lnTo>
                <a:lnTo>
                  <a:pt x="628" y="47"/>
                </a:lnTo>
                <a:cubicBezTo>
                  <a:pt x="629" y="46"/>
                  <a:pt x="630" y="46"/>
                  <a:pt x="630" y="46"/>
                </a:cubicBezTo>
                <a:lnTo>
                  <a:pt x="710" y="46"/>
                </a:lnTo>
                <a:cubicBezTo>
                  <a:pt x="711" y="46"/>
                  <a:pt x="711" y="46"/>
                  <a:pt x="712" y="47"/>
                </a:cubicBezTo>
                <a:lnTo>
                  <a:pt x="774" y="61"/>
                </a:lnTo>
                <a:lnTo>
                  <a:pt x="822" y="75"/>
                </a:lnTo>
                <a:cubicBezTo>
                  <a:pt x="824" y="76"/>
                  <a:pt x="826" y="78"/>
                  <a:pt x="827" y="80"/>
                </a:cubicBezTo>
                <a:lnTo>
                  <a:pt x="842" y="126"/>
                </a:lnTo>
                <a:cubicBezTo>
                  <a:pt x="842" y="129"/>
                  <a:pt x="842" y="131"/>
                  <a:pt x="840" y="133"/>
                </a:cubicBezTo>
                <a:lnTo>
                  <a:pt x="808" y="179"/>
                </a:lnTo>
                <a:lnTo>
                  <a:pt x="809" y="177"/>
                </a:lnTo>
                <a:lnTo>
                  <a:pt x="780" y="255"/>
                </a:lnTo>
                <a:lnTo>
                  <a:pt x="746" y="316"/>
                </a:lnTo>
                <a:lnTo>
                  <a:pt x="747" y="314"/>
                </a:lnTo>
                <a:lnTo>
                  <a:pt x="733" y="374"/>
                </a:lnTo>
                <a:lnTo>
                  <a:pt x="733" y="370"/>
                </a:lnTo>
                <a:lnTo>
                  <a:pt x="747" y="431"/>
                </a:lnTo>
                <a:lnTo>
                  <a:pt x="745" y="427"/>
                </a:lnTo>
                <a:lnTo>
                  <a:pt x="792" y="473"/>
                </a:lnTo>
                <a:lnTo>
                  <a:pt x="791" y="471"/>
                </a:lnTo>
                <a:lnTo>
                  <a:pt x="867" y="517"/>
                </a:lnTo>
                <a:lnTo>
                  <a:pt x="865" y="517"/>
                </a:lnTo>
                <a:lnTo>
                  <a:pt x="913" y="531"/>
                </a:lnTo>
                <a:lnTo>
                  <a:pt x="910" y="530"/>
                </a:lnTo>
                <a:lnTo>
                  <a:pt x="925" y="530"/>
                </a:lnTo>
                <a:cubicBezTo>
                  <a:pt x="929" y="530"/>
                  <a:pt x="933" y="534"/>
                  <a:pt x="933" y="538"/>
                </a:cubicBezTo>
                <a:lnTo>
                  <a:pt x="933" y="553"/>
                </a:lnTo>
                <a:lnTo>
                  <a:pt x="933" y="570"/>
                </a:lnTo>
                <a:lnTo>
                  <a:pt x="925" y="562"/>
                </a:lnTo>
                <a:lnTo>
                  <a:pt x="958" y="562"/>
                </a:lnTo>
                <a:cubicBezTo>
                  <a:pt x="959" y="562"/>
                  <a:pt x="961" y="563"/>
                  <a:pt x="963" y="564"/>
                </a:cubicBezTo>
                <a:lnTo>
                  <a:pt x="996" y="592"/>
                </a:lnTo>
                <a:lnTo>
                  <a:pt x="993" y="591"/>
                </a:lnTo>
                <a:lnTo>
                  <a:pt x="1070" y="623"/>
                </a:lnTo>
                <a:cubicBezTo>
                  <a:pt x="1070" y="623"/>
                  <a:pt x="1070" y="623"/>
                  <a:pt x="1071" y="623"/>
                </a:cubicBezTo>
                <a:lnTo>
                  <a:pt x="1147" y="669"/>
                </a:lnTo>
                <a:lnTo>
                  <a:pt x="1194" y="698"/>
                </a:lnTo>
                <a:cubicBezTo>
                  <a:pt x="1195" y="698"/>
                  <a:pt x="1195" y="698"/>
                  <a:pt x="1196" y="699"/>
                </a:cubicBezTo>
                <a:lnTo>
                  <a:pt x="1229" y="730"/>
                </a:lnTo>
                <a:lnTo>
                  <a:pt x="1243" y="745"/>
                </a:lnTo>
                <a:lnTo>
                  <a:pt x="1232" y="745"/>
                </a:lnTo>
                <a:lnTo>
                  <a:pt x="1247" y="730"/>
                </a:lnTo>
                <a:cubicBezTo>
                  <a:pt x="1247" y="730"/>
                  <a:pt x="1248" y="730"/>
                  <a:pt x="1248" y="729"/>
                </a:cubicBezTo>
                <a:lnTo>
                  <a:pt x="1281" y="712"/>
                </a:lnTo>
                <a:lnTo>
                  <a:pt x="1328" y="683"/>
                </a:lnTo>
                <a:lnTo>
                  <a:pt x="1375" y="652"/>
                </a:lnTo>
                <a:lnTo>
                  <a:pt x="1405" y="637"/>
                </a:lnTo>
                <a:cubicBezTo>
                  <a:pt x="1408" y="636"/>
                  <a:pt x="1411" y="636"/>
                  <a:pt x="1413" y="638"/>
                </a:cubicBezTo>
                <a:lnTo>
                  <a:pt x="1432" y="652"/>
                </a:lnTo>
                <a:cubicBezTo>
                  <a:pt x="1432" y="653"/>
                  <a:pt x="1432" y="653"/>
                  <a:pt x="1433" y="653"/>
                </a:cubicBezTo>
                <a:lnTo>
                  <a:pt x="1447" y="671"/>
                </a:lnTo>
                <a:cubicBezTo>
                  <a:pt x="1448" y="672"/>
                  <a:pt x="1448" y="672"/>
                  <a:pt x="1448" y="673"/>
                </a:cubicBezTo>
                <a:lnTo>
                  <a:pt x="1463" y="701"/>
                </a:lnTo>
                <a:lnTo>
                  <a:pt x="1459" y="697"/>
                </a:lnTo>
                <a:lnTo>
                  <a:pt x="1492" y="711"/>
                </a:lnTo>
                <a:cubicBezTo>
                  <a:pt x="1492" y="711"/>
                  <a:pt x="1493" y="712"/>
                  <a:pt x="1493" y="712"/>
                </a:cubicBezTo>
                <a:lnTo>
                  <a:pt x="1540" y="744"/>
                </a:lnTo>
                <a:cubicBezTo>
                  <a:pt x="1541" y="744"/>
                  <a:pt x="1541" y="744"/>
                  <a:pt x="1541" y="745"/>
                </a:cubicBezTo>
                <a:lnTo>
                  <a:pt x="1632" y="837"/>
                </a:lnTo>
                <a:cubicBezTo>
                  <a:pt x="1633" y="837"/>
                  <a:pt x="1633" y="838"/>
                  <a:pt x="1634" y="838"/>
                </a:cubicBezTo>
                <a:lnTo>
                  <a:pt x="1666" y="898"/>
                </a:lnTo>
                <a:lnTo>
                  <a:pt x="1695" y="944"/>
                </a:lnTo>
                <a:cubicBezTo>
                  <a:pt x="1696" y="945"/>
                  <a:pt x="1696" y="947"/>
                  <a:pt x="1696" y="948"/>
                </a:cubicBezTo>
                <a:lnTo>
                  <a:pt x="1696" y="991"/>
                </a:lnTo>
                <a:cubicBezTo>
                  <a:pt x="1696" y="993"/>
                  <a:pt x="1696" y="995"/>
                  <a:pt x="1694" y="996"/>
                </a:cubicBezTo>
                <a:lnTo>
                  <a:pt x="1665" y="1028"/>
                </a:lnTo>
                <a:cubicBezTo>
                  <a:pt x="1665" y="1029"/>
                  <a:pt x="1664" y="1029"/>
                  <a:pt x="1663" y="1030"/>
                </a:cubicBezTo>
                <a:lnTo>
                  <a:pt x="1630" y="1044"/>
                </a:lnTo>
                <a:lnTo>
                  <a:pt x="1634" y="1040"/>
                </a:lnTo>
                <a:lnTo>
                  <a:pt x="1619" y="1072"/>
                </a:lnTo>
                <a:lnTo>
                  <a:pt x="1620" y="1068"/>
                </a:lnTo>
                <a:lnTo>
                  <a:pt x="1620" y="1128"/>
                </a:lnTo>
                <a:lnTo>
                  <a:pt x="1619" y="1124"/>
                </a:lnTo>
                <a:lnTo>
                  <a:pt x="1648" y="1170"/>
                </a:lnTo>
                <a:lnTo>
                  <a:pt x="1646" y="1168"/>
                </a:lnTo>
                <a:lnTo>
                  <a:pt x="1664" y="1182"/>
                </a:lnTo>
                <a:close/>
                <a:moveTo>
                  <a:pt x="1636" y="1181"/>
                </a:moveTo>
                <a:cubicBezTo>
                  <a:pt x="1636" y="1180"/>
                  <a:pt x="1635" y="1179"/>
                  <a:pt x="1634" y="1179"/>
                </a:cubicBezTo>
                <a:lnTo>
                  <a:pt x="1605" y="1133"/>
                </a:lnTo>
                <a:cubicBezTo>
                  <a:pt x="1605" y="1131"/>
                  <a:pt x="1604" y="1130"/>
                  <a:pt x="1604" y="1128"/>
                </a:cubicBezTo>
                <a:lnTo>
                  <a:pt x="1604" y="1068"/>
                </a:lnTo>
                <a:cubicBezTo>
                  <a:pt x="1604" y="1067"/>
                  <a:pt x="1604" y="1066"/>
                  <a:pt x="1605" y="1065"/>
                </a:cubicBezTo>
                <a:lnTo>
                  <a:pt x="1619" y="1033"/>
                </a:lnTo>
                <a:cubicBezTo>
                  <a:pt x="1620" y="1031"/>
                  <a:pt x="1622" y="1030"/>
                  <a:pt x="1623" y="1029"/>
                </a:cubicBezTo>
                <a:lnTo>
                  <a:pt x="1656" y="1015"/>
                </a:lnTo>
                <a:lnTo>
                  <a:pt x="1653" y="1017"/>
                </a:lnTo>
                <a:lnTo>
                  <a:pt x="1683" y="985"/>
                </a:lnTo>
                <a:lnTo>
                  <a:pt x="1680" y="991"/>
                </a:lnTo>
                <a:lnTo>
                  <a:pt x="1680" y="948"/>
                </a:lnTo>
                <a:lnTo>
                  <a:pt x="1682" y="952"/>
                </a:lnTo>
                <a:lnTo>
                  <a:pt x="1652" y="906"/>
                </a:lnTo>
                <a:lnTo>
                  <a:pt x="1620" y="846"/>
                </a:lnTo>
                <a:lnTo>
                  <a:pt x="1621" y="848"/>
                </a:lnTo>
                <a:lnTo>
                  <a:pt x="1530" y="756"/>
                </a:lnTo>
                <a:lnTo>
                  <a:pt x="1531" y="757"/>
                </a:lnTo>
                <a:lnTo>
                  <a:pt x="1484" y="725"/>
                </a:lnTo>
                <a:lnTo>
                  <a:pt x="1485" y="726"/>
                </a:lnTo>
                <a:lnTo>
                  <a:pt x="1453" y="712"/>
                </a:lnTo>
                <a:cubicBezTo>
                  <a:pt x="1451" y="711"/>
                  <a:pt x="1449" y="710"/>
                  <a:pt x="1449" y="708"/>
                </a:cubicBezTo>
                <a:lnTo>
                  <a:pt x="1434" y="680"/>
                </a:lnTo>
                <a:lnTo>
                  <a:pt x="1435" y="681"/>
                </a:lnTo>
                <a:lnTo>
                  <a:pt x="1420" y="664"/>
                </a:lnTo>
                <a:lnTo>
                  <a:pt x="1422" y="665"/>
                </a:lnTo>
                <a:lnTo>
                  <a:pt x="1404" y="651"/>
                </a:lnTo>
                <a:lnTo>
                  <a:pt x="1412" y="652"/>
                </a:lnTo>
                <a:lnTo>
                  <a:pt x="1384" y="665"/>
                </a:lnTo>
                <a:lnTo>
                  <a:pt x="1336" y="697"/>
                </a:lnTo>
                <a:lnTo>
                  <a:pt x="1289" y="726"/>
                </a:lnTo>
                <a:lnTo>
                  <a:pt x="1256" y="743"/>
                </a:lnTo>
                <a:lnTo>
                  <a:pt x="1258" y="742"/>
                </a:lnTo>
                <a:lnTo>
                  <a:pt x="1243" y="756"/>
                </a:lnTo>
                <a:cubicBezTo>
                  <a:pt x="1240" y="759"/>
                  <a:pt x="1235" y="759"/>
                  <a:pt x="1232" y="756"/>
                </a:cubicBezTo>
                <a:lnTo>
                  <a:pt x="1217" y="742"/>
                </a:lnTo>
                <a:lnTo>
                  <a:pt x="1185" y="710"/>
                </a:lnTo>
                <a:lnTo>
                  <a:pt x="1186" y="711"/>
                </a:lnTo>
                <a:lnTo>
                  <a:pt x="1139" y="683"/>
                </a:lnTo>
                <a:lnTo>
                  <a:pt x="1063" y="637"/>
                </a:lnTo>
                <a:lnTo>
                  <a:pt x="1064" y="638"/>
                </a:lnTo>
                <a:lnTo>
                  <a:pt x="987" y="606"/>
                </a:lnTo>
                <a:cubicBezTo>
                  <a:pt x="986" y="606"/>
                  <a:pt x="986" y="605"/>
                  <a:pt x="985" y="605"/>
                </a:cubicBezTo>
                <a:lnTo>
                  <a:pt x="952" y="576"/>
                </a:lnTo>
                <a:lnTo>
                  <a:pt x="958" y="578"/>
                </a:lnTo>
                <a:lnTo>
                  <a:pt x="925" y="578"/>
                </a:lnTo>
                <a:cubicBezTo>
                  <a:pt x="920" y="578"/>
                  <a:pt x="917" y="575"/>
                  <a:pt x="917" y="570"/>
                </a:cubicBezTo>
                <a:lnTo>
                  <a:pt x="917" y="553"/>
                </a:lnTo>
                <a:lnTo>
                  <a:pt x="917" y="538"/>
                </a:lnTo>
                <a:lnTo>
                  <a:pt x="925" y="546"/>
                </a:lnTo>
                <a:lnTo>
                  <a:pt x="910" y="546"/>
                </a:lnTo>
                <a:cubicBezTo>
                  <a:pt x="910" y="546"/>
                  <a:pt x="909" y="546"/>
                  <a:pt x="908" y="546"/>
                </a:cubicBezTo>
                <a:lnTo>
                  <a:pt x="861" y="532"/>
                </a:lnTo>
                <a:cubicBezTo>
                  <a:pt x="860" y="532"/>
                  <a:pt x="859" y="531"/>
                  <a:pt x="859" y="531"/>
                </a:cubicBezTo>
                <a:lnTo>
                  <a:pt x="783" y="485"/>
                </a:lnTo>
                <a:cubicBezTo>
                  <a:pt x="782" y="485"/>
                  <a:pt x="782" y="485"/>
                  <a:pt x="781" y="484"/>
                </a:cubicBezTo>
                <a:lnTo>
                  <a:pt x="734" y="438"/>
                </a:lnTo>
                <a:cubicBezTo>
                  <a:pt x="733" y="437"/>
                  <a:pt x="732" y="436"/>
                  <a:pt x="732" y="434"/>
                </a:cubicBezTo>
                <a:lnTo>
                  <a:pt x="717" y="374"/>
                </a:lnTo>
                <a:cubicBezTo>
                  <a:pt x="717" y="373"/>
                  <a:pt x="717" y="372"/>
                  <a:pt x="717" y="370"/>
                </a:cubicBezTo>
                <a:lnTo>
                  <a:pt x="732" y="310"/>
                </a:lnTo>
                <a:cubicBezTo>
                  <a:pt x="732" y="310"/>
                  <a:pt x="732" y="309"/>
                  <a:pt x="732" y="308"/>
                </a:cubicBezTo>
                <a:lnTo>
                  <a:pt x="765" y="249"/>
                </a:lnTo>
                <a:lnTo>
                  <a:pt x="794" y="172"/>
                </a:lnTo>
                <a:cubicBezTo>
                  <a:pt x="794" y="171"/>
                  <a:pt x="794" y="170"/>
                  <a:pt x="795" y="170"/>
                </a:cubicBezTo>
                <a:lnTo>
                  <a:pt x="827" y="124"/>
                </a:lnTo>
                <a:lnTo>
                  <a:pt x="826" y="131"/>
                </a:lnTo>
                <a:lnTo>
                  <a:pt x="812" y="85"/>
                </a:lnTo>
                <a:lnTo>
                  <a:pt x="817" y="90"/>
                </a:lnTo>
                <a:lnTo>
                  <a:pt x="770" y="76"/>
                </a:lnTo>
                <a:lnTo>
                  <a:pt x="708" y="62"/>
                </a:lnTo>
                <a:lnTo>
                  <a:pt x="710" y="62"/>
                </a:lnTo>
                <a:lnTo>
                  <a:pt x="630" y="62"/>
                </a:lnTo>
                <a:lnTo>
                  <a:pt x="633" y="62"/>
                </a:lnTo>
                <a:lnTo>
                  <a:pt x="585" y="76"/>
                </a:lnTo>
                <a:lnTo>
                  <a:pt x="538" y="90"/>
                </a:lnTo>
                <a:lnTo>
                  <a:pt x="476" y="108"/>
                </a:lnTo>
                <a:cubicBezTo>
                  <a:pt x="475" y="108"/>
                  <a:pt x="473" y="108"/>
                  <a:pt x="472" y="108"/>
                </a:cubicBezTo>
                <a:lnTo>
                  <a:pt x="410" y="90"/>
                </a:lnTo>
                <a:cubicBezTo>
                  <a:pt x="409" y="90"/>
                  <a:pt x="409" y="90"/>
                  <a:pt x="409" y="90"/>
                </a:cubicBezTo>
                <a:lnTo>
                  <a:pt x="380" y="76"/>
                </a:lnTo>
                <a:cubicBezTo>
                  <a:pt x="379" y="75"/>
                  <a:pt x="378" y="75"/>
                  <a:pt x="378" y="75"/>
                </a:cubicBezTo>
                <a:lnTo>
                  <a:pt x="345" y="46"/>
                </a:lnTo>
                <a:lnTo>
                  <a:pt x="312" y="14"/>
                </a:lnTo>
                <a:lnTo>
                  <a:pt x="318" y="16"/>
                </a:lnTo>
                <a:lnTo>
                  <a:pt x="288" y="16"/>
                </a:lnTo>
                <a:lnTo>
                  <a:pt x="241" y="16"/>
                </a:lnTo>
                <a:lnTo>
                  <a:pt x="247" y="14"/>
                </a:lnTo>
                <a:lnTo>
                  <a:pt x="214" y="46"/>
                </a:lnTo>
                <a:lnTo>
                  <a:pt x="216" y="40"/>
                </a:lnTo>
                <a:lnTo>
                  <a:pt x="216" y="54"/>
                </a:lnTo>
                <a:lnTo>
                  <a:pt x="216" y="69"/>
                </a:lnTo>
                <a:cubicBezTo>
                  <a:pt x="216" y="72"/>
                  <a:pt x="215" y="74"/>
                  <a:pt x="212" y="76"/>
                </a:cubicBezTo>
                <a:lnTo>
                  <a:pt x="183" y="90"/>
                </a:lnTo>
                <a:lnTo>
                  <a:pt x="150" y="107"/>
                </a:lnTo>
                <a:cubicBezTo>
                  <a:pt x="149" y="108"/>
                  <a:pt x="148" y="108"/>
                  <a:pt x="147" y="108"/>
                </a:cubicBezTo>
                <a:lnTo>
                  <a:pt x="103" y="108"/>
                </a:lnTo>
                <a:lnTo>
                  <a:pt x="105" y="108"/>
                </a:lnTo>
                <a:lnTo>
                  <a:pt x="59" y="122"/>
                </a:lnTo>
                <a:lnTo>
                  <a:pt x="26" y="136"/>
                </a:lnTo>
                <a:lnTo>
                  <a:pt x="29" y="134"/>
                </a:lnTo>
                <a:lnTo>
                  <a:pt x="15" y="151"/>
                </a:lnTo>
                <a:lnTo>
                  <a:pt x="13" y="139"/>
                </a:lnTo>
                <a:lnTo>
                  <a:pt x="60" y="168"/>
                </a:lnTo>
                <a:cubicBezTo>
                  <a:pt x="61" y="168"/>
                  <a:pt x="61" y="169"/>
                  <a:pt x="62" y="169"/>
                </a:cubicBezTo>
                <a:lnTo>
                  <a:pt x="91" y="201"/>
                </a:lnTo>
                <a:cubicBezTo>
                  <a:pt x="91" y="201"/>
                  <a:pt x="91" y="202"/>
                  <a:pt x="92" y="202"/>
                </a:cubicBezTo>
                <a:lnTo>
                  <a:pt x="110" y="230"/>
                </a:lnTo>
                <a:cubicBezTo>
                  <a:pt x="111" y="233"/>
                  <a:pt x="111" y="236"/>
                  <a:pt x="110" y="239"/>
                </a:cubicBezTo>
                <a:lnTo>
                  <a:pt x="92" y="270"/>
                </a:lnTo>
                <a:cubicBezTo>
                  <a:pt x="91" y="271"/>
                  <a:pt x="91" y="272"/>
                  <a:pt x="90" y="272"/>
                </a:cubicBezTo>
                <a:lnTo>
                  <a:pt x="43" y="318"/>
                </a:lnTo>
                <a:lnTo>
                  <a:pt x="14" y="346"/>
                </a:lnTo>
                <a:lnTo>
                  <a:pt x="16" y="341"/>
                </a:lnTo>
                <a:lnTo>
                  <a:pt x="16" y="372"/>
                </a:lnTo>
                <a:lnTo>
                  <a:pt x="16" y="370"/>
                </a:lnTo>
                <a:lnTo>
                  <a:pt x="30" y="415"/>
                </a:lnTo>
                <a:lnTo>
                  <a:pt x="63" y="490"/>
                </a:lnTo>
                <a:lnTo>
                  <a:pt x="78" y="536"/>
                </a:lnTo>
                <a:lnTo>
                  <a:pt x="73" y="531"/>
                </a:lnTo>
                <a:lnTo>
                  <a:pt x="106" y="545"/>
                </a:lnTo>
                <a:cubicBezTo>
                  <a:pt x="107" y="545"/>
                  <a:pt x="107" y="546"/>
                  <a:pt x="108" y="546"/>
                </a:cubicBezTo>
                <a:lnTo>
                  <a:pt x="151" y="578"/>
                </a:lnTo>
                <a:lnTo>
                  <a:pt x="145" y="577"/>
                </a:lnTo>
                <a:lnTo>
                  <a:pt x="207" y="562"/>
                </a:lnTo>
                <a:cubicBezTo>
                  <a:pt x="207" y="562"/>
                  <a:pt x="208" y="562"/>
                  <a:pt x="208" y="562"/>
                </a:cubicBezTo>
                <a:lnTo>
                  <a:pt x="256" y="562"/>
                </a:lnTo>
                <a:lnTo>
                  <a:pt x="254" y="562"/>
                </a:lnTo>
                <a:lnTo>
                  <a:pt x="315" y="545"/>
                </a:lnTo>
                <a:cubicBezTo>
                  <a:pt x="318" y="544"/>
                  <a:pt x="321" y="545"/>
                  <a:pt x="323" y="547"/>
                </a:cubicBezTo>
                <a:lnTo>
                  <a:pt x="341" y="564"/>
                </a:lnTo>
                <a:cubicBezTo>
                  <a:pt x="343" y="566"/>
                  <a:pt x="344" y="568"/>
                  <a:pt x="344" y="570"/>
                </a:cubicBezTo>
                <a:lnTo>
                  <a:pt x="344" y="584"/>
                </a:lnTo>
                <a:lnTo>
                  <a:pt x="344" y="613"/>
                </a:lnTo>
                <a:lnTo>
                  <a:pt x="343" y="609"/>
                </a:lnTo>
                <a:lnTo>
                  <a:pt x="358" y="641"/>
                </a:lnTo>
                <a:lnTo>
                  <a:pt x="350" y="636"/>
                </a:lnTo>
                <a:lnTo>
                  <a:pt x="365" y="636"/>
                </a:lnTo>
                <a:lnTo>
                  <a:pt x="383" y="636"/>
                </a:lnTo>
                <a:lnTo>
                  <a:pt x="398" y="636"/>
                </a:lnTo>
                <a:lnTo>
                  <a:pt x="392" y="639"/>
                </a:lnTo>
                <a:lnTo>
                  <a:pt x="407" y="625"/>
                </a:lnTo>
                <a:cubicBezTo>
                  <a:pt x="408" y="623"/>
                  <a:pt x="410" y="622"/>
                  <a:pt x="412" y="622"/>
                </a:cubicBezTo>
                <a:lnTo>
                  <a:pt x="427" y="622"/>
                </a:lnTo>
                <a:cubicBezTo>
                  <a:pt x="428" y="622"/>
                  <a:pt x="429" y="622"/>
                  <a:pt x="430" y="623"/>
                </a:cubicBezTo>
                <a:lnTo>
                  <a:pt x="463" y="637"/>
                </a:lnTo>
                <a:cubicBezTo>
                  <a:pt x="464" y="638"/>
                  <a:pt x="466" y="639"/>
                  <a:pt x="467" y="641"/>
                </a:cubicBezTo>
                <a:lnTo>
                  <a:pt x="481" y="673"/>
                </a:lnTo>
                <a:cubicBezTo>
                  <a:pt x="482" y="675"/>
                  <a:pt x="482" y="678"/>
                  <a:pt x="481" y="680"/>
                </a:cubicBezTo>
                <a:lnTo>
                  <a:pt x="466" y="708"/>
                </a:lnTo>
                <a:cubicBezTo>
                  <a:pt x="466" y="709"/>
                  <a:pt x="466" y="710"/>
                  <a:pt x="465" y="710"/>
                </a:cubicBezTo>
                <a:lnTo>
                  <a:pt x="450" y="724"/>
                </a:lnTo>
                <a:lnTo>
                  <a:pt x="452" y="722"/>
                </a:lnTo>
                <a:lnTo>
                  <a:pt x="434" y="767"/>
                </a:lnTo>
                <a:lnTo>
                  <a:pt x="435" y="766"/>
                </a:lnTo>
                <a:lnTo>
                  <a:pt x="420" y="844"/>
                </a:lnTo>
                <a:lnTo>
                  <a:pt x="420" y="842"/>
                </a:lnTo>
                <a:lnTo>
                  <a:pt x="420" y="902"/>
                </a:lnTo>
                <a:lnTo>
                  <a:pt x="416" y="895"/>
                </a:lnTo>
                <a:lnTo>
                  <a:pt x="463" y="924"/>
                </a:lnTo>
                <a:cubicBezTo>
                  <a:pt x="464" y="924"/>
                  <a:pt x="465" y="925"/>
                  <a:pt x="466" y="926"/>
                </a:cubicBezTo>
                <a:lnTo>
                  <a:pt x="499" y="972"/>
                </a:lnTo>
                <a:cubicBezTo>
                  <a:pt x="499" y="972"/>
                  <a:pt x="499" y="973"/>
                  <a:pt x="499" y="973"/>
                </a:cubicBezTo>
                <a:lnTo>
                  <a:pt x="514" y="1005"/>
                </a:lnTo>
                <a:cubicBezTo>
                  <a:pt x="515" y="1008"/>
                  <a:pt x="515" y="1012"/>
                  <a:pt x="512" y="1014"/>
                </a:cubicBezTo>
                <a:lnTo>
                  <a:pt x="498" y="1028"/>
                </a:lnTo>
                <a:cubicBezTo>
                  <a:pt x="497" y="1029"/>
                  <a:pt x="496" y="1029"/>
                  <a:pt x="495" y="1030"/>
                </a:cubicBezTo>
                <a:lnTo>
                  <a:pt x="462" y="1044"/>
                </a:lnTo>
                <a:lnTo>
                  <a:pt x="400" y="1062"/>
                </a:lnTo>
                <a:lnTo>
                  <a:pt x="402" y="1061"/>
                </a:lnTo>
                <a:lnTo>
                  <a:pt x="354" y="1089"/>
                </a:lnTo>
                <a:lnTo>
                  <a:pt x="358" y="1086"/>
                </a:lnTo>
                <a:lnTo>
                  <a:pt x="325" y="1163"/>
                </a:lnTo>
                <a:lnTo>
                  <a:pt x="326" y="1160"/>
                </a:lnTo>
                <a:lnTo>
                  <a:pt x="326" y="1234"/>
                </a:lnTo>
                <a:lnTo>
                  <a:pt x="326" y="1309"/>
                </a:lnTo>
                <a:lnTo>
                  <a:pt x="326" y="1372"/>
                </a:lnTo>
                <a:lnTo>
                  <a:pt x="325" y="1369"/>
                </a:lnTo>
                <a:lnTo>
                  <a:pt x="358" y="1457"/>
                </a:lnTo>
                <a:lnTo>
                  <a:pt x="372" y="1489"/>
                </a:lnTo>
                <a:cubicBezTo>
                  <a:pt x="373" y="1490"/>
                  <a:pt x="373" y="1491"/>
                  <a:pt x="373" y="1492"/>
                </a:cubicBezTo>
                <a:lnTo>
                  <a:pt x="373" y="1538"/>
                </a:lnTo>
                <a:cubicBezTo>
                  <a:pt x="373" y="1539"/>
                  <a:pt x="373" y="1540"/>
                  <a:pt x="372" y="1541"/>
                </a:cubicBezTo>
                <a:lnTo>
                  <a:pt x="358" y="1587"/>
                </a:lnTo>
                <a:lnTo>
                  <a:pt x="358" y="1582"/>
                </a:lnTo>
                <a:lnTo>
                  <a:pt x="372" y="1623"/>
                </a:lnTo>
                <a:lnTo>
                  <a:pt x="405" y="1701"/>
                </a:lnTo>
                <a:lnTo>
                  <a:pt x="434" y="1761"/>
                </a:lnTo>
                <a:cubicBezTo>
                  <a:pt x="434" y="1761"/>
                  <a:pt x="434" y="1762"/>
                  <a:pt x="434" y="1762"/>
                </a:cubicBezTo>
                <a:lnTo>
                  <a:pt x="453" y="1837"/>
                </a:lnTo>
                <a:lnTo>
                  <a:pt x="467" y="1915"/>
                </a:lnTo>
                <a:cubicBezTo>
                  <a:pt x="467" y="1915"/>
                  <a:pt x="467" y="1916"/>
                  <a:pt x="467" y="1916"/>
                </a:cubicBezTo>
                <a:lnTo>
                  <a:pt x="467" y="1930"/>
                </a:lnTo>
                <a:lnTo>
                  <a:pt x="467" y="1944"/>
                </a:lnTo>
                <a:lnTo>
                  <a:pt x="459" y="1936"/>
                </a:lnTo>
                <a:lnTo>
                  <a:pt x="536" y="1936"/>
                </a:lnTo>
                <a:lnTo>
                  <a:pt x="533" y="1937"/>
                </a:lnTo>
                <a:lnTo>
                  <a:pt x="581" y="1923"/>
                </a:lnTo>
                <a:lnTo>
                  <a:pt x="579" y="1923"/>
                </a:lnTo>
                <a:lnTo>
                  <a:pt x="659" y="1877"/>
                </a:lnTo>
                <a:lnTo>
                  <a:pt x="657" y="1879"/>
                </a:lnTo>
                <a:lnTo>
                  <a:pt x="705" y="1819"/>
                </a:lnTo>
                <a:lnTo>
                  <a:pt x="719" y="1804"/>
                </a:lnTo>
                <a:cubicBezTo>
                  <a:pt x="720" y="1804"/>
                  <a:pt x="720" y="1804"/>
                  <a:pt x="721" y="1803"/>
                </a:cubicBezTo>
                <a:lnTo>
                  <a:pt x="750" y="1786"/>
                </a:lnTo>
                <a:cubicBezTo>
                  <a:pt x="751" y="1785"/>
                  <a:pt x="752" y="1785"/>
                  <a:pt x="754" y="1785"/>
                </a:cubicBezTo>
                <a:lnTo>
                  <a:pt x="801" y="1785"/>
                </a:lnTo>
                <a:lnTo>
                  <a:pt x="794" y="1788"/>
                </a:lnTo>
                <a:lnTo>
                  <a:pt x="812" y="1761"/>
                </a:lnTo>
                <a:lnTo>
                  <a:pt x="841" y="1702"/>
                </a:lnTo>
                <a:lnTo>
                  <a:pt x="874" y="1610"/>
                </a:lnTo>
                <a:cubicBezTo>
                  <a:pt x="874" y="1609"/>
                  <a:pt x="875" y="1607"/>
                  <a:pt x="876" y="1607"/>
                </a:cubicBezTo>
                <a:lnTo>
                  <a:pt x="905" y="1578"/>
                </a:lnTo>
                <a:lnTo>
                  <a:pt x="937" y="1547"/>
                </a:lnTo>
                <a:cubicBezTo>
                  <a:pt x="938" y="1546"/>
                  <a:pt x="939" y="1545"/>
                  <a:pt x="941" y="1545"/>
                </a:cubicBezTo>
                <a:lnTo>
                  <a:pt x="988" y="1531"/>
                </a:lnTo>
                <a:lnTo>
                  <a:pt x="984" y="1534"/>
                </a:lnTo>
                <a:lnTo>
                  <a:pt x="1013" y="1487"/>
                </a:lnTo>
                <a:lnTo>
                  <a:pt x="1075" y="1410"/>
                </a:lnTo>
                <a:cubicBezTo>
                  <a:pt x="1075" y="1409"/>
                  <a:pt x="1076" y="1409"/>
                  <a:pt x="1076" y="1409"/>
                </a:cubicBezTo>
                <a:lnTo>
                  <a:pt x="1123" y="1366"/>
                </a:lnTo>
                <a:lnTo>
                  <a:pt x="1122" y="1367"/>
                </a:lnTo>
                <a:lnTo>
                  <a:pt x="1169" y="1304"/>
                </a:lnTo>
                <a:cubicBezTo>
                  <a:pt x="1170" y="1303"/>
                  <a:pt x="1171" y="1302"/>
                  <a:pt x="1172" y="1302"/>
                </a:cubicBezTo>
                <a:lnTo>
                  <a:pt x="1248" y="1259"/>
                </a:lnTo>
                <a:cubicBezTo>
                  <a:pt x="1249" y="1259"/>
                  <a:pt x="1249" y="1259"/>
                  <a:pt x="1249" y="1259"/>
                </a:cubicBezTo>
                <a:lnTo>
                  <a:pt x="1297" y="1241"/>
                </a:lnTo>
                <a:cubicBezTo>
                  <a:pt x="1298" y="1240"/>
                  <a:pt x="1300" y="1240"/>
                  <a:pt x="1301" y="1241"/>
                </a:cubicBezTo>
                <a:lnTo>
                  <a:pt x="1381" y="1258"/>
                </a:lnTo>
                <a:lnTo>
                  <a:pt x="1373" y="1261"/>
                </a:lnTo>
                <a:lnTo>
                  <a:pt x="1388" y="1243"/>
                </a:lnTo>
                <a:cubicBezTo>
                  <a:pt x="1389" y="1242"/>
                  <a:pt x="1390" y="1241"/>
                  <a:pt x="1392" y="1241"/>
                </a:cubicBezTo>
                <a:lnTo>
                  <a:pt x="1438" y="1227"/>
                </a:lnTo>
                <a:lnTo>
                  <a:pt x="1514" y="1195"/>
                </a:lnTo>
                <a:cubicBezTo>
                  <a:pt x="1515" y="1195"/>
                  <a:pt x="1516" y="1195"/>
                  <a:pt x="1517" y="1195"/>
                </a:cubicBezTo>
                <a:lnTo>
                  <a:pt x="1659" y="1180"/>
                </a:lnTo>
                <a:lnTo>
                  <a:pt x="1654" y="1195"/>
                </a:lnTo>
                <a:lnTo>
                  <a:pt x="1636" y="1181"/>
                </a:lnTo>
                <a:close/>
              </a:path>
            </a:pathLst>
          </a:custGeom>
          <a:solidFill>
            <a:schemeClr val="accent1"/>
          </a:solidFill>
          <a:ln w="0">
            <a:solidFill>
              <a:schemeClr val="bg1"/>
            </a:solidFill>
            <a:round/>
            <a:headEnd/>
            <a:tailEnd/>
          </a:ln>
        </p:spPr>
        <p:txBody>
          <a:bodyPr/>
          <a:lstStyle/>
          <a:p>
            <a:endParaRPr lang="ro-RO"/>
          </a:p>
        </p:txBody>
      </p:sp>
      <p:sp>
        <p:nvSpPr>
          <p:cNvPr id="12305" name="Freeform 14"/>
          <p:cNvSpPr>
            <a:spLocks/>
          </p:cNvSpPr>
          <p:nvPr/>
        </p:nvSpPr>
        <p:spPr bwMode="auto">
          <a:xfrm>
            <a:off x="3741738" y="4730750"/>
            <a:ext cx="685800" cy="849313"/>
          </a:xfrm>
          <a:custGeom>
            <a:avLst/>
            <a:gdLst>
              <a:gd name="T0" fmla="*/ 2147483647 w 533"/>
              <a:gd name="T1" fmla="*/ 2147483647 h 615"/>
              <a:gd name="T2" fmla="*/ 2147483647 w 533"/>
              <a:gd name="T3" fmla="*/ 2147483647 h 615"/>
              <a:gd name="T4" fmla="*/ 2147483647 w 533"/>
              <a:gd name="T5" fmla="*/ 2147483647 h 615"/>
              <a:gd name="T6" fmla="*/ 2147483647 w 533"/>
              <a:gd name="T7" fmla="*/ 2147483647 h 615"/>
              <a:gd name="T8" fmla="*/ 2147483647 w 533"/>
              <a:gd name="T9" fmla="*/ 2147483647 h 615"/>
              <a:gd name="T10" fmla="*/ 2147483647 w 533"/>
              <a:gd name="T11" fmla="*/ 2147483647 h 615"/>
              <a:gd name="T12" fmla="*/ 2147483647 w 533"/>
              <a:gd name="T13" fmla="*/ 2147483647 h 615"/>
              <a:gd name="T14" fmla="*/ 2147483647 w 533"/>
              <a:gd name="T15" fmla="*/ 2147483647 h 615"/>
              <a:gd name="T16" fmla="*/ 2147483647 w 533"/>
              <a:gd name="T17" fmla="*/ 2147483647 h 615"/>
              <a:gd name="T18" fmla="*/ 2147483647 w 533"/>
              <a:gd name="T19" fmla="*/ 2147483647 h 615"/>
              <a:gd name="T20" fmla="*/ 2147483647 w 533"/>
              <a:gd name="T21" fmla="*/ 2147483647 h 615"/>
              <a:gd name="T22" fmla="*/ 2147483647 w 533"/>
              <a:gd name="T23" fmla="*/ 2147483647 h 615"/>
              <a:gd name="T24" fmla="*/ 2147483647 w 533"/>
              <a:gd name="T25" fmla="*/ 2147483647 h 615"/>
              <a:gd name="T26" fmla="*/ 2147483647 w 533"/>
              <a:gd name="T27" fmla="*/ 2147483647 h 615"/>
              <a:gd name="T28" fmla="*/ 2147483647 w 533"/>
              <a:gd name="T29" fmla="*/ 2147483647 h 615"/>
              <a:gd name="T30" fmla="*/ 2147483647 w 533"/>
              <a:gd name="T31" fmla="*/ 2147483647 h 615"/>
              <a:gd name="T32" fmla="*/ 2147483647 w 533"/>
              <a:gd name="T33" fmla="*/ 2147483647 h 615"/>
              <a:gd name="T34" fmla="*/ 2147483647 w 533"/>
              <a:gd name="T35" fmla="*/ 2147483647 h 615"/>
              <a:gd name="T36" fmla="*/ 2147483647 w 533"/>
              <a:gd name="T37" fmla="*/ 2147483647 h 615"/>
              <a:gd name="T38" fmla="*/ 2147483647 w 533"/>
              <a:gd name="T39" fmla="*/ 2147483647 h 615"/>
              <a:gd name="T40" fmla="*/ 2147483647 w 533"/>
              <a:gd name="T41" fmla="*/ 2147483647 h 615"/>
              <a:gd name="T42" fmla="*/ 2147483647 w 533"/>
              <a:gd name="T43" fmla="*/ 2147483647 h 615"/>
              <a:gd name="T44" fmla="*/ 2147483647 w 533"/>
              <a:gd name="T45" fmla="*/ 2147483647 h 615"/>
              <a:gd name="T46" fmla="*/ 2147483647 w 533"/>
              <a:gd name="T47" fmla="*/ 2147483647 h 615"/>
              <a:gd name="T48" fmla="*/ 2147483647 w 533"/>
              <a:gd name="T49" fmla="*/ 2147483647 h 615"/>
              <a:gd name="T50" fmla="*/ 2147483647 w 533"/>
              <a:gd name="T51" fmla="*/ 2147483647 h 615"/>
              <a:gd name="T52" fmla="*/ 2147483647 w 533"/>
              <a:gd name="T53" fmla="*/ 2147483647 h 615"/>
              <a:gd name="T54" fmla="*/ 2147483647 w 533"/>
              <a:gd name="T55" fmla="*/ 2147483647 h 615"/>
              <a:gd name="T56" fmla="*/ 2147483647 w 533"/>
              <a:gd name="T57" fmla="*/ 2147483647 h 615"/>
              <a:gd name="T58" fmla="*/ 2147483647 w 533"/>
              <a:gd name="T59" fmla="*/ 2147483647 h 615"/>
              <a:gd name="T60" fmla="*/ 0 w 533"/>
              <a:gd name="T61" fmla="*/ 2147483647 h 615"/>
              <a:gd name="T62" fmla="*/ 2147483647 w 533"/>
              <a:gd name="T63" fmla="*/ 2147483647 h 615"/>
              <a:gd name="T64" fmla="*/ 2147483647 w 533"/>
              <a:gd name="T65" fmla="*/ 2147483647 h 615"/>
              <a:gd name="T66" fmla="*/ 2147483647 w 533"/>
              <a:gd name="T67" fmla="*/ 2147483647 h 615"/>
              <a:gd name="T68" fmla="*/ 2147483647 w 533"/>
              <a:gd name="T69" fmla="*/ 2147483647 h 615"/>
              <a:gd name="T70" fmla="*/ 2147483647 w 533"/>
              <a:gd name="T71" fmla="*/ 2147483647 h 615"/>
              <a:gd name="T72" fmla="*/ 2147483647 w 533"/>
              <a:gd name="T73" fmla="*/ 0 h 615"/>
              <a:gd name="T74" fmla="*/ 2147483647 w 533"/>
              <a:gd name="T75" fmla="*/ 2147483647 h 615"/>
              <a:gd name="T76" fmla="*/ 2147483647 w 533"/>
              <a:gd name="T77" fmla="*/ 2147483647 h 615"/>
              <a:gd name="T78" fmla="*/ 2147483647 w 533"/>
              <a:gd name="T79" fmla="*/ 2147483647 h 615"/>
              <a:gd name="T80" fmla="*/ 2147483647 w 533"/>
              <a:gd name="T81" fmla="*/ 2147483647 h 615"/>
              <a:gd name="T82" fmla="*/ 2147483647 w 533"/>
              <a:gd name="T83" fmla="*/ 2147483647 h 615"/>
              <a:gd name="T84" fmla="*/ 2147483647 w 533"/>
              <a:gd name="T85" fmla="*/ 2147483647 h 615"/>
              <a:gd name="T86" fmla="*/ 2147483647 w 533"/>
              <a:gd name="T87" fmla="*/ 2147483647 h 615"/>
              <a:gd name="T88" fmla="*/ 2147483647 w 533"/>
              <a:gd name="T89" fmla="*/ 2147483647 h 615"/>
              <a:gd name="T90" fmla="*/ 2147483647 w 533"/>
              <a:gd name="T91" fmla="*/ 2147483647 h 615"/>
              <a:gd name="T92" fmla="*/ 2147483647 w 533"/>
              <a:gd name="T93" fmla="*/ 2147483647 h 615"/>
              <a:gd name="T94" fmla="*/ 2147483647 w 533"/>
              <a:gd name="T95" fmla="*/ 2147483647 h 615"/>
              <a:gd name="T96" fmla="*/ 2147483647 w 533"/>
              <a:gd name="T97" fmla="*/ 2147483647 h 615"/>
              <a:gd name="T98" fmla="*/ 2147483647 w 533"/>
              <a:gd name="T99" fmla="*/ 2147483647 h 615"/>
              <a:gd name="T100" fmla="*/ 2147483647 w 533"/>
              <a:gd name="T101" fmla="*/ 2147483647 h 615"/>
              <a:gd name="T102" fmla="*/ 2147483647 w 533"/>
              <a:gd name="T103" fmla="*/ 2147483647 h 615"/>
              <a:gd name="T104" fmla="*/ 2147483647 w 533"/>
              <a:gd name="T105" fmla="*/ 2147483647 h 615"/>
              <a:gd name="T106" fmla="*/ 2147483647 w 533"/>
              <a:gd name="T107" fmla="*/ 2147483647 h 615"/>
              <a:gd name="T108" fmla="*/ 2147483647 w 533"/>
              <a:gd name="T109" fmla="*/ 2147483647 h 615"/>
              <a:gd name="T110" fmla="*/ 2147483647 w 533"/>
              <a:gd name="T111" fmla="*/ 2147483647 h 61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33"/>
              <a:gd name="T169" fmla="*/ 0 h 615"/>
              <a:gd name="T170" fmla="*/ 533 w 533"/>
              <a:gd name="T171" fmla="*/ 615 h 61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33" h="615">
                <a:moveTo>
                  <a:pt x="524" y="375"/>
                </a:moveTo>
                <a:lnTo>
                  <a:pt x="499" y="375"/>
                </a:lnTo>
                <a:lnTo>
                  <a:pt x="479" y="380"/>
                </a:lnTo>
                <a:lnTo>
                  <a:pt x="464" y="385"/>
                </a:lnTo>
                <a:lnTo>
                  <a:pt x="455" y="390"/>
                </a:lnTo>
                <a:lnTo>
                  <a:pt x="444" y="394"/>
                </a:lnTo>
                <a:lnTo>
                  <a:pt x="440" y="400"/>
                </a:lnTo>
                <a:lnTo>
                  <a:pt x="435" y="400"/>
                </a:lnTo>
                <a:lnTo>
                  <a:pt x="425" y="400"/>
                </a:lnTo>
                <a:lnTo>
                  <a:pt x="410" y="400"/>
                </a:lnTo>
                <a:lnTo>
                  <a:pt x="405" y="400"/>
                </a:lnTo>
                <a:lnTo>
                  <a:pt x="395" y="400"/>
                </a:lnTo>
                <a:lnTo>
                  <a:pt x="386" y="400"/>
                </a:lnTo>
                <a:lnTo>
                  <a:pt x="381" y="404"/>
                </a:lnTo>
                <a:lnTo>
                  <a:pt x="375" y="409"/>
                </a:lnTo>
                <a:lnTo>
                  <a:pt x="371" y="413"/>
                </a:lnTo>
                <a:lnTo>
                  <a:pt x="360" y="423"/>
                </a:lnTo>
                <a:lnTo>
                  <a:pt x="355" y="433"/>
                </a:lnTo>
                <a:lnTo>
                  <a:pt x="346" y="442"/>
                </a:lnTo>
                <a:lnTo>
                  <a:pt x="346" y="447"/>
                </a:lnTo>
                <a:lnTo>
                  <a:pt x="341" y="447"/>
                </a:lnTo>
                <a:lnTo>
                  <a:pt x="336" y="457"/>
                </a:lnTo>
                <a:lnTo>
                  <a:pt x="331" y="461"/>
                </a:lnTo>
                <a:lnTo>
                  <a:pt x="321" y="472"/>
                </a:lnTo>
                <a:lnTo>
                  <a:pt x="316" y="481"/>
                </a:lnTo>
                <a:lnTo>
                  <a:pt x="312" y="486"/>
                </a:lnTo>
                <a:lnTo>
                  <a:pt x="306" y="491"/>
                </a:lnTo>
                <a:lnTo>
                  <a:pt x="301" y="491"/>
                </a:lnTo>
                <a:lnTo>
                  <a:pt x="297" y="491"/>
                </a:lnTo>
                <a:lnTo>
                  <a:pt x="291" y="495"/>
                </a:lnTo>
                <a:lnTo>
                  <a:pt x="286" y="501"/>
                </a:lnTo>
                <a:lnTo>
                  <a:pt x="282" y="505"/>
                </a:lnTo>
                <a:lnTo>
                  <a:pt x="277" y="510"/>
                </a:lnTo>
                <a:lnTo>
                  <a:pt x="271" y="514"/>
                </a:lnTo>
                <a:lnTo>
                  <a:pt x="271" y="524"/>
                </a:lnTo>
                <a:lnTo>
                  <a:pt x="267" y="534"/>
                </a:lnTo>
                <a:lnTo>
                  <a:pt x="262" y="548"/>
                </a:lnTo>
                <a:lnTo>
                  <a:pt x="262" y="553"/>
                </a:lnTo>
                <a:lnTo>
                  <a:pt x="257" y="558"/>
                </a:lnTo>
                <a:lnTo>
                  <a:pt x="257" y="562"/>
                </a:lnTo>
                <a:lnTo>
                  <a:pt x="252" y="562"/>
                </a:lnTo>
                <a:lnTo>
                  <a:pt x="247" y="562"/>
                </a:lnTo>
                <a:lnTo>
                  <a:pt x="247" y="567"/>
                </a:lnTo>
                <a:lnTo>
                  <a:pt x="242" y="567"/>
                </a:lnTo>
                <a:lnTo>
                  <a:pt x="237" y="567"/>
                </a:lnTo>
                <a:lnTo>
                  <a:pt x="232" y="567"/>
                </a:lnTo>
                <a:lnTo>
                  <a:pt x="227" y="567"/>
                </a:lnTo>
                <a:lnTo>
                  <a:pt x="223" y="573"/>
                </a:lnTo>
                <a:lnTo>
                  <a:pt x="223" y="577"/>
                </a:lnTo>
                <a:lnTo>
                  <a:pt x="213" y="581"/>
                </a:lnTo>
                <a:lnTo>
                  <a:pt x="208" y="596"/>
                </a:lnTo>
                <a:lnTo>
                  <a:pt x="202" y="601"/>
                </a:lnTo>
                <a:lnTo>
                  <a:pt x="197" y="606"/>
                </a:lnTo>
                <a:lnTo>
                  <a:pt x="188" y="606"/>
                </a:lnTo>
                <a:lnTo>
                  <a:pt x="182" y="611"/>
                </a:lnTo>
                <a:lnTo>
                  <a:pt x="173" y="615"/>
                </a:lnTo>
                <a:lnTo>
                  <a:pt x="163" y="615"/>
                </a:lnTo>
                <a:lnTo>
                  <a:pt x="153" y="615"/>
                </a:lnTo>
                <a:lnTo>
                  <a:pt x="143" y="615"/>
                </a:lnTo>
                <a:lnTo>
                  <a:pt x="139" y="606"/>
                </a:lnTo>
                <a:lnTo>
                  <a:pt x="139" y="581"/>
                </a:lnTo>
                <a:lnTo>
                  <a:pt x="133" y="573"/>
                </a:lnTo>
                <a:lnTo>
                  <a:pt x="133" y="558"/>
                </a:lnTo>
                <a:lnTo>
                  <a:pt x="128" y="548"/>
                </a:lnTo>
                <a:lnTo>
                  <a:pt x="128" y="543"/>
                </a:lnTo>
                <a:lnTo>
                  <a:pt x="124" y="539"/>
                </a:lnTo>
                <a:lnTo>
                  <a:pt x="119" y="529"/>
                </a:lnTo>
                <a:lnTo>
                  <a:pt x="113" y="524"/>
                </a:lnTo>
                <a:lnTo>
                  <a:pt x="113" y="514"/>
                </a:lnTo>
                <a:lnTo>
                  <a:pt x="108" y="510"/>
                </a:lnTo>
                <a:lnTo>
                  <a:pt x="108" y="501"/>
                </a:lnTo>
                <a:lnTo>
                  <a:pt x="108" y="495"/>
                </a:lnTo>
                <a:lnTo>
                  <a:pt x="108" y="491"/>
                </a:lnTo>
                <a:lnTo>
                  <a:pt x="113" y="486"/>
                </a:lnTo>
                <a:lnTo>
                  <a:pt x="113" y="481"/>
                </a:lnTo>
                <a:lnTo>
                  <a:pt x="113" y="476"/>
                </a:lnTo>
                <a:lnTo>
                  <a:pt x="113" y="472"/>
                </a:lnTo>
                <a:lnTo>
                  <a:pt x="113" y="467"/>
                </a:lnTo>
                <a:lnTo>
                  <a:pt x="108" y="457"/>
                </a:lnTo>
                <a:lnTo>
                  <a:pt x="104" y="447"/>
                </a:lnTo>
                <a:lnTo>
                  <a:pt x="98" y="438"/>
                </a:lnTo>
                <a:lnTo>
                  <a:pt x="98" y="433"/>
                </a:lnTo>
                <a:lnTo>
                  <a:pt x="98" y="423"/>
                </a:lnTo>
                <a:lnTo>
                  <a:pt x="93" y="413"/>
                </a:lnTo>
                <a:lnTo>
                  <a:pt x="93" y="404"/>
                </a:lnTo>
                <a:lnTo>
                  <a:pt x="93" y="390"/>
                </a:lnTo>
                <a:lnTo>
                  <a:pt x="98" y="375"/>
                </a:lnTo>
                <a:lnTo>
                  <a:pt x="98" y="366"/>
                </a:lnTo>
                <a:lnTo>
                  <a:pt x="104" y="356"/>
                </a:lnTo>
                <a:lnTo>
                  <a:pt x="104" y="351"/>
                </a:lnTo>
                <a:lnTo>
                  <a:pt x="108" y="346"/>
                </a:lnTo>
                <a:lnTo>
                  <a:pt x="108" y="341"/>
                </a:lnTo>
                <a:lnTo>
                  <a:pt x="113" y="341"/>
                </a:lnTo>
                <a:lnTo>
                  <a:pt x="119" y="337"/>
                </a:lnTo>
                <a:lnTo>
                  <a:pt x="124" y="332"/>
                </a:lnTo>
                <a:lnTo>
                  <a:pt x="143" y="327"/>
                </a:lnTo>
                <a:lnTo>
                  <a:pt x="148" y="322"/>
                </a:lnTo>
                <a:lnTo>
                  <a:pt x="153" y="322"/>
                </a:lnTo>
                <a:lnTo>
                  <a:pt x="153" y="318"/>
                </a:lnTo>
                <a:lnTo>
                  <a:pt x="153" y="312"/>
                </a:lnTo>
                <a:lnTo>
                  <a:pt x="153" y="308"/>
                </a:lnTo>
                <a:lnTo>
                  <a:pt x="148" y="303"/>
                </a:lnTo>
                <a:lnTo>
                  <a:pt x="139" y="293"/>
                </a:lnTo>
                <a:lnTo>
                  <a:pt x="133" y="289"/>
                </a:lnTo>
                <a:lnTo>
                  <a:pt x="128" y="284"/>
                </a:lnTo>
                <a:lnTo>
                  <a:pt x="128" y="279"/>
                </a:lnTo>
                <a:lnTo>
                  <a:pt x="124" y="274"/>
                </a:lnTo>
                <a:lnTo>
                  <a:pt x="124" y="270"/>
                </a:lnTo>
                <a:lnTo>
                  <a:pt x="124" y="265"/>
                </a:lnTo>
                <a:lnTo>
                  <a:pt x="124" y="260"/>
                </a:lnTo>
                <a:lnTo>
                  <a:pt x="128" y="255"/>
                </a:lnTo>
                <a:lnTo>
                  <a:pt x="128" y="246"/>
                </a:lnTo>
                <a:lnTo>
                  <a:pt x="133" y="240"/>
                </a:lnTo>
                <a:lnTo>
                  <a:pt x="143" y="221"/>
                </a:lnTo>
                <a:lnTo>
                  <a:pt x="143" y="217"/>
                </a:lnTo>
                <a:lnTo>
                  <a:pt x="148" y="212"/>
                </a:lnTo>
                <a:lnTo>
                  <a:pt x="143" y="212"/>
                </a:lnTo>
                <a:lnTo>
                  <a:pt x="143" y="207"/>
                </a:lnTo>
                <a:lnTo>
                  <a:pt x="143" y="202"/>
                </a:lnTo>
                <a:lnTo>
                  <a:pt x="139" y="202"/>
                </a:lnTo>
                <a:lnTo>
                  <a:pt x="139" y="198"/>
                </a:lnTo>
                <a:lnTo>
                  <a:pt x="133" y="198"/>
                </a:lnTo>
                <a:lnTo>
                  <a:pt x="128" y="198"/>
                </a:lnTo>
                <a:lnTo>
                  <a:pt x="124" y="198"/>
                </a:lnTo>
                <a:lnTo>
                  <a:pt x="124" y="202"/>
                </a:lnTo>
                <a:lnTo>
                  <a:pt x="119" y="202"/>
                </a:lnTo>
                <a:lnTo>
                  <a:pt x="113" y="202"/>
                </a:lnTo>
                <a:lnTo>
                  <a:pt x="108" y="202"/>
                </a:lnTo>
                <a:lnTo>
                  <a:pt x="104" y="198"/>
                </a:lnTo>
                <a:lnTo>
                  <a:pt x="98" y="192"/>
                </a:lnTo>
                <a:lnTo>
                  <a:pt x="98" y="188"/>
                </a:lnTo>
                <a:lnTo>
                  <a:pt x="104" y="183"/>
                </a:lnTo>
                <a:lnTo>
                  <a:pt x="104" y="179"/>
                </a:lnTo>
                <a:lnTo>
                  <a:pt x="104" y="173"/>
                </a:lnTo>
                <a:lnTo>
                  <a:pt x="98" y="173"/>
                </a:lnTo>
                <a:lnTo>
                  <a:pt x="89" y="173"/>
                </a:lnTo>
                <a:lnTo>
                  <a:pt x="84" y="179"/>
                </a:lnTo>
                <a:lnTo>
                  <a:pt x="78" y="179"/>
                </a:lnTo>
                <a:lnTo>
                  <a:pt x="69" y="179"/>
                </a:lnTo>
                <a:lnTo>
                  <a:pt x="59" y="179"/>
                </a:lnTo>
                <a:lnTo>
                  <a:pt x="54" y="179"/>
                </a:lnTo>
                <a:lnTo>
                  <a:pt x="44" y="179"/>
                </a:lnTo>
                <a:lnTo>
                  <a:pt x="39" y="179"/>
                </a:lnTo>
                <a:lnTo>
                  <a:pt x="35" y="179"/>
                </a:lnTo>
                <a:lnTo>
                  <a:pt x="30" y="179"/>
                </a:lnTo>
                <a:lnTo>
                  <a:pt x="30" y="173"/>
                </a:lnTo>
                <a:lnTo>
                  <a:pt x="24" y="173"/>
                </a:lnTo>
                <a:lnTo>
                  <a:pt x="19" y="169"/>
                </a:lnTo>
                <a:lnTo>
                  <a:pt x="19" y="164"/>
                </a:lnTo>
                <a:lnTo>
                  <a:pt x="15" y="154"/>
                </a:lnTo>
                <a:lnTo>
                  <a:pt x="9" y="140"/>
                </a:lnTo>
                <a:lnTo>
                  <a:pt x="9" y="130"/>
                </a:lnTo>
                <a:lnTo>
                  <a:pt x="0" y="116"/>
                </a:lnTo>
                <a:lnTo>
                  <a:pt x="0" y="111"/>
                </a:lnTo>
                <a:lnTo>
                  <a:pt x="0" y="106"/>
                </a:lnTo>
                <a:lnTo>
                  <a:pt x="4" y="101"/>
                </a:lnTo>
                <a:lnTo>
                  <a:pt x="4" y="97"/>
                </a:lnTo>
                <a:lnTo>
                  <a:pt x="9" y="97"/>
                </a:lnTo>
                <a:lnTo>
                  <a:pt x="24" y="82"/>
                </a:lnTo>
                <a:lnTo>
                  <a:pt x="30" y="78"/>
                </a:lnTo>
                <a:lnTo>
                  <a:pt x="30" y="72"/>
                </a:lnTo>
                <a:lnTo>
                  <a:pt x="30" y="68"/>
                </a:lnTo>
                <a:lnTo>
                  <a:pt x="24" y="63"/>
                </a:lnTo>
                <a:lnTo>
                  <a:pt x="24" y="58"/>
                </a:lnTo>
                <a:lnTo>
                  <a:pt x="19" y="58"/>
                </a:lnTo>
                <a:lnTo>
                  <a:pt x="15" y="53"/>
                </a:lnTo>
                <a:lnTo>
                  <a:pt x="0" y="44"/>
                </a:lnTo>
                <a:lnTo>
                  <a:pt x="0" y="39"/>
                </a:lnTo>
                <a:lnTo>
                  <a:pt x="4" y="39"/>
                </a:lnTo>
                <a:lnTo>
                  <a:pt x="4" y="34"/>
                </a:lnTo>
                <a:lnTo>
                  <a:pt x="9" y="34"/>
                </a:lnTo>
                <a:lnTo>
                  <a:pt x="15" y="29"/>
                </a:lnTo>
                <a:lnTo>
                  <a:pt x="19" y="29"/>
                </a:lnTo>
                <a:lnTo>
                  <a:pt x="30" y="29"/>
                </a:lnTo>
                <a:lnTo>
                  <a:pt x="35" y="29"/>
                </a:lnTo>
                <a:lnTo>
                  <a:pt x="44" y="24"/>
                </a:lnTo>
                <a:lnTo>
                  <a:pt x="50" y="24"/>
                </a:lnTo>
                <a:lnTo>
                  <a:pt x="54" y="20"/>
                </a:lnTo>
                <a:lnTo>
                  <a:pt x="59" y="20"/>
                </a:lnTo>
                <a:lnTo>
                  <a:pt x="59" y="15"/>
                </a:lnTo>
                <a:lnTo>
                  <a:pt x="63" y="15"/>
                </a:lnTo>
                <a:lnTo>
                  <a:pt x="63" y="10"/>
                </a:lnTo>
                <a:lnTo>
                  <a:pt x="69" y="5"/>
                </a:lnTo>
                <a:lnTo>
                  <a:pt x="74" y="0"/>
                </a:lnTo>
                <a:lnTo>
                  <a:pt x="78" y="0"/>
                </a:lnTo>
                <a:lnTo>
                  <a:pt x="84" y="0"/>
                </a:lnTo>
                <a:lnTo>
                  <a:pt x="89" y="0"/>
                </a:lnTo>
                <a:lnTo>
                  <a:pt x="93" y="5"/>
                </a:lnTo>
                <a:lnTo>
                  <a:pt x="98" y="5"/>
                </a:lnTo>
                <a:lnTo>
                  <a:pt x="108" y="10"/>
                </a:lnTo>
                <a:lnTo>
                  <a:pt x="113" y="15"/>
                </a:lnTo>
                <a:lnTo>
                  <a:pt x="119" y="20"/>
                </a:lnTo>
                <a:lnTo>
                  <a:pt x="124" y="24"/>
                </a:lnTo>
                <a:lnTo>
                  <a:pt x="128" y="24"/>
                </a:lnTo>
                <a:lnTo>
                  <a:pt x="133" y="29"/>
                </a:lnTo>
                <a:lnTo>
                  <a:pt x="139" y="29"/>
                </a:lnTo>
                <a:lnTo>
                  <a:pt x="143" y="29"/>
                </a:lnTo>
                <a:lnTo>
                  <a:pt x="148" y="29"/>
                </a:lnTo>
                <a:lnTo>
                  <a:pt x="158" y="24"/>
                </a:lnTo>
                <a:lnTo>
                  <a:pt x="167" y="24"/>
                </a:lnTo>
                <a:lnTo>
                  <a:pt x="173" y="20"/>
                </a:lnTo>
                <a:lnTo>
                  <a:pt x="182" y="20"/>
                </a:lnTo>
                <a:lnTo>
                  <a:pt x="197" y="20"/>
                </a:lnTo>
                <a:lnTo>
                  <a:pt x="217" y="20"/>
                </a:lnTo>
                <a:lnTo>
                  <a:pt x="232" y="20"/>
                </a:lnTo>
                <a:lnTo>
                  <a:pt x="242" y="20"/>
                </a:lnTo>
                <a:lnTo>
                  <a:pt x="252" y="20"/>
                </a:lnTo>
                <a:lnTo>
                  <a:pt x="252" y="24"/>
                </a:lnTo>
                <a:lnTo>
                  <a:pt x="257" y="24"/>
                </a:lnTo>
                <a:lnTo>
                  <a:pt x="257" y="29"/>
                </a:lnTo>
                <a:lnTo>
                  <a:pt x="262" y="34"/>
                </a:lnTo>
                <a:lnTo>
                  <a:pt x="257" y="39"/>
                </a:lnTo>
                <a:lnTo>
                  <a:pt x="257" y="44"/>
                </a:lnTo>
                <a:lnTo>
                  <a:pt x="252" y="53"/>
                </a:lnTo>
                <a:lnTo>
                  <a:pt x="242" y="72"/>
                </a:lnTo>
                <a:lnTo>
                  <a:pt x="232" y="87"/>
                </a:lnTo>
                <a:lnTo>
                  <a:pt x="232" y="97"/>
                </a:lnTo>
                <a:lnTo>
                  <a:pt x="227" y="106"/>
                </a:lnTo>
                <a:lnTo>
                  <a:pt x="227" y="116"/>
                </a:lnTo>
                <a:lnTo>
                  <a:pt x="227" y="120"/>
                </a:lnTo>
                <a:lnTo>
                  <a:pt x="227" y="125"/>
                </a:lnTo>
                <a:lnTo>
                  <a:pt x="227" y="130"/>
                </a:lnTo>
                <a:lnTo>
                  <a:pt x="232" y="135"/>
                </a:lnTo>
                <a:lnTo>
                  <a:pt x="232" y="140"/>
                </a:lnTo>
                <a:lnTo>
                  <a:pt x="237" y="145"/>
                </a:lnTo>
                <a:lnTo>
                  <a:pt x="242" y="149"/>
                </a:lnTo>
                <a:lnTo>
                  <a:pt x="247" y="154"/>
                </a:lnTo>
                <a:lnTo>
                  <a:pt x="257" y="159"/>
                </a:lnTo>
                <a:lnTo>
                  <a:pt x="271" y="164"/>
                </a:lnTo>
                <a:lnTo>
                  <a:pt x="282" y="169"/>
                </a:lnTo>
                <a:lnTo>
                  <a:pt x="286" y="173"/>
                </a:lnTo>
                <a:lnTo>
                  <a:pt x="291" y="173"/>
                </a:lnTo>
                <a:lnTo>
                  <a:pt x="291" y="179"/>
                </a:lnTo>
                <a:lnTo>
                  <a:pt x="297" y="179"/>
                </a:lnTo>
                <a:lnTo>
                  <a:pt x="312" y="188"/>
                </a:lnTo>
                <a:lnTo>
                  <a:pt x="336" y="198"/>
                </a:lnTo>
                <a:lnTo>
                  <a:pt x="360" y="212"/>
                </a:lnTo>
                <a:lnTo>
                  <a:pt x="375" y="221"/>
                </a:lnTo>
                <a:lnTo>
                  <a:pt x="386" y="231"/>
                </a:lnTo>
                <a:lnTo>
                  <a:pt x="390" y="231"/>
                </a:lnTo>
                <a:lnTo>
                  <a:pt x="390" y="236"/>
                </a:lnTo>
                <a:lnTo>
                  <a:pt x="395" y="236"/>
                </a:lnTo>
                <a:lnTo>
                  <a:pt x="395" y="231"/>
                </a:lnTo>
                <a:lnTo>
                  <a:pt x="405" y="226"/>
                </a:lnTo>
                <a:lnTo>
                  <a:pt x="420" y="217"/>
                </a:lnTo>
                <a:lnTo>
                  <a:pt x="429" y="207"/>
                </a:lnTo>
                <a:lnTo>
                  <a:pt x="435" y="202"/>
                </a:lnTo>
                <a:lnTo>
                  <a:pt x="440" y="202"/>
                </a:lnTo>
                <a:lnTo>
                  <a:pt x="444" y="202"/>
                </a:lnTo>
                <a:lnTo>
                  <a:pt x="450" y="202"/>
                </a:lnTo>
                <a:lnTo>
                  <a:pt x="450" y="207"/>
                </a:lnTo>
                <a:lnTo>
                  <a:pt x="455" y="212"/>
                </a:lnTo>
                <a:lnTo>
                  <a:pt x="455" y="217"/>
                </a:lnTo>
                <a:lnTo>
                  <a:pt x="460" y="217"/>
                </a:lnTo>
                <a:lnTo>
                  <a:pt x="460" y="221"/>
                </a:lnTo>
                <a:lnTo>
                  <a:pt x="464" y="221"/>
                </a:lnTo>
                <a:lnTo>
                  <a:pt x="470" y="226"/>
                </a:lnTo>
                <a:lnTo>
                  <a:pt x="485" y="236"/>
                </a:lnTo>
                <a:lnTo>
                  <a:pt x="499" y="250"/>
                </a:lnTo>
                <a:lnTo>
                  <a:pt x="514" y="270"/>
                </a:lnTo>
                <a:lnTo>
                  <a:pt x="518" y="274"/>
                </a:lnTo>
                <a:lnTo>
                  <a:pt x="529" y="284"/>
                </a:lnTo>
                <a:lnTo>
                  <a:pt x="533" y="293"/>
                </a:lnTo>
                <a:lnTo>
                  <a:pt x="533" y="299"/>
                </a:lnTo>
                <a:lnTo>
                  <a:pt x="533" y="303"/>
                </a:lnTo>
                <a:lnTo>
                  <a:pt x="533" y="308"/>
                </a:lnTo>
                <a:lnTo>
                  <a:pt x="533" y="312"/>
                </a:lnTo>
                <a:lnTo>
                  <a:pt x="533" y="318"/>
                </a:lnTo>
                <a:lnTo>
                  <a:pt x="529" y="322"/>
                </a:lnTo>
                <a:lnTo>
                  <a:pt x="524" y="322"/>
                </a:lnTo>
                <a:lnTo>
                  <a:pt x="518" y="327"/>
                </a:lnTo>
                <a:lnTo>
                  <a:pt x="514" y="327"/>
                </a:lnTo>
                <a:lnTo>
                  <a:pt x="509" y="332"/>
                </a:lnTo>
                <a:lnTo>
                  <a:pt x="509" y="337"/>
                </a:lnTo>
                <a:lnTo>
                  <a:pt x="509" y="341"/>
                </a:lnTo>
                <a:lnTo>
                  <a:pt x="509" y="346"/>
                </a:lnTo>
                <a:lnTo>
                  <a:pt x="509" y="351"/>
                </a:lnTo>
                <a:lnTo>
                  <a:pt x="509" y="356"/>
                </a:lnTo>
                <a:lnTo>
                  <a:pt x="514" y="361"/>
                </a:lnTo>
                <a:lnTo>
                  <a:pt x="518" y="371"/>
                </a:lnTo>
                <a:lnTo>
                  <a:pt x="524" y="375"/>
                </a:lnTo>
                <a:close/>
              </a:path>
            </a:pathLst>
          </a:custGeom>
          <a:solidFill>
            <a:srgbClr val="005027"/>
          </a:solidFill>
          <a:ln w="9525">
            <a:solidFill>
              <a:schemeClr val="bg1"/>
            </a:solidFill>
            <a:round/>
            <a:headEnd/>
            <a:tailEnd/>
          </a:ln>
        </p:spPr>
        <p:txBody>
          <a:bodyPr/>
          <a:lstStyle/>
          <a:p>
            <a:endParaRPr lang="ro-RO"/>
          </a:p>
        </p:txBody>
      </p:sp>
      <p:sp>
        <p:nvSpPr>
          <p:cNvPr id="12306" name="Freeform 15"/>
          <p:cNvSpPr>
            <a:spLocks/>
          </p:cNvSpPr>
          <p:nvPr/>
        </p:nvSpPr>
        <p:spPr bwMode="auto">
          <a:xfrm>
            <a:off x="5016500" y="4470400"/>
            <a:ext cx="1143000" cy="1031875"/>
          </a:xfrm>
          <a:custGeom>
            <a:avLst/>
            <a:gdLst>
              <a:gd name="T0" fmla="*/ 2147483647 w 889"/>
              <a:gd name="T1" fmla="*/ 2147483647 h 747"/>
              <a:gd name="T2" fmla="*/ 2147483647 w 889"/>
              <a:gd name="T3" fmla="*/ 2147483647 h 747"/>
              <a:gd name="T4" fmla="*/ 2147483647 w 889"/>
              <a:gd name="T5" fmla="*/ 2147483647 h 747"/>
              <a:gd name="T6" fmla="*/ 2147483647 w 889"/>
              <a:gd name="T7" fmla="*/ 2147483647 h 747"/>
              <a:gd name="T8" fmla="*/ 2147483647 w 889"/>
              <a:gd name="T9" fmla="*/ 2147483647 h 747"/>
              <a:gd name="T10" fmla="*/ 2147483647 w 889"/>
              <a:gd name="T11" fmla="*/ 2147483647 h 747"/>
              <a:gd name="T12" fmla="*/ 2147483647 w 889"/>
              <a:gd name="T13" fmla="*/ 2147483647 h 747"/>
              <a:gd name="T14" fmla="*/ 2147483647 w 889"/>
              <a:gd name="T15" fmla="*/ 2147483647 h 747"/>
              <a:gd name="T16" fmla="*/ 2147483647 w 889"/>
              <a:gd name="T17" fmla="*/ 2147483647 h 747"/>
              <a:gd name="T18" fmla="*/ 2147483647 w 889"/>
              <a:gd name="T19" fmla="*/ 2147483647 h 747"/>
              <a:gd name="T20" fmla="*/ 2147483647 w 889"/>
              <a:gd name="T21" fmla="*/ 2147483647 h 747"/>
              <a:gd name="T22" fmla="*/ 2147483647 w 889"/>
              <a:gd name="T23" fmla="*/ 2147483647 h 747"/>
              <a:gd name="T24" fmla="*/ 2147483647 w 889"/>
              <a:gd name="T25" fmla="*/ 2147483647 h 747"/>
              <a:gd name="T26" fmla="*/ 2147483647 w 889"/>
              <a:gd name="T27" fmla="*/ 2147483647 h 747"/>
              <a:gd name="T28" fmla="*/ 2147483647 w 889"/>
              <a:gd name="T29" fmla="*/ 2147483647 h 747"/>
              <a:gd name="T30" fmla="*/ 2147483647 w 889"/>
              <a:gd name="T31" fmla="*/ 2147483647 h 747"/>
              <a:gd name="T32" fmla="*/ 2147483647 w 889"/>
              <a:gd name="T33" fmla="*/ 2147483647 h 747"/>
              <a:gd name="T34" fmla="*/ 2147483647 w 889"/>
              <a:gd name="T35" fmla="*/ 2147483647 h 747"/>
              <a:gd name="T36" fmla="*/ 2147483647 w 889"/>
              <a:gd name="T37" fmla="*/ 2147483647 h 747"/>
              <a:gd name="T38" fmla="*/ 2147483647 w 889"/>
              <a:gd name="T39" fmla="*/ 2147483647 h 747"/>
              <a:gd name="T40" fmla="*/ 2147483647 w 889"/>
              <a:gd name="T41" fmla="*/ 2147483647 h 747"/>
              <a:gd name="T42" fmla="*/ 2147483647 w 889"/>
              <a:gd name="T43" fmla="*/ 2147483647 h 747"/>
              <a:gd name="T44" fmla="*/ 2147483647 w 889"/>
              <a:gd name="T45" fmla="*/ 2147483647 h 747"/>
              <a:gd name="T46" fmla="*/ 2147483647 w 889"/>
              <a:gd name="T47" fmla="*/ 2147483647 h 747"/>
              <a:gd name="T48" fmla="*/ 2147483647 w 889"/>
              <a:gd name="T49" fmla="*/ 2147483647 h 747"/>
              <a:gd name="T50" fmla="*/ 2147483647 w 889"/>
              <a:gd name="T51" fmla="*/ 2147483647 h 747"/>
              <a:gd name="T52" fmla="*/ 2147483647 w 889"/>
              <a:gd name="T53" fmla="*/ 2147483647 h 747"/>
              <a:gd name="T54" fmla="*/ 2147483647 w 889"/>
              <a:gd name="T55" fmla="*/ 2147483647 h 747"/>
              <a:gd name="T56" fmla="*/ 2147483647 w 889"/>
              <a:gd name="T57" fmla="*/ 2147483647 h 747"/>
              <a:gd name="T58" fmla="*/ 2147483647 w 889"/>
              <a:gd name="T59" fmla="*/ 2147483647 h 747"/>
              <a:gd name="T60" fmla="*/ 2147483647 w 889"/>
              <a:gd name="T61" fmla="*/ 2147483647 h 747"/>
              <a:gd name="T62" fmla="*/ 2147483647 w 889"/>
              <a:gd name="T63" fmla="*/ 2147483647 h 747"/>
              <a:gd name="T64" fmla="*/ 2147483647 w 889"/>
              <a:gd name="T65" fmla="*/ 2147483647 h 747"/>
              <a:gd name="T66" fmla="*/ 2147483647 w 889"/>
              <a:gd name="T67" fmla="*/ 2147483647 h 747"/>
              <a:gd name="T68" fmla="*/ 2147483647 w 889"/>
              <a:gd name="T69" fmla="*/ 2147483647 h 747"/>
              <a:gd name="T70" fmla="*/ 2147483647 w 889"/>
              <a:gd name="T71" fmla="*/ 2147483647 h 747"/>
              <a:gd name="T72" fmla="*/ 2147483647 w 889"/>
              <a:gd name="T73" fmla="*/ 2147483647 h 747"/>
              <a:gd name="T74" fmla="*/ 2147483647 w 889"/>
              <a:gd name="T75" fmla="*/ 2147483647 h 747"/>
              <a:gd name="T76" fmla="*/ 2147483647 w 889"/>
              <a:gd name="T77" fmla="*/ 2147483647 h 747"/>
              <a:gd name="T78" fmla="*/ 2147483647 w 889"/>
              <a:gd name="T79" fmla="*/ 2147483647 h 747"/>
              <a:gd name="T80" fmla="*/ 2147483647 w 889"/>
              <a:gd name="T81" fmla="*/ 2147483647 h 747"/>
              <a:gd name="T82" fmla="*/ 2147483647 w 889"/>
              <a:gd name="T83" fmla="*/ 2147483647 h 747"/>
              <a:gd name="T84" fmla="*/ 2147483647 w 889"/>
              <a:gd name="T85" fmla="*/ 2147483647 h 747"/>
              <a:gd name="T86" fmla="*/ 2147483647 w 889"/>
              <a:gd name="T87" fmla="*/ 2147483647 h 747"/>
              <a:gd name="T88" fmla="*/ 2147483647 w 889"/>
              <a:gd name="T89" fmla="*/ 2147483647 h 747"/>
              <a:gd name="T90" fmla="*/ 2147483647 w 889"/>
              <a:gd name="T91" fmla="*/ 2147483647 h 747"/>
              <a:gd name="T92" fmla="*/ 2147483647 w 889"/>
              <a:gd name="T93" fmla="*/ 2147483647 h 747"/>
              <a:gd name="T94" fmla="*/ 2147483647 w 889"/>
              <a:gd name="T95" fmla="*/ 2147483647 h 747"/>
              <a:gd name="T96" fmla="*/ 2147483647 w 889"/>
              <a:gd name="T97" fmla="*/ 2147483647 h 747"/>
              <a:gd name="T98" fmla="*/ 2147483647 w 889"/>
              <a:gd name="T99" fmla="*/ 2147483647 h 747"/>
              <a:gd name="T100" fmla="*/ 2147483647 w 889"/>
              <a:gd name="T101" fmla="*/ 2147483647 h 747"/>
              <a:gd name="T102" fmla="*/ 2147483647 w 889"/>
              <a:gd name="T103" fmla="*/ 2147483647 h 747"/>
              <a:gd name="T104" fmla="*/ 2147483647 w 889"/>
              <a:gd name="T105" fmla="*/ 2147483647 h 747"/>
              <a:gd name="T106" fmla="*/ 2147483647 w 889"/>
              <a:gd name="T107" fmla="*/ 2147483647 h 747"/>
              <a:gd name="T108" fmla="*/ 2147483647 w 889"/>
              <a:gd name="T109" fmla="*/ 2147483647 h 747"/>
              <a:gd name="T110" fmla="*/ 2147483647 w 889"/>
              <a:gd name="T111" fmla="*/ 2147483647 h 747"/>
              <a:gd name="T112" fmla="*/ 2147483647 w 889"/>
              <a:gd name="T113" fmla="*/ 2147483647 h 747"/>
              <a:gd name="T114" fmla="*/ 2147483647 w 889"/>
              <a:gd name="T115" fmla="*/ 2147483647 h 747"/>
              <a:gd name="T116" fmla="*/ 2147483647 w 889"/>
              <a:gd name="T117" fmla="*/ 2147483647 h 747"/>
              <a:gd name="T118" fmla="*/ 2147483647 w 889"/>
              <a:gd name="T119" fmla="*/ 2147483647 h 747"/>
              <a:gd name="T120" fmla="*/ 2147483647 w 889"/>
              <a:gd name="T121" fmla="*/ 2147483647 h 747"/>
              <a:gd name="T122" fmla="*/ 2147483647 w 889"/>
              <a:gd name="T123" fmla="*/ 2147483647 h 747"/>
              <a:gd name="T124" fmla="*/ 2147483647 w 889"/>
              <a:gd name="T125" fmla="*/ 2147483647 h 7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89"/>
              <a:gd name="T190" fmla="*/ 0 h 747"/>
              <a:gd name="T191" fmla="*/ 889 w 889"/>
              <a:gd name="T192" fmla="*/ 747 h 7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89" h="747">
                <a:moveTo>
                  <a:pt x="780" y="58"/>
                </a:moveTo>
                <a:lnTo>
                  <a:pt x="774" y="72"/>
                </a:lnTo>
                <a:lnTo>
                  <a:pt x="774" y="82"/>
                </a:lnTo>
                <a:lnTo>
                  <a:pt x="785" y="91"/>
                </a:lnTo>
                <a:lnTo>
                  <a:pt x="795" y="91"/>
                </a:lnTo>
                <a:lnTo>
                  <a:pt x="809" y="91"/>
                </a:lnTo>
                <a:lnTo>
                  <a:pt x="815" y="87"/>
                </a:lnTo>
                <a:lnTo>
                  <a:pt x="824" y="82"/>
                </a:lnTo>
                <a:lnTo>
                  <a:pt x="835" y="68"/>
                </a:lnTo>
                <a:lnTo>
                  <a:pt x="844" y="58"/>
                </a:lnTo>
                <a:lnTo>
                  <a:pt x="850" y="49"/>
                </a:lnTo>
                <a:lnTo>
                  <a:pt x="855" y="44"/>
                </a:lnTo>
                <a:lnTo>
                  <a:pt x="865" y="49"/>
                </a:lnTo>
                <a:lnTo>
                  <a:pt x="874" y="53"/>
                </a:lnTo>
                <a:lnTo>
                  <a:pt x="885" y="63"/>
                </a:lnTo>
                <a:lnTo>
                  <a:pt x="889" y="68"/>
                </a:lnTo>
                <a:lnTo>
                  <a:pt x="889" y="72"/>
                </a:lnTo>
                <a:lnTo>
                  <a:pt x="885" y="82"/>
                </a:lnTo>
                <a:lnTo>
                  <a:pt x="874" y="91"/>
                </a:lnTo>
                <a:lnTo>
                  <a:pt x="869" y="101"/>
                </a:lnTo>
                <a:lnTo>
                  <a:pt x="865" y="101"/>
                </a:lnTo>
                <a:lnTo>
                  <a:pt x="865" y="91"/>
                </a:lnTo>
                <a:lnTo>
                  <a:pt x="869" y="82"/>
                </a:lnTo>
                <a:lnTo>
                  <a:pt x="874" y="63"/>
                </a:lnTo>
                <a:lnTo>
                  <a:pt x="874" y="58"/>
                </a:lnTo>
                <a:lnTo>
                  <a:pt x="869" y="63"/>
                </a:lnTo>
                <a:lnTo>
                  <a:pt x="859" y="68"/>
                </a:lnTo>
                <a:lnTo>
                  <a:pt x="855" y="68"/>
                </a:lnTo>
                <a:lnTo>
                  <a:pt x="850" y="68"/>
                </a:lnTo>
                <a:lnTo>
                  <a:pt x="844" y="72"/>
                </a:lnTo>
                <a:lnTo>
                  <a:pt x="835" y="78"/>
                </a:lnTo>
                <a:lnTo>
                  <a:pt x="830" y="87"/>
                </a:lnTo>
                <a:lnTo>
                  <a:pt x="820" y="97"/>
                </a:lnTo>
                <a:lnTo>
                  <a:pt x="809" y="106"/>
                </a:lnTo>
                <a:lnTo>
                  <a:pt x="805" y="116"/>
                </a:lnTo>
                <a:lnTo>
                  <a:pt x="795" y="116"/>
                </a:lnTo>
                <a:lnTo>
                  <a:pt x="785" y="121"/>
                </a:lnTo>
                <a:lnTo>
                  <a:pt x="780" y="121"/>
                </a:lnTo>
                <a:lnTo>
                  <a:pt x="780" y="112"/>
                </a:lnTo>
                <a:lnTo>
                  <a:pt x="780" y="101"/>
                </a:lnTo>
                <a:lnTo>
                  <a:pt x="774" y="106"/>
                </a:lnTo>
                <a:lnTo>
                  <a:pt x="765" y="112"/>
                </a:lnTo>
                <a:lnTo>
                  <a:pt x="765" y="121"/>
                </a:lnTo>
                <a:lnTo>
                  <a:pt x="770" y="125"/>
                </a:lnTo>
                <a:lnTo>
                  <a:pt x="770" y="131"/>
                </a:lnTo>
                <a:lnTo>
                  <a:pt x="774" y="135"/>
                </a:lnTo>
                <a:lnTo>
                  <a:pt x="780" y="140"/>
                </a:lnTo>
                <a:lnTo>
                  <a:pt x="774" y="145"/>
                </a:lnTo>
                <a:lnTo>
                  <a:pt x="765" y="145"/>
                </a:lnTo>
                <a:lnTo>
                  <a:pt x="755" y="150"/>
                </a:lnTo>
                <a:lnTo>
                  <a:pt x="755" y="155"/>
                </a:lnTo>
                <a:lnTo>
                  <a:pt x="765" y="159"/>
                </a:lnTo>
                <a:lnTo>
                  <a:pt x="770" y="159"/>
                </a:lnTo>
                <a:lnTo>
                  <a:pt x="774" y="155"/>
                </a:lnTo>
                <a:lnTo>
                  <a:pt x="780" y="159"/>
                </a:lnTo>
                <a:lnTo>
                  <a:pt x="774" y="174"/>
                </a:lnTo>
                <a:lnTo>
                  <a:pt x="770" y="198"/>
                </a:lnTo>
                <a:lnTo>
                  <a:pt x="765" y="212"/>
                </a:lnTo>
                <a:lnTo>
                  <a:pt x="770" y="217"/>
                </a:lnTo>
                <a:lnTo>
                  <a:pt x="774" y="212"/>
                </a:lnTo>
                <a:lnTo>
                  <a:pt x="780" y="203"/>
                </a:lnTo>
                <a:lnTo>
                  <a:pt x="795" y="178"/>
                </a:lnTo>
                <a:lnTo>
                  <a:pt x="809" y="155"/>
                </a:lnTo>
                <a:lnTo>
                  <a:pt x="820" y="140"/>
                </a:lnTo>
                <a:lnTo>
                  <a:pt x="830" y="135"/>
                </a:lnTo>
                <a:lnTo>
                  <a:pt x="839" y="140"/>
                </a:lnTo>
                <a:lnTo>
                  <a:pt x="839" y="150"/>
                </a:lnTo>
                <a:lnTo>
                  <a:pt x="839" y="159"/>
                </a:lnTo>
                <a:lnTo>
                  <a:pt x="830" y="174"/>
                </a:lnTo>
                <a:lnTo>
                  <a:pt x="820" y="188"/>
                </a:lnTo>
                <a:lnTo>
                  <a:pt x="800" y="217"/>
                </a:lnTo>
                <a:lnTo>
                  <a:pt x="790" y="232"/>
                </a:lnTo>
                <a:lnTo>
                  <a:pt x="780" y="241"/>
                </a:lnTo>
                <a:lnTo>
                  <a:pt x="774" y="246"/>
                </a:lnTo>
                <a:lnTo>
                  <a:pt x="770" y="256"/>
                </a:lnTo>
                <a:lnTo>
                  <a:pt x="765" y="260"/>
                </a:lnTo>
                <a:lnTo>
                  <a:pt x="755" y="285"/>
                </a:lnTo>
                <a:lnTo>
                  <a:pt x="730" y="309"/>
                </a:lnTo>
                <a:lnTo>
                  <a:pt x="720" y="319"/>
                </a:lnTo>
                <a:lnTo>
                  <a:pt x="711" y="333"/>
                </a:lnTo>
                <a:lnTo>
                  <a:pt x="705" y="352"/>
                </a:lnTo>
                <a:lnTo>
                  <a:pt x="711" y="371"/>
                </a:lnTo>
                <a:lnTo>
                  <a:pt x="720" y="391"/>
                </a:lnTo>
                <a:lnTo>
                  <a:pt x="730" y="410"/>
                </a:lnTo>
                <a:lnTo>
                  <a:pt x="735" y="420"/>
                </a:lnTo>
                <a:lnTo>
                  <a:pt x="730" y="424"/>
                </a:lnTo>
                <a:lnTo>
                  <a:pt x="726" y="435"/>
                </a:lnTo>
                <a:lnTo>
                  <a:pt x="726" y="439"/>
                </a:lnTo>
                <a:lnTo>
                  <a:pt x="726" y="444"/>
                </a:lnTo>
                <a:lnTo>
                  <a:pt x="720" y="454"/>
                </a:lnTo>
                <a:lnTo>
                  <a:pt x="720" y="463"/>
                </a:lnTo>
                <a:lnTo>
                  <a:pt x="726" y="477"/>
                </a:lnTo>
                <a:lnTo>
                  <a:pt x="726" y="492"/>
                </a:lnTo>
                <a:lnTo>
                  <a:pt x="726" y="501"/>
                </a:lnTo>
                <a:lnTo>
                  <a:pt x="726" y="511"/>
                </a:lnTo>
                <a:lnTo>
                  <a:pt x="726" y="516"/>
                </a:lnTo>
                <a:lnTo>
                  <a:pt x="735" y="530"/>
                </a:lnTo>
                <a:lnTo>
                  <a:pt x="735" y="545"/>
                </a:lnTo>
                <a:lnTo>
                  <a:pt x="740" y="559"/>
                </a:lnTo>
                <a:lnTo>
                  <a:pt x="740" y="574"/>
                </a:lnTo>
                <a:lnTo>
                  <a:pt x="735" y="583"/>
                </a:lnTo>
                <a:lnTo>
                  <a:pt x="730" y="589"/>
                </a:lnTo>
                <a:lnTo>
                  <a:pt x="730" y="598"/>
                </a:lnTo>
                <a:lnTo>
                  <a:pt x="730" y="608"/>
                </a:lnTo>
                <a:lnTo>
                  <a:pt x="726" y="617"/>
                </a:lnTo>
                <a:lnTo>
                  <a:pt x="726" y="622"/>
                </a:lnTo>
                <a:lnTo>
                  <a:pt x="715" y="632"/>
                </a:lnTo>
                <a:lnTo>
                  <a:pt x="711" y="642"/>
                </a:lnTo>
                <a:lnTo>
                  <a:pt x="711" y="651"/>
                </a:lnTo>
                <a:lnTo>
                  <a:pt x="711" y="665"/>
                </a:lnTo>
                <a:lnTo>
                  <a:pt x="705" y="684"/>
                </a:lnTo>
                <a:lnTo>
                  <a:pt x="700" y="699"/>
                </a:lnTo>
                <a:lnTo>
                  <a:pt x="700" y="714"/>
                </a:lnTo>
                <a:lnTo>
                  <a:pt x="700" y="728"/>
                </a:lnTo>
                <a:lnTo>
                  <a:pt x="700" y="737"/>
                </a:lnTo>
                <a:lnTo>
                  <a:pt x="700" y="743"/>
                </a:lnTo>
                <a:lnTo>
                  <a:pt x="666" y="747"/>
                </a:lnTo>
                <a:lnTo>
                  <a:pt x="631" y="747"/>
                </a:lnTo>
                <a:lnTo>
                  <a:pt x="567" y="743"/>
                </a:lnTo>
                <a:lnTo>
                  <a:pt x="502" y="724"/>
                </a:lnTo>
                <a:lnTo>
                  <a:pt x="452" y="709"/>
                </a:lnTo>
                <a:lnTo>
                  <a:pt x="417" y="690"/>
                </a:lnTo>
                <a:lnTo>
                  <a:pt x="393" y="670"/>
                </a:lnTo>
                <a:lnTo>
                  <a:pt x="378" y="646"/>
                </a:lnTo>
                <a:lnTo>
                  <a:pt x="368" y="622"/>
                </a:lnTo>
                <a:lnTo>
                  <a:pt x="363" y="598"/>
                </a:lnTo>
                <a:lnTo>
                  <a:pt x="358" y="583"/>
                </a:lnTo>
                <a:lnTo>
                  <a:pt x="352" y="568"/>
                </a:lnTo>
                <a:lnTo>
                  <a:pt x="343" y="568"/>
                </a:lnTo>
                <a:lnTo>
                  <a:pt x="309" y="593"/>
                </a:lnTo>
                <a:lnTo>
                  <a:pt x="288" y="602"/>
                </a:lnTo>
                <a:lnTo>
                  <a:pt x="269" y="602"/>
                </a:lnTo>
                <a:lnTo>
                  <a:pt x="254" y="598"/>
                </a:lnTo>
                <a:lnTo>
                  <a:pt x="239" y="589"/>
                </a:lnTo>
                <a:lnTo>
                  <a:pt x="219" y="559"/>
                </a:lnTo>
                <a:lnTo>
                  <a:pt x="209" y="545"/>
                </a:lnTo>
                <a:lnTo>
                  <a:pt x="204" y="540"/>
                </a:lnTo>
                <a:lnTo>
                  <a:pt x="189" y="545"/>
                </a:lnTo>
                <a:lnTo>
                  <a:pt x="180" y="559"/>
                </a:lnTo>
                <a:lnTo>
                  <a:pt x="65" y="564"/>
                </a:lnTo>
                <a:lnTo>
                  <a:pt x="54" y="545"/>
                </a:lnTo>
                <a:lnTo>
                  <a:pt x="45" y="535"/>
                </a:lnTo>
                <a:lnTo>
                  <a:pt x="30" y="526"/>
                </a:lnTo>
                <a:lnTo>
                  <a:pt x="20" y="521"/>
                </a:lnTo>
                <a:lnTo>
                  <a:pt x="15" y="516"/>
                </a:lnTo>
                <a:lnTo>
                  <a:pt x="6" y="501"/>
                </a:lnTo>
                <a:lnTo>
                  <a:pt x="0" y="482"/>
                </a:lnTo>
                <a:lnTo>
                  <a:pt x="6" y="482"/>
                </a:lnTo>
                <a:lnTo>
                  <a:pt x="20" y="482"/>
                </a:lnTo>
                <a:lnTo>
                  <a:pt x="40" y="482"/>
                </a:lnTo>
                <a:lnTo>
                  <a:pt x="54" y="482"/>
                </a:lnTo>
                <a:lnTo>
                  <a:pt x="70" y="482"/>
                </a:lnTo>
                <a:lnTo>
                  <a:pt x="85" y="477"/>
                </a:lnTo>
                <a:lnTo>
                  <a:pt x="99" y="473"/>
                </a:lnTo>
                <a:lnTo>
                  <a:pt x="104" y="473"/>
                </a:lnTo>
                <a:lnTo>
                  <a:pt x="110" y="473"/>
                </a:lnTo>
                <a:lnTo>
                  <a:pt x="119" y="463"/>
                </a:lnTo>
                <a:lnTo>
                  <a:pt x="130" y="454"/>
                </a:lnTo>
                <a:lnTo>
                  <a:pt x="139" y="444"/>
                </a:lnTo>
                <a:lnTo>
                  <a:pt x="149" y="435"/>
                </a:lnTo>
                <a:lnTo>
                  <a:pt x="165" y="429"/>
                </a:lnTo>
                <a:lnTo>
                  <a:pt x="184" y="424"/>
                </a:lnTo>
                <a:lnTo>
                  <a:pt x="199" y="424"/>
                </a:lnTo>
                <a:lnTo>
                  <a:pt x="234" y="420"/>
                </a:lnTo>
                <a:lnTo>
                  <a:pt x="243" y="414"/>
                </a:lnTo>
                <a:lnTo>
                  <a:pt x="248" y="414"/>
                </a:lnTo>
                <a:lnTo>
                  <a:pt x="274" y="395"/>
                </a:lnTo>
                <a:lnTo>
                  <a:pt x="278" y="395"/>
                </a:lnTo>
                <a:lnTo>
                  <a:pt x="298" y="395"/>
                </a:lnTo>
                <a:lnTo>
                  <a:pt x="313" y="391"/>
                </a:lnTo>
                <a:lnTo>
                  <a:pt x="333" y="391"/>
                </a:lnTo>
                <a:lnTo>
                  <a:pt x="348" y="386"/>
                </a:lnTo>
                <a:lnTo>
                  <a:pt x="358" y="376"/>
                </a:lnTo>
                <a:lnTo>
                  <a:pt x="363" y="367"/>
                </a:lnTo>
                <a:lnTo>
                  <a:pt x="363" y="362"/>
                </a:lnTo>
                <a:lnTo>
                  <a:pt x="368" y="362"/>
                </a:lnTo>
                <a:lnTo>
                  <a:pt x="378" y="352"/>
                </a:lnTo>
                <a:lnTo>
                  <a:pt x="387" y="342"/>
                </a:lnTo>
                <a:lnTo>
                  <a:pt x="387" y="328"/>
                </a:lnTo>
                <a:lnTo>
                  <a:pt x="387" y="319"/>
                </a:lnTo>
                <a:lnTo>
                  <a:pt x="383" y="313"/>
                </a:lnTo>
                <a:lnTo>
                  <a:pt x="387" y="309"/>
                </a:lnTo>
                <a:lnTo>
                  <a:pt x="393" y="300"/>
                </a:lnTo>
                <a:lnTo>
                  <a:pt x="413" y="270"/>
                </a:lnTo>
                <a:lnTo>
                  <a:pt x="422" y="260"/>
                </a:lnTo>
                <a:lnTo>
                  <a:pt x="432" y="251"/>
                </a:lnTo>
                <a:lnTo>
                  <a:pt x="432" y="236"/>
                </a:lnTo>
                <a:lnTo>
                  <a:pt x="422" y="217"/>
                </a:lnTo>
                <a:lnTo>
                  <a:pt x="413" y="207"/>
                </a:lnTo>
                <a:lnTo>
                  <a:pt x="408" y="203"/>
                </a:lnTo>
                <a:lnTo>
                  <a:pt x="393" y="198"/>
                </a:lnTo>
                <a:lnTo>
                  <a:pt x="387" y="203"/>
                </a:lnTo>
                <a:lnTo>
                  <a:pt x="383" y="203"/>
                </a:lnTo>
                <a:lnTo>
                  <a:pt x="378" y="198"/>
                </a:lnTo>
                <a:lnTo>
                  <a:pt x="373" y="193"/>
                </a:lnTo>
                <a:lnTo>
                  <a:pt x="373" y="178"/>
                </a:lnTo>
                <a:lnTo>
                  <a:pt x="378" y="165"/>
                </a:lnTo>
                <a:lnTo>
                  <a:pt x="387" y="150"/>
                </a:lnTo>
                <a:lnTo>
                  <a:pt x="387" y="135"/>
                </a:lnTo>
                <a:lnTo>
                  <a:pt x="383" y="116"/>
                </a:lnTo>
                <a:lnTo>
                  <a:pt x="378" y="106"/>
                </a:lnTo>
                <a:lnTo>
                  <a:pt x="352" y="91"/>
                </a:lnTo>
                <a:lnTo>
                  <a:pt x="343" y="87"/>
                </a:lnTo>
                <a:lnTo>
                  <a:pt x="333" y="82"/>
                </a:lnTo>
                <a:lnTo>
                  <a:pt x="313" y="78"/>
                </a:lnTo>
                <a:lnTo>
                  <a:pt x="309" y="68"/>
                </a:lnTo>
                <a:lnTo>
                  <a:pt x="304" y="53"/>
                </a:lnTo>
                <a:lnTo>
                  <a:pt x="304" y="24"/>
                </a:lnTo>
                <a:lnTo>
                  <a:pt x="313" y="15"/>
                </a:lnTo>
                <a:lnTo>
                  <a:pt x="323" y="10"/>
                </a:lnTo>
                <a:lnTo>
                  <a:pt x="338" y="15"/>
                </a:lnTo>
                <a:lnTo>
                  <a:pt x="358" y="24"/>
                </a:lnTo>
                <a:lnTo>
                  <a:pt x="378" y="30"/>
                </a:lnTo>
                <a:lnTo>
                  <a:pt x="387" y="24"/>
                </a:lnTo>
                <a:lnTo>
                  <a:pt x="393" y="15"/>
                </a:lnTo>
                <a:lnTo>
                  <a:pt x="398" y="5"/>
                </a:lnTo>
                <a:lnTo>
                  <a:pt x="402" y="0"/>
                </a:lnTo>
                <a:lnTo>
                  <a:pt x="417" y="0"/>
                </a:lnTo>
                <a:lnTo>
                  <a:pt x="437" y="0"/>
                </a:lnTo>
                <a:lnTo>
                  <a:pt x="457" y="5"/>
                </a:lnTo>
                <a:lnTo>
                  <a:pt x="477" y="15"/>
                </a:lnTo>
                <a:lnTo>
                  <a:pt x="498" y="24"/>
                </a:lnTo>
                <a:lnTo>
                  <a:pt x="502" y="30"/>
                </a:lnTo>
                <a:lnTo>
                  <a:pt x="502" y="39"/>
                </a:lnTo>
                <a:lnTo>
                  <a:pt x="498" y="49"/>
                </a:lnTo>
                <a:lnTo>
                  <a:pt x="498" y="63"/>
                </a:lnTo>
                <a:lnTo>
                  <a:pt x="498" y="72"/>
                </a:lnTo>
                <a:lnTo>
                  <a:pt x="502" y="72"/>
                </a:lnTo>
                <a:lnTo>
                  <a:pt x="526" y="72"/>
                </a:lnTo>
                <a:lnTo>
                  <a:pt x="537" y="68"/>
                </a:lnTo>
                <a:lnTo>
                  <a:pt x="541" y="68"/>
                </a:lnTo>
                <a:lnTo>
                  <a:pt x="546" y="68"/>
                </a:lnTo>
                <a:lnTo>
                  <a:pt x="557" y="72"/>
                </a:lnTo>
                <a:lnTo>
                  <a:pt x="572" y="82"/>
                </a:lnTo>
                <a:lnTo>
                  <a:pt x="581" y="91"/>
                </a:lnTo>
                <a:lnTo>
                  <a:pt x="591" y="101"/>
                </a:lnTo>
                <a:lnTo>
                  <a:pt x="606" y="112"/>
                </a:lnTo>
                <a:lnTo>
                  <a:pt x="616" y="112"/>
                </a:lnTo>
                <a:lnTo>
                  <a:pt x="621" y="112"/>
                </a:lnTo>
                <a:lnTo>
                  <a:pt x="626" y="112"/>
                </a:lnTo>
                <a:lnTo>
                  <a:pt x="641" y="101"/>
                </a:lnTo>
                <a:lnTo>
                  <a:pt x="661" y="97"/>
                </a:lnTo>
                <a:lnTo>
                  <a:pt x="676" y="87"/>
                </a:lnTo>
                <a:lnTo>
                  <a:pt x="700" y="82"/>
                </a:lnTo>
                <a:lnTo>
                  <a:pt x="711" y="78"/>
                </a:lnTo>
                <a:lnTo>
                  <a:pt x="715" y="78"/>
                </a:lnTo>
                <a:lnTo>
                  <a:pt x="720" y="78"/>
                </a:lnTo>
                <a:lnTo>
                  <a:pt x="726" y="72"/>
                </a:lnTo>
                <a:lnTo>
                  <a:pt x="746" y="63"/>
                </a:lnTo>
                <a:lnTo>
                  <a:pt x="770" y="58"/>
                </a:lnTo>
                <a:lnTo>
                  <a:pt x="774" y="58"/>
                </a:lnTo>
                <a:lnTo>
                  <a:pt x="780" y="58"/>
                </a:lnTo>
                <a:close/>
              </a:path>
            </a:pathLst>
          </a:custGeom>
          <a:solidFill>
            <a:srgbClr val="005027"/>
          </a:solidFill>
          <a:ln w="9525">
            <a:solidFill>
              <a:schemeClr val="bg1"/>
            </a:solidFill>
            <a:round/>
            <a:headEnd/>
            <a:tailEnd/>
          </a:ln>
        </p:spPr>
        <p:txBody>
          <a:bodyPr/>
          <a:lstStyle/>
          <a:p>
            <a:endParaRPr lang="ro-RO"/>
          </a:p>
        </p:txBody>
      </p:sp>
      <p:sp>
        <p:nvSpPr>
          <p:cNvPr id="12307" name="Freeform 16"/>
          <p:cNvSpPr>
            <a:spLocks/>
          </p:cNvSpPr>
          <p:nvPr/>
        </p:nvSpPr>
        <p:spPr bwMode="auto">
          <a:xfrm>
            <a:off x="5500688" y="3778250"/>
            <a:ext cx="1143000" cy="836613"/>
          </a:xfrm>
          <a:custGeom>
            <a:avLst/>
            <a:gdLst>
              <a:gd name="T0" fmla="*/ 2147483647 w 889"/>
              <a:gd name="T1" fmla="*/ 2147483647 h 605"/>
              <a:gd name="T2" fmla="*/ 2147483647 w 889"/>
              <a:gd name="T3" fmla="*/ 2147483647 h 605"/>
              <a:gd name="T4" fmla="*/ 2147483647 w 889"/>
              <a:gd name="T5" fmla="*/ 2147483647 h 605"/>
              <a:gd name="T6" fmla="*/ 2147483647 w 889"/>
              <a:gd name="T7" fmla="*/ 2147483647 h 605"/>
              <a:gd name="T8" fmla="*/ 2147483647 w 889"/>
              <a:gd name="T9" fmla="*/ 2147483647 h 605"/>
              <a:gd name="T10" fmla="*/ 2147483647 w 889"/>
              <a:gd name="T11" fmla="*/ 2147483647 h 605"/>
              <a:gd name="T12" fmla="*/ 2147483647 w 889"/>
              <a:gd name="T13" fmla="*/ 2147483647 h 605"/>
              <a:gd name="T14" fmla="*/ 2147483647 w 889"/>
              <a:gd name="T15" fmla="*/ 2147483647 h 605"/>
              <a:gd name="T16" fmla="*/ 2147483647 w 889"/>
              <a:gd name="T17" fmla="*/ 2147483647 h 605"/>
              <a:gd name="T18" fmla="*/ 2147483647 w 889"/>
              <a:gd name="T19" fmla="*/ 2147483647 h 605"/>
              <a:gd name="T20" fmla="*/ 2147483647 w 889"/>
              <a:gd name="T21" fmla="*/ 2147483647 h 605"/>
              <a:gd name="T22" fmla="*/ 2147483647 w 889"/>
              <a:gd name="T23" fmla="*/ 2147483647 h 605"/>
              <a:gd name="T24" fmla="*/ 0 w 889"/>
              <a:gd name="T25" fmla="*/ 2147483647 h 605"/>
              <a:gd name="T26" fmla="*/ 2147483647 w 889"/>
              <a:gd name="T27" fmla="*/ 2147483647 h 605"/>
              <a:gd name="T28" fmla="*/ 2147483647 w 889"/>
              <a:gd name="T29" fmla="*/ 2147483647 h 605"/>
              <a:gd name="T30" fmla="*/ 2147483647 w 889"/>
              <a:gd name="T31" fmla="*/ 2147483647 h 605"/>
              <a:gd name="T32" fmla="*/ 2147483647 w 889"/>
              <a:gd name="T33" fmla="*/ 2147483647 h 605"/>
              <a:gd name="T34" fmla="*/ 2147483647 w 889"/>
              <a:gd name="T35" fmla="*/ 2147483647 h 605"/>
              <a:gd name="T36" fmla="*/ 2147483647 w 889"/>
              <a:gd name="T37" fmla="*/ 2147483647 h 605"/>
              <a:gd name="T38" fmla="*/ 2147483647 w 889"/>
              <a:gd name="T39" fmla="*/ 2147483647 h 605"/>
              <a:gd name="T40" fmla="*/ 2147483647 w 889"/>
              <a:gd name="T41" fmla="*/ 2147483647 h 605"/>
              <a:gd name="T42" fmla="*/ 2147483647 w 889"/>
              <a:gd name="T43" fmla="*/ 2147483647 h 605"/>
              <a:gd name="T44" fmla="*/ 2147483647 w 889"/>
              <a:gd name="T45" fmla="*/ 2147483647 h 605"/>
              <a:gd name="T46" fmla="*/ 2147483647 w 889"/>
              <a:gd name="T47" fmla="*/ 2147483647 h 605"/>
              <a:gd name="T48" fmla="*/ 2147483647 w 889"/>
              <a:gd name="T49" fmla="*/ 2147483647 h 605"/>
              <a:gd name="T50" fmla="*/ 2147483647 w 889"/>
              <a:gd name="T51" fmla="*/ 0 h 605"/>
              <a:gd name="T52" fmla="*/ 2147483647 w 889"/>
              <a:gd name="T53" fmla="*/ 2147483647 h 605"/>
              <a:gd name="T54" fmla="*/ 2147483647 w 889"/>
              <a:gd name="T55" fmla="*/ 2147483647 h 605"/>
              <a:gd name="T56" fmla="*/ 2147483647 w 889"/>
              <a:gd name="T57" fmla="*/ 2147483647 h 605"/>
              <a:gd name="T58" fmla="*/ 2147483647 w 889"/>
              <a:gd name="T59" fmla="*/ 2147483647 h 605"/>
              <a:gd name="T60" fmla="*/ 2147483647 w 889"/>
              <a:gd name="T61" fmla="*/ 2147483647 h 605"/>
              <a:gd name="T62" fmla="*/ 2147483647 w 889"/>
              <a:gd name="T63" fmla="*/ 2147483647 h 605"/>
              <a:gd name="T64" fmla="*/ 2147483647 w 889"/>
              <a:gd name="T65" fmla="*/ 2147483647 h 605"/>
              <a:gd name="T66" fmla="*/ 2147483647 w 889"/>
              <a:gd name="T67" fmla="*/ 2147483647 h 605"/>
              <a:gd name="T68" fmla="*/ 2147483647 w 889"/>
              <a:gd name="T69" fmla="*/ 2147483647 h 605"/>
              <a:gd name="T70" fmla="*/ 2147483647 w 889"/>
              <a:gd name="T71" fmla="*/ 2147483647 h 605"/>
              <a:gd name="T72" fmla="*/ 2147483647 w 889"/>
              <a:gd name="T73" fmla="*/ 2147483647 h 605"/>
              <a:gd name="T74" fmla="*/ 2147483647 w 889"/>
              <a:gd name="T75" fmla="*/ 2147483647 h 605"/>
              <a:gd name="T76" fmla="*/ 2147483647 w 889"/>
              <a:gd name="T77" fmla="*/ 2147483647 h 605"/>
              <a:gd name="T78" fmla="*/ 2147483647 w 889"/>
              <a:gd name="T79" fmla="*/ 2147483647 h 605"/>
              <a:gd name="T80" fmla="*/ 2147483647 w 889"/>
              <a:gd name="T81" fmla="*/ 2147483647 h 605"/>
              <a:gd name="T82" fmla="*/ 2147483647 w 889"/>
              <a:gd name="T83" fmla="*/ 2147483647 h 605"/>
              <a:gd name="T84" fmla="*/ 2147483647 w 889"/>
              <a:gd name="T85" fmla="*/ 2147483647 h 605"/>
              <a:gd name="T86" fmla="*/ 2147483647 w 889"/>
              <a:gd name="T87" fmla="*/ 2147483647 h 605"/>
              <a:gd name="T88" fmla="*/ 2147483647 w 889"/>
              <a:gd name="T89" fmla="*/ 2147483647 h 605"/>
              <a:gd name="T90" fmla="*/ 2147483647 w 889"/>
              <a:gd name="T91" fmla="*/ 2147483647 h 605"/>
              <a:gd name="T92" fmla="*/ 2147483647 w 889"/>
              <a:gd name="T93" fmla="*/ 2147483647 h 605"/>
              <a:gd name="T94" fmla="*/ 2147483647 w 889"/>
              <a:gd name="T95" fmla="*/ 2147483647 h 605"/>
              <a:gd name="T96" fmla="*/ 2147483647 w 889"/>
              <a:gd name="T97" fmla="*/ 2147483647 h 605"/>
              <a:gd name="T98" fmla="*/ 2147483647 w 889"/>
              <a:gd name="T99" fmla="*/ 2147483647 h 605"/>
              <a:gd name="T100" fmla="*/ 2147483647 w 889"/>
              <a:gd name="T101" fmla="*/ 2147483647 h 605"/>
              <a:gd name="T102" fmla="*/ 2147483647 w 889"/>
              <a:gd name="T103" fmla="*/ 2147483647 h 605"/>
              <a:gd name="T104" fmla="*/ 2147483647 w 889"/>
              <a:gd name="T105" fmla="*/ 2147483647 h 605"/>
              <a:gd name="T106" fmla="*/ 2147483647 w 889"/>
              <a:gd name="T107" fmla="*/ 2147483647 h 605"/>
              <a:gd name="T108" fmla="*/ 2147483647 w 889"/>
              <a:gd name="T109" fmla="*/ 2147483647 h 605"/>
              <a:gd name="T110" fmla="*/ 2147483647 w 889"/>
              <a:gd name="T111" fmla="*/ 2147483647 h 605"/>
              <a:gd name="T112" fmla="*/ 2147483647 w 889"/>
              <a:gd name="T113" fmla="*/ 2147483647 h 60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9"/>
              <a:gd name="T172" fmla="*/ 0 h 605"/>
              <a:gd name="T173" fmla="*/ 889 w 889"/>
              <a:gd name="T174" fmla="*/ 605 h 60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9" h="605">
                <a:moveTo>
                  <a:pt x="368" y="572"/>
                </a:moveTo>
                <a:lnTo>
                  <a:pt x="363" y="572"/>
                </a:lnTo>
                <a:lnTo>
                  <a:pt x="353" y="576"/>
                </a:lnTo>
                <a:lnTo>
                  <a:pt x="328" y="580"/>
                </a:lnTo>
                <a:lnTo>
                  <a:pt x="313" y="591"/>
                </a:lnTo>
                <a:lnTo>
                  <a:pt x="293" y="595"/>
                </a:lnTo>
                <a:lnTo>
                  <a:pt x="279" y="605"/>
                </a:lnTo>
                <a:lnTo>
                  <a:pt x="274" y="605"/>
                </a:lnTo>
                <a:lnTo>
                  <a:pt x="268" y="605"/>
                </a:lnTo>
                <a:lnTo>
                  <a:pt x="259" y="605"/>
                </a:lnTo>
                <a:lnTo>
                  <a:pt x="244" y="595"/>
                </a:lnTo>
                <a:lnTo>
                  <a:pt x="233" y="585"/>
                </a:lnTo>
                <a:lnTo>
                  <a:pt x="224" y="576"/>
                </a:lnTo>
                <a:lnTo>
                  <a:pt x="209" y="566"/>
                </a:lnTo>
                <a:lnTo>
                  <a:pt x="198" y="561"/>
                </a:lnTo>
                <a:lnTo>
                  <a:pt x="194" y="561"/>
                </a:lnTo>
                <a:lnTo>
                  <a:pt x="189" y="561"/>
                </a:lnTo>
                <a:lnTo>
                  <a:pt x="179" y="566"/>
                </a:lnTo>
                <a:lnTo>
                  <a:pt x="154" y="566"/>
                </a:lnTo>
                <a:lnTo>
                  <a:pt x="150" y="566"/>
                </a:lnTo>
                <a:lnTo>
                  <a:pt x="150" y="557"/>
                </a:lnTo>
                <a:lnTo>
                  <a:pt x="150" y="542"/>
                </a:lnTo>
                <a:lnTo>
                  <a:pt x="154" y="532"/>
                </a:lnTo>
                <a:lnTo>
                  <a:pt x="154" y="523"/>
                </a:lnTo>
                <a:lnTo>
                  <a:pt x="150" y="517"/>
                </a:lnTo>
                <a:lnTo>
                  <a:pt x="129" y="508"/>
                </a:lnTo>
                <a:lnTo>
                  <a:pt x="109" y="498"/>
                </a:lnTo>
                <a:lnTo>
                  <a:pt x="90" y="494"/>
                </a:lnTo>
                <a:lnTo>
                  <a:pt x="70" y="494"/>
                </a:lnTo>
                <a:lnTo>
                  <a:pt x="65" y="494"/>
                </a:lnTo>
                <a:lnTo>
                  <a:pt x="55" y="494"/>
                </a:lnTo>
                <a:lnTo>
                  <a:pt x="55" y="489"/>
                </a:lnTo>
                <a:lnTo>
                  <a:pt x="55" y="470"/>
                </a:lnTo>
                <a:lnTo>
                  <a:pt x="55" y="455"/>
                </a:lnTo>
                <a:lnTo>
                  <a:pt x="65" y="441"/>
                </a:lnTo>
                <a:lnTo>
                  <a:pt x="80" y="426"/>
                </a:lnTo>
                <a:lnTo>
                  <a:pt x="80" y="416"/>
                </a:lnTo>
                <a:lnTo>
                  <a:pt x="74" y="411"/>
                </a:lnTo>
                <a:lnTo>
                  <a:pt x="74" y="402"/>
                </a:lnTo>
                <a:lnTo>
                  <a:pt x="80" y="388"/>
                </a:lnTo>
                <a:lnTo>
                  <a:pt x="85" y="373"/>
                </a:lnTo>
                <a:lnTo>
                  <a:pt x="85" y="368"/>
                </a:lnTo>
                <a:lnTo>
                  <a:pt x="85" y="339"/>
                </a:lnTo>
                <a:lnTo>
                  <a:pt x="90" y="315"/>
                </a:lnTo>
                <a:lnTo>
                  <a:pt x="74" y="286"/>
                </a:lnTo>
                <a:lnTo>
                  <a:pt x="94" y="261"/>
                </a:lnTo>
                <a:lnTo>
                  <a:pt x="90" y="227"/>
                </a:lnTo>
                <a:lnTo>
                  <a:pt x="85" y="227"/>
                </a:lnTo>
                <a:lnTo>
                  <a:pt x="80" y="227"/>
                </a:lnTo>
                <a:lnTo>
                  <a:pt x="70" y="223"/>
                </a:lnTo>
                <a:lnTo>
                  <a:pt x="65" y="214"/>
                </a:lnTo>
                <a:lnTo>
                  <a:pt x="65" y="199"/>
                </a:lnTo>
                <a:lnTo>
                  <a:pt x="65" y="194"/>
                </a:lnTo>
                <a:lnTo>
                  <a:pt x="65" y="189"/>
                </a:lnTo>
                <a:lnTo>
                  <a:pt x="70" y="184"/>
                </a:lnTo>
                <a:lnTo>
                  <a:pt x="74" y="180"/>
                </a:lnTo>
                <a:lnTo>
                  <a:pt x="74" y="170"/>
                </a:lnTo>
                <a:lnTo>
                  <a:pt x="65" y="165"/>
                </a:lnTo>
                <a:lnTo>
                  <a:pt x="55" y="160"/>
                </a:lnTo>
                <a:lnTo>
                  <a:pt x="30" y="155"/>
                </a:lnTo>
                <a:lnTo>
                  <a:pt x="20" y="155"/>
                </a:lnTo>
                <a:lnTo>
                  <a:pt x="15" y="151"/>
                </a:lnTo>
                <a:lnTo>
                  <a:pt x="10" y="151"/>
                </a:lnTo>
                <a:lnTo>
                  <a:pt x="5" y="146"/>
                </a:lnTo>
                <a:lnTo>
                  <a:pt x="0" y="136"/>
                </a:lnTo>
                <a:lnTo>
                  <a:pt x="0" y="112"/>
                </a:lnTo>
                <a:lnTo>
                  <a:pt x="10" y="87"/>
                </a:lnTo>
                <a:lnTo>
                  <a:pt x="15" y="73"/>
                </a:lnTo>
                <a:lnTo>
                  <a:pt x="20" y="64"/>
                </a:lnTo>
                <a:lnTo>
                  <a:pt x="20" y="59"/>
                </a:lnTo>
                <a:lnTo>
                  <a:pt x="26" y="49"/>
                </a:lnTo>
                <a:lnTo>
                  <a:pt x="35" y="39"/>
                </a:lnTo>
                <a:lnTo>
                  <a:pt x="55" y="39"/>
                </a:lnTo>
                <a:lnTo>
                  <a:pt x="85" y="45"/>
                </a:lnTo>
                <a:lnTo>
                  <a:pt x="94" y="49"/>
                </a:lnTo>
                <a:lnTo>
                  <a:pt x="100" y="49"/>
                </a:lnTo>
                <a:lnTo>
                  <a:pt x="115" y="11"/>
                </a:lnTo>
                <a:lnTo>
                  <a:pt x="135" y="20"/>
                </a:lnTo>
                <a:lnTo>
                  <a:pt x="159" y="30"/>
                </a:lnTo>
                <a:lnTo>
                  <a:pt x="164" y="34"/>
                </a:lnTo>
                <a:lnTo>
                  <a:pt x="164" y="39"/>
                </a:lnTo>
                <a:lnTo>
                  <a:pt x="159" y="53"/>
                </a:lnTo>
                <a:lnTo>
                  <a:pt x="159" y="73"/>
                </a:lnTo>
                <a:lnTo>
                  <a:pt x="159" y="83"/>
                </a:lnTo>
                <a:lnTo>
                  <a:pt x="169" y="93"/>
                </a:lnTo>
                <a:lnTo>
                  <a:pt x="204" y="121"/>
                </a:lnTo>
                <a:lnTo>
                  <a:pt x="239" y="136"/>
                </a:lnTo>
                <a:lnTo>
                  <a:pt x="274" y="146"/>
                </a:lnTo>
                <a:lnTo>
                  <a:pt x="303" y="155"/>
                </a:lnTo>
                <a:lnTo>
                  <a:pt x="313" y="155"/>
                </a:lnTo>
                <a:lnTo>
                  <a:pt x="328" y="160"/>
                </a:lnTo>
                <a:lnTo>
                  <a:pt x="353" y="165"/>
                </a:lnTo>
                <a:lnTo>
                  <a:pt x="372" y="174"/>
                </a:lnTo>
                <a:lnTo>
                  <a:pt x="413" y="170"/>
                </a:lnTo>
                <a:lnTo>
                  <a:pt x="422" y="165"/>
                </a:lnTo>
                <a:lnTo>
                  <a:pt x="433" y="160"/>
                </a:lnTo>
                <a:lnTo>
                  <a:pt x="422" y="155"/>
                </a:lnTo>
                <a:lnTo>
                  <a:pt x="413" y="155"/>
                </a:lnTo>
                <a:lnTo>
                  <a:pt x="402" y="151"/>
                </a:lnTo>
                <a:lnTo>
                  <a:pt x="402" y="140"/>
                </a:lnTo>
                <a:lnTo>
                  <a:pt x="418" y="136"/>
                </a:lnTo>
                <a:lnTo>
                  <a:pt x="427" y="126"/>
                </a:lnTo>
                <a:lnTo>
                  <a:pt x="427" y="121"/>
                </a:lnTo>
                <a:lnTo>
                  <a:pt x="422" y="112"/>
                </a:lnTo>
                <a:lnTo>
                  <a:pt x="413" y="98"/>
                </a:lnTo>
                <a:lnTo>
                  <a:pt x="413" y="93"/>
                </a:lnTo>
                <a:lnTo>
                  <a:pt x="418" y="83"/>
                </a:lnTo>
                <a:lnTo>
                  <a:pt x="442" y="98"/>
                </a:lnTo>
                <a:lnTo>
                  <a:pt x="457" y="117"/>
                </a:lnTo>
                <a:lnTo>
                  <a:pt x="477" y="132"/>
                </a:lnTo>
                <a:lnTo>
                  <a:pt x="487" y="136"/>
                </a:lnTo>
                <a:lnTo>
                  <a:pt x="502" y="132"/>
                </a:lnTo>
                <a:lnTo>
                  <a:pt x="507" y="121"/>
                </a:lnTo>
                <a:lnTo>
                  <a:pt x="522" y="106"/>
                </a:lnTo>
                <a:lnTo>
                  <a:pt x="542" y="93"/>
                </a:lnTo>
                <a:lnTo>
                  <a:pt x="561" y="79"/>
                </a:lnTo>
                <a:lnTo>
                  <a:pt x="581" y="64"/>
                </a:lnTo>
                <a:lnTo>
                  <a:pt x="601" y="49"/>
                </a:lnTo>
                <a:lnTo>
                  <a:pt x="616" y="45"/>
                </a:lnTo>
                <a:lnTo>
                  <a:pt x="621" y="39"/>
                </a:lnTo>
                <a:lnTo>
                  <a:pt x="626" y="25"/>
                </a:lnTo>
                <a:lnTo>
                  <a:pt x="631" y="20"/>
                </a:lnTo>
                <a:lnTo>
                  <a:pt x="641" y="15"/>
                </a:lnTo>
                <a:lnTo>
                  <a:pt x="655" y="11"/>
                </a:lnTo>
                <a:lnTo>
                  <a:pt x="666" y="25"/>
                </a:lnTo>
                <a:lnTo>
                  <a:pt x="670" y="30"/>
                </a:lnTo>
                <a:lnTo>
                  <a:pt x="676" y="25"/>
                </a:lnTo>
                <a:lnTo>
                  <a:pt x="681" y="15"/>
                </a:lnTo>
                <a:lnTo>
                  <a:pt x="685" y="5"/>
                </a:lnTo>
                <a:lnTo>
                  <a:pt x="690" y="0"/>
                </a:lnTo>
                <a:lnTo>
                  <a:pt x="696" y="0"/>
                </a:lnTo>
                <a:lnTo>
                  <a:pt x="705" y="15"/>
                </a:lnTo>
                <a:lnTo>
                  <a:pt x="711" y="20"/>
                </a:lnTo>
                <a:lnTo>
                  <a:pt x="716" y="20"/>
                </a:lnTo>
                <a:lnTo>
                  <a:pt x="720" y="15"/>
                </a:lnTo>
                <a:lnTo>
                  <a:pt x="735" y="11"/>
                </a:lnTo>
                <a:lnTo>
                  <a:pt x="740" y="11"/>
                </a:lnTo>
                <a:lnTo>
                  <a:pt x="750" y="15"/>
                </a:lnTo>
                <a:lnTo>
                  <a:pt x="755" y="15"/>
                </a:lnTo>
                <a:lnTo>
                  <a:pt x="775" y="20"/>
                </a:lnTo>
                <a:lnTo>
                  <a:pt x="794" y="25"/>
                </a:lnTo>
                <a:lnTo>
                  <a:pt x="820" y="34"/>
                </a:lnTo>
                <a:lnTo>
                  <a:pt x="839" y="49"/>
                </a:lnTo>
                <a:lnTo>
                  <a:pt x="859" y="68"/>
                </a:lnTo>
                <a:lnTo>
                  <a:pt x="870" y="98"/>
                </a:lnTo>
                <a:lnTo>
                  <a:pt x="870" y="140"/>
                </a:lnTo>
                <a:lnTo>
                  <a:pt x="870" y="155"/>
                </a:lnTo>
                <a:lnTo>
                  <a:pt x="864" y="155"/>
                </a:lnTo>
                <a:lnTo>
                  <a:pt x="859" y="160"/>
                </a:lnTo>
                <a:lnTo>
                  <a:pt x="855" y="165"/>
                </a:lnTo>
                <a:lnTo>
                  <a:pt x="855" y="174"/>
                </a:lnTo>
                <a:lnTo>
                  <a:pt x="859" y="184"/>
                </a:lnTo>
                <a:lnTo>
                  <a:pt x="859" y="189"/>
                </a:lnTo>
                <a:lnTo>
                  <a:pt x="864" y="194"/>
                </a:lnTo>
                <a:lnTo>
                  <a:pt x="870" y="194"/>
                </a:lnTo>
                <a:lnTo>
                  <a:pt x="884" y="194"/>
                </a:lnTo>
                <a:lnTo>
                  <a:pt x="889" y="194"/>
                </a:lnTo>
                <a:lnTo>
                  <a:pt x="884" y="204"/>
                </a:lnTo>
                <a:lnTo>
                  <a:pt x="874" y="214"/>
                </a:lnTo>
                <a:lnTo>
                  <a:pt x="870" y="233"/>
                </a:lnTo>
                <a:lnTo>
                  <a:pt x="870" y="248"/>
                </a:lnTo>
                <a:lnTo>
                  <a:pt x="870" y="261"/>
                </a:lnTo>
                <a:lnTo>
                  <a:pt x="874" y="276"/>
                </a:lnTo>
                <a:lnTo>
                  <a:pt x="874" y="295"/>
                </a:lnTo>
                <a:lnTo>
                  <a:pt x="870" y="320"/>
                </a:lnTo>
                <a:lnTo>
                  <a:pt x="864" y="339"/>
                </a:lnTo>
                <a:lnTo>
                  <a:pt x="859" y="354"/>
                </a:lnTo>
                <a:lnTo>
                  <a:pt x="855" y="368"/>
                </a:lnTo>
                <a:lnTo>
                  <a:pt x="859" y="388"/>
                </a:lnTo>
                <a:lnTo>
                  <a:pt x="855" y="392"/>
                </a:lnTo>
                <a:lnTo>
                  <a:pt x="855" y="396"/>
                </a:lnTo>
                <a:lnTo>
                  <a:pt x="855" y="407"/>
                </a:lnTo>
                <a:lnTo>
                  <a:pt x="859" y="416"/>
                </a:lnTo>
                <a:lnTo>
                  <a:pt x="859" y="426"/>
                </a:lnTo>
                <a:lnTo>
                  <a:pt x="849" y="430"/>
                </a:lnTo>
                <a:lnTo>
                  <a:pt x="839" y="430"/>
                </a:lnTo>
                <a:lnTo>
                  <a:pt x="839" y="436"/>
                </a:lnTo>
                <a:lnTo>
                  <a:pt x="835" y="441"/>
                </a:lnTo>
                <a:lnTo>
                  <a:pt x="829" y="445"/>
                </a:lnTo>
                <a:lnTo>
                  <a:pt x="825" y="450"/>
                </a:lnTo>
                <a:lnTo>
                  <a:pt x="814" y="450"/>
                </a:lnTo>
                <a:lnTo>
                  <a:pt x="800" y="450"/>
                </a:lnTo>
                <a:lnTo>
                  <a:pt x="770" y="455"/>
                </a:lnTo>
                <a:lnTo>
                  <a:pt x="755" y="460"/>
                </a:lnTo>
                <a:lnTo>
                  <a:pt x="746" y="464"/>
                </a:lnTo>
                <a:lnTo>
                  <a:pt x="731" y="464"/>
                </a:lnTo>
                <a:lnTo>
                  <a:pt x="700" y="464"/>
                </a:lnTo>
                <a:lnTo>
                  <a:pt x="670" y="464"/>
                </a:lnTo>
                <a:lnTo>
                  <a:pt x="641" y="470"/>
                </a:lnTo>
                <a:lnTo>
                  <a:pt x="616" y="484"/>
                </a:lnTo>
                <a:lnTo>
                  <a:pt x="607" y="489"/>
                </a:lnTo>
                <a:lnTo>
                  <a:pt x="601" y="494"/>
                </a:lnTo>
                <a:lnTo>
                  <a:pt x="596" y="498"/>
                </a:lnTo>
                <a:lnTo>
                  <a:pt x="591" y="508"/>
                </a:lnTo>
                <a:lnTo>
                  <a:pt x="586" y="508"/>
                </a:lnTo>
                <a:lnTo>
                  <a:pt x="576" y="513"/>
                </a:lnTo>
                <a:lnTo>
                  <a:pt x="566" y="517"/>
                </a:lnTo>
                <a:lnTo>
                  <a:pt x="561" y="523"/>
                </a:lnTo>
                <a:lnTo>
                  <a:pt x="557" y="532"/>
                </a:lnTo>
                <a:lnTo>
                  <a:pt x="551" y="542"/>
                </a:lnTo>
                <a:lnTo>
                  <a:pt x="546" y="547"/>
                </a:lnTo>
                <a:lnTo>
                  <a:pt x="542" y="547"/>
                </a:lnTo>
                <a:lnTo>
                  <a:pt x="537" y="532"/>
                </a:lnTo>
                <a:lnTo>
                  <a:pt x="537" y="527"/>
                </a:lnTo>
                <a:lnTo>
                  <a:pt x="531" y="527"/>
                </a:lnTo>
                <a:lnTo>
                  <a:pt x="531" y="523"/>
                </a:lnTo>
                <a:lnTo>
                  <a:pt x="531" y="517"/>
                </a:lnTo>
                <a:lnTo>
                  <a:pt x="531" y="508"/>
                </a:lnTo>
                <a:lnTo>
                  <a:pt x="537" y="508"/>
                </a:lnTo>
                <a:lnTo>
                  <a:pt x="546" y="508"/>
                </a:lnTo>
                <a:lnTo>
                  <a:pt x="557" y="508"/>
                </a:lnTo>
                <a:lnTo>
                  <a:pt x="557" y="504"/>
                </a:lnTo>
                <a:lnTo>
                  <a:pt x="561" y="504"/>
                </a:lnTo>
                <a:lnTo>
                  <a:pt x="566" y="498"/>
                </a:lnTo>
                <a:lnTo>
                  <a:pt x="576" y="494"/>
                </a:lnTo>
                <a:lnTo>
                  <a:pt x="591" y="484"/>
                </a:lnTo>
                <a:lnTo>
                  <a:pt x="607" y="474"/>
                </a:lnTo>
                <a:lnTo>
                  <a:pt x="611" y="464"/>
                </a:lnTo>
                <a:lnTo>
                  <a:pt x="616" y="455"/>
                </a:lnTo>
                <a:lnTo>
                  <a:pt x="616" y="450"/>
                </a:lnTo>
                <a:lnTo>
                  <a:pt x="607" y="445"/>
                </a:lnTo>
                <a:lnTo>
                  <a:pt x="601" y="436"/>
                </a:lnTo>
                <a:lnTo>
                  <a:pt x="596" y="426"/>
                </a:lnTo>
                <a:lnTo>
                  <a:pt x="591" y="426"/>
                </a:lnTo>
                <a:lnTo>
                  <a:pt x="591" y="436"/>
                </a:lnTo>
                <a:lnTo>
                  <a:pt x="591" y="445"/>
                </a:lnTo>
                <a:lnTo>
                  <a:pt x="586" y="445"/>
                </a:lnTo>
                <a:lnTo>
                  <a:pt x="581" y="445"/>
                </a:lnTo>
                <a:lnTo>
                  <a:pt x="576" y="450"/>
                </a:lnTo>
                <a:lnTo>
                  <a:pt x="572" y="450"/>
                </a:lnTo>
                <a:lnTo>
                  <a:pt x="566" y="445"/>
                </a:lnTo>
                <a:lnTo>
                  <a:pt x="561" y="436"/>
                </a:lnTo>
                <a:lnTo>
                  <a:pt x="561" y="426"/>
                </a:lnTo>
                <a:lnTo>
                  <a:pt x="561" y="421"/>
                </a:lnTo>
                <a:lnTo>
                  <a:pt x="561" y="411"/>
                </a:lnTo>
                <a:lnTo>
                  <a:pt x="561" y="396"/>
                </a:lnTo>
                <a:lnTo>
                  <a:pt x="557" y="388"/>
                </a:lnTo>
                <a:lnTo>
                  <a:pt x="557" y="373"/>
                </a:lnTo>
                <a:lnTo>
                  <a:pt x="566" y="368"/>
                </a:lnTo>
                <a:lnTo>
                  <a:pt x="576" y="358"/>
                </a:lnTo>
                <a:lnTo>
                  <a:pt x="586" y="354"/>
                </a:lnTo>
                <a:lnTo>
                  <a:pt x="591" y="354"/>
                </a:lnTo>
                <a:lnTo>
                  <a:pt x="591" y="343"/>
                </a:lnTo>
                <a:lnTo>
                  <a:pt x="581" y="339"/>
                </a:lnTo>
                <a:lnTo>
                  <a:pt x="572" y="329"/>
                </a:lnTo>
                <a:lnTo>
                  <a:pt x="561" y="324"/>
                </a:lnTo>
                <a:lnTo>
                  <a:pt x="557" y="324"/>
                </a:lnTo>
                <a:lnTo>
                  <a:pt x="551" y="324"/>
                </a:lnTo>
                <a:lnTo>
                  <a:pt x="542" y="324"/>
                </a:lnTo>
                <a:lnTo>
                  <a:pt x="537" y="320"/>
                </a:lnTo>
                <a:lnTo>
                  <a:pt x="527" y="320"/>
                </a:lnTo>
                <a:lnTo>
                  <a:pt x="517" y="329"/>
                </a:lnTo>
                <a:lnTo>
                  <a:pt x="517" y="339"/>
                </a:lnTo>
                <a:lnTo>
                  <a:pt x="511" y="339"/>
                </a:lnTo>
                <a:lnTo>
                  <a:pt x="511" y="343"/>
                </a:lnTo>
                <a:lnTo>
                  <a:pt x="507" y="343"/>
                </a:lnTo>
                <a:lnTo>
                  <a:pt x="487" y="354"/>
                </a:lnTo>
                <a:lnTo>
                  <a:pt x="477" y="363"/>
                </a:lnTo>
                <a:lnTo>
                  <a:pt x="468" y="377"/>
                </a:lnTo>
                <a:lnTo>
                  <a:pt x="468" y="388"/>
                </a:lnTo>
                <a:lnTo>
                  <a:pt x="468" y="392"/>
                </a:lnTo>
                <a:lnTo>
                  <a:pt x="472" y="396"/>
                </a:lnTo>
                <a:lnTo>
                  <a:pt x="472" y="402"/>
                </a:lnTo>
                <a:lnTo>
                  <a:pt x="472" y="407"/>
                </a:lnTo>
                <a:lnTo>
                  <a:pt x="468" y="407"/>
                </a:lnTo>
                <a:lnTo>
                  <a:pt x="468" y="416"/>
                </a:lnTo>
                <a:lnTo>
                  <a:pt x="477" y="421"/>
                </a:lnTo>
                <a:lnTo>
                  <a:pt x="487" y="430"/>
                </a:lnTo>
                <a:lnTo>
                  <a:pt x="496" y="436"/>
                </a:lnTo>
                <a:lnTo>
                  <a:pt x="507" y="441"/>
                </a:lnTo>
                <a:lnTo>
                  <a:pt x="511" y="450"/>
                </a:lnTo>
                <a:lnTo>
                  <a:pt x="511" y="460"/>
                </a:lnTo>
                <a:lnTo>
                  <a:pt x="507" y="464"/>
                </a:lnTo>
                <a:lnTo>
                  <a:pt x="502" y="474"/>
                </a:lnTo>
                <a:lnTo>
                  <a:pt x="502" y="479"/>
                </a:lnTo>
                <a:lnTo>
                  <a:pt x="507" y="489"/>
                </a:lnTo>
                <a:lnTo>
                  <a:pt x="511" y="498"/>
                </a:lnTo>
                <a:lnTo>
                  <a:pt x="507" y="504"/>
                </a:lnTo>
                <a:lnTo>
                  <a:pt x="496" y="504"/>
                </a:lnTo>
                <a:lnTo>
                  <a:pt x="477" y="508"/>
                </a:lnTo>
                <a:lnTo>
                  <a:pt x="461" y="517"/>
                </a:lnTo>
                <a:lnTo>
                  <a:pt x="452" y="527"/>
                </a:lnTo>
                <a:lnTo>
                  <a:pt x="448" y="532"/>
                </a:lnTo>
                <a:lnTo>
                  <a:pt x="437" y="532"/>
                </a:lnTo>
                <a:lnTo>
                  <a:pt x="433" y="538"/>
                </a:lnTo>
                <a:lnTo>
                  <a:pt x="433" y="542"/>
                </a:lnTo>
                <a:lnTo>
                  <a:pt x="433" y="551"/>
                </a:lnTo>
                <a:lnTo>
                  <a:pt x="368" y="572"/>
                </a:lnTo>
                <a:close/>
              </a:path>
            </a:pathLst>
          </a:custGeom>
          <a:solidFill>
            <a:srgbClr val="005027"/>
          </a:solidFill>
          <a:ln w="9525">
            <a:solidFill>
              <a:schemeClr val="bg1"/>
            </a:solidFill>
            <a:round/>
            <a:headEnd/>
            <a:tailEnd/>
          </a:ln>
        </p:spPr>
        <p:txBody>
          <a:bodyPr/>
          <a:lstStyle/>
          <a:p>
            <a:endParaRPr lang="ro-RO"/>
          </a:p>
        </p:txBody>
      </p:sp>
      <p:sp>
        <p:nvSpPr>
          <p:cNvPr id="12308" name="Freeform 17"/>
          <p:cNvSpPr>
            <a:spLocks/>
          </p:cNvSpPr>
          <p:nvPr/>
        </p:nvSpPr>
        <p:spPr bwMode="auto">
          <a:xfrm>
            <a:off x="4349750" y="4414838"/>
            <a:ext cx="1222375" cy="484187"/>
          </a:xfrm>
          <a:custGeom>
            <a:avLst/>
            <a:gdLst>
              <a:gd name="T0" fmla="*/ 2147483647 w 951"/>
              <a:gd name="T1" fmla="*/ 2147483647 h 351"/>
              <a:gd name="T2" fmla="*/ 2147483647 w 951"/>
              <a:gd name="T3" fmla="*/ 2147483647 h 351"/>
              <a:gd name="T4" fmla="*/ 2147483647 w 951"/>
              <a:gd name="T5" fmla="*/ 2147483647 h 351"/>
              <a:gd name="T6" fmla="*/ 2147483647 w 951"/>
              <a:gd name="T7" fmla="*/ 2147483647 h 351"/>
              <a:gd name="T8" fmla="*/ 2147483647 w 951"/>
              <a:gd name="T9" fmla="*/ 2147483647 h 351"/>
              <a:gd name="T10" fmla="*/ 2147483647 w 951"/>
              <a:gd name="T11" fmla="*/ 2147483647 h 351"/>
              <a:gd name="T12" fmla="*/ 2147483647 w 951"/>
              <a:gd name="T13" fmla="*/ 2147483647 h 351"/>
              <a:gd name="T14" fmla="*/ 2147483647 w 951"/>
              <a:gd name="T15" fmla="*/ 2147483647 h 351"/>
              <a:gd name="T16" fmla="*/ 2147483647 w 951"/>
              <a:gd name="T17" fmla="*/ 2147483647 h 351"/>
              <a:gd name="T18" fmla="*/ 2147483647 w 951"/>
              <a:gd name="T19" fmla="*/ 2147483647 h 351"/>
              <a:gd name="T20" fmla="*/ 2147483647 w 951"/>
              <a:gd name="T21" fmla="*/ 2147483647 h 351"/>
              <a:gd name="T22" fmla="*/ 2147483647 w 951"/>
              <a:gd name="T23" fmla="*/ 2147483647 h 351"/>
              <a:gd name="T24" fmla="*/ 2147483647 w 951"/>
              <a:gd name="T25" fmla="*/ 2147483647 h 351"/>
              <a:gd name="T26" fmla="*/ 2147483647 w 951"/>
              <a:gd name="T27" fmla="*/ 2147483647 h 351"/>
              <a:gd name="T28" fmla="*/ 2147483647 w 951"/>
              <a:gd name="T29" fmla="*/ 2147483647 h 351"/>
              <a:gd name="T30" fmla="*/ 2147483647 w 951"/>
              <a:gd name="T31" fmla="*/ 2147483647 h 351"/>
              <a:gd name="T32" fmla="*/ 2147483647 w 951"/>
              <a:gd name="T33" fmla="*/ 2147483647 h 351"/>
              <a:gd name="T34" fmla="*/ 2147483647 w 951"/>
              <a:gd name="T35" fmla="*/ 2147483647 h 351"/>
              <a:gd name="T36" fmla="*/ 2147483647 w 951"/>
              <a:gd name="T37" fmla="*/ 2147483647 h 351"/>
              <a:gd name="T38" fmla="*/ 2147483647 w 951"/>
              <a:gd name="T39" fmla="*/ 2147483647 h 351"/>
              <a:gd name="T40" fmla="*/ 2147483647 w 951"/>
              <a:gd name="T41" fmla="*/ 2147483647 h 351"/>
              <a:gd name="T42" fmla="*/ 2147483647 w 951"/>
              <a:gd name="T43" fmla="*/ 2147483647 h 351"/>
              <a:gd name="T44" fmla="*/ 2147483647 w 951"/>
              <a:gd name="T45" fmla="*/ 0 h 351"/>
              <a:gd name="T46" fmla="*/ 2147483647 w 951"/>
              <a:gd name="T47" fmla="*/ 2147483647 h 351"/>
              <a:gd name="T48" fmla="*/ 2147483647 w 951"/>
              <a:gd name="T49" fmla="*/ 2147483647 h 351"/>
              <a:gd name="T50" fmla="*/ 2147483647 w 951"/>
              <a:gd name="T51" fmla="*/ 2147483647 h 351"/>
              <a:gd name="T52" fmla="*/ 2147483647 w 951"/>
              <a:gd name="T53" fmla="*/ 2147483647 h 351"/>
              <a:gd name="T54" fmla="*/ 2147483647 w 951"/>
              <a:gd name="T55" fmla="*/ 2147483647 h 351"/>
              <a:gd name="T56" fmla="*/ 2147483647 w 951"/>
              <a:gd name="T57" fmla="*/ 2147483647 h 351"/>
              <a:gd name="T58" fmla="*/ 2147483647 w 951"/>
              <a:gd name="T59" fmla="*/ 2147483647 h 351"/>
              <a:gd name="T60" fmla="*/ 2147483647 w 951"/>
              <a:gd name="T61" fmla="*/ 2147483647 h 351"/>
              <a:gd name="T62" fmla="*/ 2147483647 w 951"/>
              <a:gd name="T63" fmla="*/ 2147483647 h 351"/>
              <a:gd name="T64" fmla="*/ 2147483647 w 951"/>
              <a:gd name="T65" fmla="*/ 2147483647 h 351"/>
              <a:gd name="T66" fmla="*/ 2147483647 w 951"/>
              <a:gd name="T67" fmla="*/ 2147483647 h 351"/>
              <a:gd name="T68" fmla="*/ 2147483647 w 951"/>
              <a:gd name="T69" fmla="*/ 2147483647 h 351"/>
              <a:gd name="T70" fmla="*/ 2147483647 w 951"/>
              <a:gd name="T71" fmla="*/ 2147483647 h 351"/>
              <a:gd name="T72" fmla="*/ 2147483647 w 951"/>
              <a:gd name="T73" fmla="*/ 2147483647 h 351"/>
              <a:gd name="T74" fmla="*/ 2147483647 w 951"/>
              <a:gd name="T75" fmla="*/ 2147483647 h 351"/>
              <a:gd name="T76" fmla="*/ 2147483647 w 951"/>
              <a:gd name="T77" fmla="*/ 2147483647 h 351"/>
              <a:gd name="T78" fmla="*/ 2147483647 w 951"/>
              <a:gd name="T79" fmla="*/ 2147483647 h 351"/>
              <a:gd name="T80" fmla="*/ 2147483647 w 951"/>
              <a:gd name="T81" fmla="*/ 2147483647 h 351"/>
              <a:gd name="T82" fmla="*/ 2147483647 w 951"/>
              <a:gd name="T83" fmla="*/ 2147483647 h 351"/>
              <a:gd name="T84" fmla="*/ 2147483647 w 951"/>
              <a:gd name="T85" fmla="*/ 2147483647 h 351"/>
              <a:gd name="T86" fmla="*/ 2147483647 w 951"/>
              <a:gd name="T87" fmla="*/ 2147483647 h 351"/>
              <a:gd name="T88" fmla="*/ 2147483647 w 951"/>
              <a:gd name="T89" fmla="*/ 2147483647 h 351"/>
              <a:gd name="T90" fmla="*/ 2147483647 w 951"/>
              <a:gd name="T91" fmla="*/ 2147483647 h 351"/>
              <a:gd name="T92" fmla="*/ 2147483647 w 951"/>
              <a:gd name="T93" fmla="*/ 2147483647 h 351"/>
              <a:gd name="T94" fmla="*/ 2147483647 w 951"/>
              <a:gd name="T95" fmla="*/ 2147483647 h 351"/>
              <a:gd name="T96" fmla="*/ 2147483647 w 951"/>
              <a:gd name="T97" fmla="*/ 2147483647 h 35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1"/>
              <a:gd name="T148" fmla="*/ 0 h 351"/>
              <a:gd name="T149" fmla="*/ 951 w 951"/>
              <a:gd name="T150" fmla="*/ 351 h 35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1" h="351">
                <a:moveTo>
                  <a:pt x="901" y="351"/>
                </a:moveTo>
                <a:lnTo>
                  <a:pt x="906" y="347"/>
                </a:lnTo>
                <a:lnTo>
                  <a:pt x="912" y="338"/>
                </a:lnTo>
                <a:lnTo>
                  <a:pt x="931" y="309"/>
                </a:lnTo>
                <a:lnTo>
                  <a:pt x="941" y="298"/>
                </a:lnTo>
                <a:lnTo>
                  <a:pt x="951" y="290"/>
                </a:lnTo>
                <a:lnTo>
                  <a:pt x="951" y="275"/>
                </a:lnTo>
                <a:lnTo>
                  <a:pt x="941" y="256"/>
                </a:lnTo>
                <a:lnTo>
                  <a:pt x="931" y="246"/>
                </a:lnTo>
                <a:lnTo>
                  <a:pt x="927" y="241"/>
                </a:lnTo>
                <a:lnTo>
                  <a:pt x="912" y="237"/>
                </a:lnTo>
                <a:lnTo>
                  <a:pt x="906" y="241"/>
                </a:lnTo>
                <a:lnTo>
                  <a:pt x="901" y="241"/>
                </a:lnTo>
                <a:lnTo>
                  <a:pt x="896" y="237"/>
                </a:lnTo>
                <a:lnTo>
                  <a:pt x="892" y="231"/>
                </a:lnTo>
                <a:lnTo>
                  <a:pt x="892" y="216"/>
                </a:lnTo>
                <a:lnTo>
                  <a:pt x="896" y="203"/>
                </a:lnTo>
                <a:lnTo>
                  <a:pt x="906" y="188"/>
                </a:lnTo>
                <a:lnTo>
                  <a:pt x="906" y="174"/>
                </a:lnTo>
                <a:lnTo>
                  <a:pt x="901" y="155"/>
                </a:lnTo>
                <a:lnTo>
                  <a:pt x="896" y="144"/>
                </a:lnTo>
                <a:lnTo>
                  <a:pt x="871" y="130"/>
                </a:lnTo>
                <a:lnTo>
                  <a:pt x="862" y="125"/>
                </a:lnTo>
                <a:lnTo>
                  <a:pt x="851" y="121"/>
                </a:lnTo>
                <a:lnTo>
                  <a:pt x="832" y="116"/>
                </a:lnTo>
                <a:lnTo>
                  <a:pt x="827" y="106"/>
                </a:lnTo>
                <a:lnTo>
                  <a:pt x="822" y="92"/>
                </a:lnTo>
                <a:lnTo>
                  <a:pt x="822" y="77"/>
                </a:lnTo>
                <a:lnTo>
                  <a:pt x="822" y="68"/>
                </a:lnTo>
                <a:lnTo>
                  <a:pt x="817" y="68"/>
                </a:lnTo>
                <a:lnTo>
                  <a:pt x="807" y="62"/>
                </a:lnTo>
                <a:lnTo>
                  <a:pt x="793" y="58"/>
                </a:lnTo>
                <a:lnTo>
                  <a:pt x="788" y="49"/>
                </a:lnTo>
                <a:lnTo>
                  <a:pt x="788" y="39"/>
                </a:lnTo>
                <a:lnTo>
                  <a:pt x="782" y="29"/>
                </a:lnTo>
                <a:lnTo>
                  <a:pt x="777" y="29"/>
                </a:lnTo>
                <a:lnTo>
                  <a:pt x="762" y="34"/>
                </a:lnTo>
                <a:lnTo>
                  <a:pt x="747" y="43"/>
                </a:lnTo>
                <a:lnTo>
                  <a:pt x="738" y="49"/>
                </a:lnTo>
                <a:lnTo>
                  <a:pt x="733" y="54"/>
                </a:lnTo>
                <a:lnTo>
                  <a:pt x="728" y="54"/>
                </a:lnTo>
                <a:lnTo>
                  <a:pt x="719" y="54"/>
                </a:lnTo>
                <a:lnTo>
                  <a:pt x="688" y="49"/>
                </a:lnTo>
                <a:lnTo>
                  <a:pt x="673" y="43"/>
                </a:lnTo>
                <a:lnTo>
                  <a:pt x="654" y="43"/>
                </a:lnTo>
                <a:lnTo>
                  <a:pt x="639" y="43"/>
                </a:lnTo>
                <a:lnTo>
                  <a:pt x="634" y="43"/>
                </a:lnTo>
                <a:lnTo>
                  <a:pt x="599" y="49"/>
                </a:lnTo>
                <a:lnTo>
                  <a:pt x="560" y="49"/>
                </a:lnTo>
                <a:lnTo>
                  <a:pt x="554" y="49"/>
                </a:lnTo>
                <a:lnTo>
                  <a:pt x="545" y="43"/>
                </a:lnTo>
                <a:lnTo>
                  <a:pt x="535" y="39"/>
                </a:lnTo>
                <a:lnTo>
                  <a:pt x="530" y="43"/>
                </a:lnTo>
                <a:lnTo>
                  <a:pt x="525" y="54"/>
                </a:lnTo>
                <a:lnTo>
                  <a:pt x="520" y="68"/>
                </a:lnTo>
                <a:lnTo>
                  <a:pt x="504" y="73"/>
                </a:lnTo>
                <a:lnTo>
                  <a:pt x="485" y="73"/>
                </a:lnTo>
                <a:lnTo>
                  <a:pt x="465" y="58"/>
                </a:lnTo>
                <a:lnTo>
                  <a:pt x="456" y="49"/>
                </a:lnTo>
                <a:lnTo>
                  <a:pt x="450" y="43"/>
                </a:lnTo>
                <a:lnTo>
                  <a:pt x="450" y="49"/>
                </a:lnTo>
                <a:lnTo>
                  <a:pt x="446" y="58"/>
                </a:lnTo>
                <a:lnTo>
                  <a:pt x="446" y="77"/>
                </a:lnTo>
                <a:lnTo>
                  <a:pt x="441" y="92"/>
                </a:lnTo>
                <a:lnTo>
                  <a:pt x="441" y="102"/>
                </a:lnTo>
                <a:lnTo>
                  <a:pt x="436" y="96"/>
                </a:lnTo>
                <a:lnTo>
                  <a:pt x="431" y="92"/>
                </a:lnTo>
                <a:lnTo>
                  <a:pt x="416" y="73"/>
                </a:lnTo>
                <a:lnTo>
                  <a:pt x="416" y="68"/>
                </a:lnTo>
                <a:lnTo>
                  <a:pt x="411" y="62"/>
                </a:lnTo>
                <a:lnTo>
                  <a:pt x="406" y="58"/>
                </a:lnTo>
                <a:lnTo>
                  <a:pt x="402" y="54"/>
                </a:lnTo>
                <a:lnTo>
                  <a:pt x="387" y="49"/>
                </a:lnTo>
                <a:lnTo>
                  <a:pt x="372" y="43"/>
                </a:lnTo>
                <a:lnTo>
                  <a:pt x="352" y="49"/>
                </a:lnTo>
                <a:lnTo>
                  <a:pt x="342" y="49"/>
                </a:lnTo>
                <a:lnTo>
                  <a:pt x="332" y="49"/>
                </a:lnTo>
                <a:lnTo>
                  <a:pt x="317" y="39"/>
                </a:lnTo>
                <a:lnTo>
                  <a:pt x="298" y="39"/>
                </a:lnTo>
                <a:lnTo>
                  <a:pt x="287" y="39"/>
                </a:lnTo>
                <a:lnTo>
                  <a:pt x="277" y="34"/>
                </a:lnTo>
                <a:lnTo>
                  <a:pt x="268" y="29"/>
                </a:lnTo>
                <a:lnTo>
                  <a:pt x="253" y="34"/>
                </a:lnTo>
                <a:lnTo>
                  <a:pt x="233" y="39"/>
                </a:lnTo>
                <a:lnTo>
                  <a:pt x="209" y="43"/>
                </a:lnTo>
                <a:lnTo>
                  <a:pt x="188" y="43"/>
                </a:lnTo>
                <a:lnTo>
                  <a:pt x="179" y="34"/>
                </a:lnTo>
                <a:lnTo>
                  <a:pt x="174" y="24"/>
                </a:lnTo>
                <a:lnTo>
                  <a:pt x="168" y="10"/>
                </a:lnTo>
                <a:lnTo>
                  <a:pt x="164" y="5"/>
                </a:lnTo>
                <a:lnTo>
                  <a:pt x="159" y="0"/>
                </a:lnTo>
                <a:lnTo>
                  <a:pt x="153" y="0"/>
                </a:lnTo>
                <a:lnTo>
                  <a:pt x="148" y="0"/>
                </a:lnTo>
                <a:lnTo>
                  <a:pt x="133" y="0"/>
                </a:lnTo>
                <a:lnTo>
                  <a:pt x="119" y="10"/>
                </a:lnTo>
                <a:lnTo>
                  <a:pt x="109" y="24"/>
                </a:lnTo>
                <a:lnTo>
                  <a:pt x="105" y="34"/>
                </a:lnTo>
                <a:lnTo>
                  <a:pt x="94" y="39"/>
                </a:lnTo>
                <a:lnTo>
                  <a:pt x="84" y="39"/>
                </a:lnTo>
                <a:lnTo>
                  <a:pt x="70" y="39"/>
                </a:lnTo>
                <a:lnTo>
                  <a:pt x="45" y="39"/>
                </a:lnTo>
                <a:lnTo>
                  <a:pt x="25" y="43"/>
                </a:lnTo>
                <a:lnTo>
                  <a:pt x="16" y="49"/>
                </a:lnTo>
                <a:lnTo>
                  <a:pt x="10" y="49"/>
                </a:lnTo>
                <a:lnTo>
                  <a:pt x="5" y="54"/>
                </a:lnTo>
                <a:lnTo>
                  <a:pt x="0" y="62"/>
                </a:lnTo>
                <a:lnTo>
                  <a:pt x="0" y="83"/>
                </a:lnTo>
                <a:lnTo>
                  <a:pt x="10" y="102"/>
                </a:lnTo>
                <a:lnTo>
                  <a:pt x="16" y="111"/>
                </a:lnTo>
                <a:lnTo>
                  <a:pt x="25" y="116"/>
                </a:lnTo>
                <a:lnTo>
                  <a:pt x="29" y="121"/>
                </a:lnTo>
                <a:lnTo>
                  <a:pt x="35" y="140"/>
                </a:lnTo>
                <a:lnTo>
                  <a:pt x="35" y="155"/>
                </a:lnTo>
                <a:lnTo>
                  <a:pt x="29" y="164"/>
                </a:lnTo>
                <a:lnTo>
                  <a:pt x="25" y="184"/>
                </a:lnTo>
                <a:lnTo>
                  <a:pt x="29" y="203"/>
                </a:lnTo>
                <a:lnTo>
                  <a:pt x="35" y="216"/>
                </a:lnTo>
                <a:lnTo>
                  <a:pt x="35" y="231"/>
                </a:lnTo>
                <a:lnTo>
                  <a:pt x="35" y="246"/>
                </a:lnTo>
                <a:lnTo>
                  <a:pt x="40" y="260"/>
                </a:lnTo>
                <a:lnTo>
                  <a:pt x="55" y="265"/>
                </a:lnTo>
                <a:lnTo>
                  <a:pt x="70" y="265"/>
                </a:lnTo>
                <a:lnTo>
                  <a:pt x="74" y="260"/>
                </a:lnTo>
                <a:lnTo>
                  <a:pt x="79" y="250"/>
                </a:lnTo>
                <a:lnTo>
                  <a:pt x="79" y="237"/>
                </a:lnTo>
                <a:lnTo>
                  <a:pt x="90" y="222"/>
                </a:lnTo>
                <a:lnTo>
                  <a:pt x="99" y="216"/>
                </a:lnTo>
                <a:lnTo>
                  <a:pt x="109" y="216"/>
                </a:lnTo>
                <a:lnTo>
                  <a:pt x="124" y="227"/>
                </a:lnTo>
                <a:lnTo>
                  <a:pt x="124" y="231"/>
                </a:lnTo>
                <a:lnTo>
                  <a:pt x="129" y="241"/>
                </a:lnTo>
                <a:lnTo>
                  <a:pt x="133" y="250"/>
                </a:lnTo>
                <a:lnTo>
                  <a:pt x="144" y="256"/>
                </a:lnTo>
                <a:lnTo>
                  <a:pt x="168" y="256"/>
                </a:lnTo>
                <a:lnTo>
                  <a:pt x="174" y="250"/>
                </a:lnTo>
                <a:lnTo>
                  <a:pt x="179" y="241"/>
                </a:lnTo>
                <a:lnTo>
                  <a:pt x="183" y="216"/>
                </a:lnTo>
                <a:lnTo>
                  <a:pt x="183" y="208"/>
                </a:lnTo>
                <a:lnTo>
                  <a:pt x="193" y="203"/>
                </a:lnTo>
                <a:lnTo>
                  <a:pt x="203" y="203"/>
                </a:lnTo>
                <a:lnTo>
                  <a:pt x="198" y="212"/>
                </a:lnTo>
                <a:lnTo>
                  <a:pt x="203" y="222"/>
                </a:lnTo>
                <a:lnTo>
                  <a:pt x="209" y="227"/>
                </a:lnTo>
                <a:lnTo>
                  <a:pt x="218" y="231"/>
                </a:lnTo>
                <a:lnTo>
                  <a:pt x="238" y="241"/>
                </a:lnTo>
                <a:lnTo>
                  <a:pt x="253" y="246"/>
                </a:lnTo>
                <a:lnTo>
                  <a:pt x="263" y="250"/>
                </a:lnTo>
                <a:lnTo>
                  <a:pt x="272" y="250"/>
                </a:lnTo>
                <a:lnTo>
                  <a:pt x="287" y="256"/>
                </a:lnTo>
                <a:lnTo>
                  <a:pt x="302" y="260"/>
                </a:lnTo>
                <a:lnTo>
                  <a:pt x="322" y="265"/>
                </a:lnTo>
                <a:lnTo>
                  <a:pt x="342" y="260"/>
                </a:lnTo>
                <a:lnTo>
                  <a:pt x="357" y="256"/>
                </a:lnTo>
                <a:lnTo>
                  <a:pt x="361" y="256"/>
                </a:lnTo>
                <a:lnTo>
                  <a:pt x="372" y="260"/>
                </a:lnTo>
                <a:lnTo>
                  <a:pt x="381" y="270"/>
                </a:lnTo>
                <a:lnTo>
                  <a:pt x="402" y="279"/>
                </a:lnTo>
                <a:lnTo>
                  <a:pt x="421" y="279"/>
                </a:lnTo>
                <a:lnTo>
                  <a:pt x="436" y="279"/>
                </a:lnTo>
                <a:lnTo>
                  <a:pt x="446" y="275"/>
                </a:lnTo>
                <a:lnTo>
                  <a:pt x="465" y="275"/>
                </a:lnTo>
                <a:lnTo>
                  <a:pt x="491" y="275"/>
                </a:lnTo>
                <a:lnTo>
                  <a:pt x="515" y="275"/>
                </a:lnTo>
                <a:lnTo>
                  <a:pt x="530" y="275"/>
                </a:lnTo>
                <a:lnTo>
                  <a:pt x="550" y="275"/>
                </a:lnTo>
                <a:lnTo>
                  <a:pt x="569" y="275"/>
                </a:lnTo>
                <a:lnTo>
                  <a:pt x="589" y="275"/>
                </a:lnTo>
                <a:lnTo>
                  <a:pt x="604" y="275"/>
                </a:lnTo>
                <a:lnTo>
                  <a:pt x="614" y="275"/>
                </a:lnTo>
                <a:lnTo>
                  <a:pt x="630" y="275"/>
                </a:lnTo>
                <a:lnTo>
                  <a:pt x="639" y="270"/>
                </a:lnTo>
                <a:lnTo>
                  <a:pt x="649" y="250"/>
                </a:lnTo>
                <a:lnTo>
                  <a:pt x="654" y="241"/>
                </a:lnTo>
                <a:lnTo>
                  <a:pt x="654" y="237"/>
                </a:lnTo>
                <a:lnTo>
                  <a:pt x="659" y="237"/>
                </a:lnTo>
                <a:lnTo>
                  <a:pt x="664" y="241"/>
                </a:lnTo>
                <a:lnTo>
                  <a:pt x="664" y="260"/>
                </a:lnTo>
                <a:lnTo>
                  <a:pt x="664" y="290"/>
                </a:lnTo>
                <a:lnTo>
                  <a:pt x="659" y="313"/>
                </a:lnTo>
                <a:lnTo>
                  <a:pt x="659" y="323"/>
                </a:lnTo>
                <a:lnTo>
                  <a:pt x="688" y="317"/>
                </a:lnTo>
                <a:lnTo>
                  <a:pt x="688" y="309"/>
                </a:lnTo>
                <a:lnTo>
                  <a:pt x="684" y="294"/>
                </a:lnTo>
                <a:lnTo>
                  <a:pt x="684" y="290"/>
                </a:lnTo>
                <a:lnTo>
                  <a:pt x="688" y="290"/>
                </a:lnTo>
                <a:lnTo>
                  <a:pt x="699" y="290"/>
                </a:lnTo>
                <a:lnTo>
                  <a:pt x="713" y="298"/>
                </a:lnTo>
                <a:lnTo>
                  <a:pt x="743" y="323"/>
                </a:lnTo>
                <a:lnTo>
                  <a:pt x="762" y="332"/>
                </a:lnTo>
                <a:lnTo>
                  <a:pt x="777" y="332"/>
                </a:lnTo>
                <a:lnTo>
                  <a:pt x="782" y="332"/>
                </a:lnTo>
                <a:lnTo>
                  <a:pt x="793" y="332"/>
                </a:lnTo>
                <a:lnTo>
                  <a:pt x="812" y="338"/>
                </a:lnTo>
                <a:lnTo>
                  <a:pt x="832" y="342"/>
                </a:lnTo>
                <a:lnTo>
                  <a:pt x="851" y="347"/>
                </a:lnTo>
                <a:lnTo>
                  <a:pt x="877" y="347"/>
                </a:lnTo>
                <a:lnTo>
                  <a:pt x="896" y="351"/>
                </a:lnTo>
                <a:lnTo>
                  <a:pt x="901" y="351"/>
                </a:lnTo>
                <a:close/>
              </a:path>
            </a:pathLst>
          </a:custGeom>
          <a:solidFill>
            <a:srgbClr val="005027"/>
          </a:solidFill>
          <a:ln w="9525">
            <a:solidFill>
              <a:schemeClr val="bg1"/>
            </a:solidFill>
            <a:round/>
            <a:headEnd/>
            <a:tailEnd/>
          </a:ln>
        </p:spPr>
        <p:txBody>
          <a:bodyPr/>
          <a:lstStyle/>
          <a:p>
            <a:endParaRPr lang="ro-RO"/>
          </a:p>
        </p:txBody>
      </p:sp>
      <p:sp>
        <p:nvSpPr>
          <p:cNvPr id="12309" name="Freeform 18"/>
          <p:cNvSpPr>
            <a:spLocks/>
          </p:cNvSpPr>
          <p:nvPr/>
        </p:nvSpPr>
        <p:spPr bwMode="auto">
          <a:xfrm>
            <a:off x="4876800" y="3787775"/>
            <a:ext cx="712788" cy="722313"/>
          </a:xfrm>
          <a:custGeom>
            <a:avLst/>
            <a:gdLst>
              <a:gd name="T0" fmla="*/ 2147483647 w 554"/>
              <a:gd name="T1" fmla="*/ 2147483647 h 523"/>
              <a:gd name="T2" fmla="*/ 2147483647 w 554"/>
              <a:gd name="T3" fmla="*/ 2147483647 h 523"/>
              <a:gd name="T4" fmla="*/ 2147483647 w 554"/>
              <a:gd name="T5" fmla="*/ 2147483647 h 523"/>
              <a:gd name="T6" fmla="*/ 2147483647 w 554"/>
              <a:gd name="T7" fmla="*/ 2147483647 h 523"/>
              <a:gd name="T8" fmla="*/ 2147483647 w 554"/>
              <a:gd name="T9" fmla="*/ 2147483647 h 523"/>
              <a:gd name="T10" fmla="*/ 2147483647 w 554"/>
              <a:gd name="T11" fmla="*/ 2147483647 h 523"/>
              <a:gd name="T12" fmla="*/ 2147483647 w 554"/>
              <a:gd name="T13" fmla="*/ 2147483647 h 523"/>
              <a:gd name="T14" fmla="*/ 2147483647 w 554"/>
              <a:gd name="T15" fmla="*/ 2147483647 h 523"/>
              <a:gd name="T16" fmla="*/ 2147483647 w 554"/>
              <a:gd name="T17" fmla="*/ 2147483647 h 523"/>
              <a:gd name="T18" fmla="*/ 2147483647 w 554"/>
              <a:gd name="T19" fmla="*/ 2147483647 h 523"/>
              <a:gd name="T20" fmla="*/ 2147483647 w 554"/>
              <a:gd name="T21" fmla="*/ 2147483647 h 523"/>
              <a:gd name="T22" fmla="*/ 2147483647 w 554"/>
              <a:gd name="T23" fmla="*/ 2147483647 h 523"/>
              <a:gd name="T24" fmla="*/ 2147483647 w 554"/>
              <a:gd name="T25" fmla="*/ 2147483647 h 523"/>
              <a:gd name="T26" fmla="*/ 2147483647 w 554"/>
              <a:gd name="T27" fmla="*/ 2147483647 h 523"/>
              <a:gd name="T28" fmla="*/ 2147483647 w 554"/>
              <a:gd name="T29" fmla="*/ 2147483647 h 523"/>
              <a:gd name="T30" fmla="*/ 2147483647 w 554"/>
              <a:gd name="T31" fmla="*/ 2147483647 h 523"/>
              <a:gd name="T32" fmla="*/ 2147483647 w 554"/>
              <a:gd name="T33" fmla="*/ 2147483647 h 523"/>
              <a:gd name="T34" fmla="*/ 2147483647 w 554"/>
              <a:gd name="T35" fmla="*/ 2147483647 h 523"/>
              <a:gd name="T36" fmla="*/ 2147483647 w 554"/>
              <a:gd name="T37" fmla="*/ 2147483647 h 523"/>
              <a:gd name="T38" fmla="*/ 2147483647 w 554"/>
              <a:gd name="T39" fmla="*/ 2147483647 h 523"/>
              <a:gd name="T40" fmla="*/ 2147483647 w 554"/>
              <a:gd name="T41" fmla="*/ 0 h 523"/>
              <a:gd name="T42" fmla="*/ 2147483647 w 554"/>
              <a:gd name="T43" fmla="*/ 2147483647 h 523"/>
              <a:gd name="T44" fmla="*/ 2147483647 w 554"/>
              <a:gd name="T45" fmla="*/ 2147483647 h 523"/>
              <a:gd name="T46" fmla="*/ 2147483647 w 554"/>
              <a:gd name="T47" fmla="*/ 2147483647 h 523"/>
              <a:gd name="T48" fmla="*/ 2147483647 w 554"/>
              <a:gd name="T49" fmla="*/ 2147483647 h 523"/>
              <a:gd name="T50" fmla="*/ 2147483647 w 554"/>
              <a:gd name="T51" fmla="*/ 2147483647 h 523"/>
              <a:gd name="T52" fmla="*/ 2147483647 w 554"/>
              <a:gd name="T53" fmla="*/ 2147483647 h 523"/>
              <a:gd name="T54" fmla="*/ 2147483647 w 554"/>
              <a:gd name="T55" fmla="*/ 2147483647 h 523"/>
              <a:gd name="T56" fmla="*/ 2147483647 w 554"/>
              <a:gd name="T57" fmla="*/ 2147483647 h 523"/>
              <a:gd name="T58" fmla="*/ 2147483647 w 554"/>
              <a:gd name="T59" fmla="*/ 2147483647 h 523"/>
              <a:gd name="T60" fmla="*/ 2147483647 w 554"/>
              <a:gd name="T61" fmla="*/ 2147483647 h 523"/>
              <a:gd name="T62" fmla="*/ 2147483647 w 554"/>
              <a:gd name="T63" fmla="*/ 2147483647 h 523"/>
              <a:gd name="T64" fmla="*/ 2147483647 w 554"/>
              <a:gd name="T65" fmla="*/ 2147483647 h 523"/>
              <a:gd name="T66" fmla="*/ 0 w 554"/>
              <a:gd name="T67" fmla="*/ 2147483647 h 523"/>
              <a:gd name="T68" fmla="*/ 2147483647 w 554"/>
              <a:gd name="T69" fmla="*/ 2147483647 h 523"/>
              <a:gd name="T70" fmla="*/ 2147483647 w 554"/>
              <a:gd name="T71" fmla="*/ 2147483647 h 523"/>
              <a:gd name="T72" fmla="*/ 2147483647 w 554"/>
              <a:gd name="T73" fmla="*/ 2147483647 h 523"/>
              <a:gd name="T74" fmla="*/ 2147483647 w 554"/>
              <a:gd name="T75" fmla="*/ 2147483647 h 523"/>
              <a:gd name="T76" fmla="*/ 2147483647 w 554"/>
              <a:gd name="T77" fmla="*/ 2147483647 h 523"/>
              <a:gd name="T78" fmla="*/ 2147483647 w 554"/>
              <a:gd name="T79" fmla="*/ 2147483647 h 523"/>
              <a:gd name="T80" fmla="*/ 2147483647 w 554"/>
              <a:gd name="T81" fmla="*/ 2147483647 h 523"/>
              <a:gd name="T82" fmla="*/ 2147483647 w 554"/>
              <a:gd name="T83" fmla="*/ 2147483647 h 523"/>
              <a:gd name="T84" fmla="*/ 2147483647 w 554"/>
              <a:gd name="T85" fmla="*/ 2147483647 h 523"/>
              <a:gd name="T86" fmla="*/ 2147483647 w 554"/>
              <a:gd name="T87" fmla="*/ 2147483647 h 523"/>
              <a:gd name="T88" fmla="*/ 2147483647 w 554"/>
              <a:gd name="T89" fmla="*/ 2147483647 h 523"/>
              <a:gd name="T90" fmla="*/ 2147483647 w 554"/>
              <a:gd name="T91" fmla="*/ 2147483647 h 523"/>
              <a:gd name="T92" fmla="*/ 2147483647 w 554"/>
              <a:gd name="T93" fmla="*/ 2147483647 h 523"/>
              <a:gd name="T94" fmla="*/ 2147483647 w 554"/>
              <a:gd name="T95" fmla="*/ 2147483647 h 523"/>
              <a:gd name="T96" fmla="*/ 2147483647 w 554"/>
              <a:gd name="T97" fmla="*/ 2147483647 h 523"/>
              <a:gd name="T98" fmla="*/ 2147483647 w 554"/>
              <a:gd name="T99" fmla="*/ 2147483647 h 523"/>
              <a:gd name="T100" fmla="*/ 2147483647 w 554"/>
              <a:gd name="T101" fmla="*/ 2147483647 h 523"/>
              <a:gd name="T102" fmla="*/ 2147483647 w 554"/>
              <a:gd name="T103" fmla="*/ 2147483647 h 523"/>
              <a:gd name="T104" fmla="*/ 2147483647 w 554"/>
              <a:gd name="T105" fmla="*/ 2147483647 h 5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54"/>
              <a:gd name="T160" fmla="*/ 0 h 523"/>
              <a:gd name="T161" fmla="*/ 554 w 554"/>
              <a:gd name="T162" fmla="*/ 523 h 52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54" h="523">
                <a:moveTo>
                  <a:pt x="417" y="519"/>
                </a:moveTo>
                <a:lnTo>
                  <a:pt x="422" y="504"/>
                </a:lnTo>
                <a:lnTo>
                  <a:pt x="437" y="500"/>
                </a:lnTo>
                <a:lnTo>
                  <a:pt x="451" y="504"/>
                </a:lnTo>
                <a:lnTo>
                  <a:pt x="471" y="513"/>
                </a:lnTo>
                <a:lnTo>
                  <a:pt x="491" y="519"/>
                </a:lnTo>
                <a:lnTo>
                  <a:pt x="500" y="513"/>
                </a:lnTo>
                <a:lnTo>
                  <a:pt x="506" y="500"/>
                </a:lnTo>
                <a:lnTo>
                  <a:pt x="515" y="490"/>
                </a:lnTo>
                <a:lnTo>
                  <a:pt x="515" y="485"/>
                </a:lnTo>
                <a:lnTo>
                  <a:pt x="515" y="466"/>
                </a:lnTo>
                <a:lnTo>
                  <a:pt x="515" y="452"/>
                </a:lnTo>
                <a:lnTo>
                  <a:pt x="525" y="437"/>
                </a:lnTo>
                <a:lnTo>
                  <a:pt x="541" y="422"/>
                </a:lnTo>
                <a:lnTo>
                  <a:pt x="541" y="412"/>
                </a:lnTo>
                <a:lnTo>
                  <a:pt x="535" y="408"/>
                </a:lnTo>
                <a:lnTo>
                  <a:pt x="535" y="399"/>
                </a:lnTo>
                <a:lnTo>
                  <a:pt x="541" y="384"/>
                </a:lnTo>
                <a:lnTo>
                  <a:pt x="545" y="370"/>
                </a:lnTo>
                <a:lnTo>
                  <a:pt x="545" y="365"/>
                </a:lnTo>
                <a:lnTo>
                  <a:pt x="545" y="336"/>
                </a:lnTo>
                <a:lnTo>
                  <a:pt x="550" y="312"/>
                </a:lnTo>
                <a:lnTo>
                  <a:pt x="535" y="283"/>
                </a:lnTo>
                <a:lnTo>
                  <a:pt x="554" y="259"/>
                </a:lnTo>
                <a:lnTo>
                  <a:pt x="550" y="225"/>
                </a:lnTo>
                <a:lnTo>
                  <a:pt x="545" y="225"/>
                </a:lnTo>
                <a:lnTo>
                  <a:pt x="541" y="225"/>
                </a:lnTo>
                <a:lnTo>
                  <a:pt x="530" y="221"/>
                </a:lnTo>
                <a:lnTo>
                  <a:pt x="525" y="211"/>
                </a:lnTo>
                <a:lnTo>
                  <a:pt x="525" y="197"/>
                </a:lnTo>
                <a:lnTo>
                  <a:pt x="525" y="191"/>
                </a:lnTo>
                <a:lnTo>
                  <a:pt x="525" y="187"/>
                </a:lnTo>
                <a:lnTo>
                  <a:pt x="530" y="183"/>
                </a:lnTo>
                <a:lnTo>
                  <a:pt x="535" y="178"/>
                </a:lnTo>
                <a:lnTo>
                  <a:pt x="535" y="168"/>
                </a:lnTo>
                <a:lnTo>
                  <a:pt x="525" y="164"/>
                </a:lnTo>
                <a:lnTo>
                  <a:pt x="515" y="158"/>
                </a:lnTo>
                <a:lnTo>
                  <a:pt x="491" y="153"/>
                </a:lnTo>
                <a:lnTo>
                  <a:pt x="480" y="153"/>
                </a:lnTo>
                <a:lnTo>
                  <a:pt x="476" y="149"/>
                </a:lnTo>
                <a:lnTo>
                  <a:pt x="471" y="149"/>
                </a:lnTo>
                <a:lnTo>
                  <a:pt x="465" y="144"/>
                </a:lnTo>
                <a:lnTo>
                  <a:pt x="461" y="134"/>
                </a:lnTo>
                <a:lnTo>
                  <a:pt x="461" y="111"/>
                </a:lnTo>
                <a:lnTo>
                  <a:pt x="471" y="86"/>
                </a:lnTo>
                <a:lnTo>
                  <a:pt x="476" y="71"/>
                </a:lnTo>
                <a:lnTo>
                  <a:pt x="480" y="63"/>
                </a:lnTo>
                <a:lnTo>
                  <a:pt x="476" y="63"/>
                </a:lnTo>
                <a:lnTo>
                  <a:pt x="461" y="67"/>
                </a:lnTo>
                <a:lnTo>
                  <a:pt x="446" y="67"/>
                </a:lnTo>
                <a:lnTo>
                  <a:pt x="431" y="63"/>
                </a:lnTo>
                <a:lnTo>
                  <a:pt x="411" y="58"/>
                </a:lnTo>
                <a:lnTo>
                  <a:pt x="391" y="63"/>
                </a:lnTo>
                <a:lnTo>
                  <a:pt x="382" y="67"/>
                </a:lnTo>
                <a:lnTo>
                  <a:pt x="367" y="63"/>
                </a:lnTo>
                <a:lnTo>
                  <a:pt x="357" y="58"/>
                </a:lnTo>
                <a:lnTo>
                  <a:pt x="352" y="58"/>
                </a:lnTo>
                <a:lnTo>
                  <a:pt x="348" y="58"/>
                </a:lnTo>
                <a:lnTo>
                  <a:pt x="322" y="48"/>
                </a:lnTo>
                <a:lnTo>
                  <a:pt x="298" y="38"/>
                </a:lnTo>
                <a:lnTo>
                  <a:pt x="272" y="19"/>
                </a:lnTo>
                <a:lnTo>
                  <a:pt x="253" y="4"/>
                </a:lnTo>
                <a:lnTo>
                  <a:pt x="248" y="0"/>
                </a:lnTo>
                <a:lnTo>
                  <a:pt x="243" y="0"/>
                </a:lnTo>
                <a:lnTo>
                  <a:pt x="238" y="0"/>
                </a:lnTo>
                <a:lnTo>
                  <a:pt x="228" y="4"/>
                </a:lnTo>
                <a:lnTo>
                  <a:pt x="218" y="10"/>
                </a:lnTo>
                <a:lnTo>
                  <a:pt x="213" y="19"/>
                </a:lnTo>
                <a:lnTo>
                  <a:pt x="203" y="33"/>
                </a:lnTo>
                <a:lnTo>
                  <a:pt x="189" y="43"/>
                </a:lnTo>
                <a:lnTo>
                  <a:pt x="179" y="52"/>
                </a:lnTo>
                <a:lnTo>
                  <a:pt x="174" y="58"/>
                </a:lnTo>
                <a:lnTo>
                  <a:pt x="174" y="63"/>
                </a:lnTo>
                <a:lnTo>
                  <a:pt x="179" y="67"/>
                </a:lnTo>
                <a:lnTo>
                  <a:pt x="179" y="71"/>
                </a:lnTo>
                <a:lnTo>
                  <a:pt x="174" y="82"/>
                </a:lnTo>
                <a:lnTo>
                  <a:pt x="168" y="92"/>
                </a:lnTo>
                <a:lnTo>
                  <a:pt x="164" y="96"/>
                </a:lnTo>
                <a:lnTo>
                  <a:pt x="159" y="105"/>
                </a:lnTo>
                <a:lnTo>
                  <a:pt x="159" y="120"/>
                </a:lnTo>
                <a:lnTo>
                  <a:pt x="154" y="144"/>
                </a:lnTo>
                <a:lnTo>
                  <a:pt x="149" y="149"/>
                </a:lnTo>
                <a:lnTo>
                  <a:pt x="139" y="149"/>
                </a:lnTo>
                <a:lnTo>
                  <a:pt x="129" y="149"/>
                </a:lnTo>
                <a:lnTo>
                  <a:pt x="124" y="153"/>
                </a:lnTo>
                <a:lnTo>
                  <a:pt x="124" y="164"/>
                </a:lnTo>
                <a:lnTo>
                  <a:pt x="124" y="172"/>
                </a:lnTo>
                <a:lnTo>
                  <a:pt x="114" y="197"/>
                </a:lnTo>
                <a:lnTo>
                  <a:pt x="105" y="202"/>
                </a:lnTo>
                <a:lnTo>
                  <a:pt x="94" y="202"/>
                </a:lnTo>
                <a:lnTo>
                  <a:pt x="79" y="202"/>
                </a:lnTo>
                <a:lnTo>
                  <a:pt x="65" y="197"/>
                </a:lnTo>
                <a:lnTo>
                  <a:pt x="50" y="191"/>
                </a:lnTo>
                <a:lnTo>
                  <a:pt x="45" y="187"/>
                </a:lnTo>
                <a:lnTo>
                  <a:pt x="35" y="183"/>
                </a:lnTo>
                <a:lnTo>
                  <a:pt x="31" y="187"/>
                </a:lnTo>
                <a:lnTo>
                  <a:pt x="25" y="191"/>
                </a:lnTo>
                <a:lnTo>
                  <a:pt x="16" y="216"/>
                </a:lnTo>
                <a:lnTo>
                  <a:pt x="10" y="225"/>
                </a:lnTo>
                <a:lnTo>
                  <a:pt x="5" y="225"/>
                </a:lnTo>
                <a:lnTo>
                  <a:pt x="5" y="231"/>
                </a:lnTo>
                <a:lnTo>
                  <a:pt x="0" y="235"/>
                </a:lnTo>
                <a:lnTo>
                  <a:pt x="5" y="250"/>
                </a:lnTo>
                <a:lnTo>
                  <a:pt x="16" y="254"/>
                </a:lnTo>
                <a:lnTo>
                  <a:pt x="25" y="259"/>
                </a:lnTo>
                <a:lnTo>
                  <a:pt x="45" y="264"/>
                </a:lnTo>
                <a:lnTo>
                  <a:pt x="55" y="269"/>
                </a:lnTo>
                <a:lnTo>
                  <a:pt x="59" y="273"/>
                </a:lnTo>
                <a:lnTo>
                  <a:pt x="59" y="283"/>
                </a:lnTo>
                <a:lnTo>
                  <a:pt x="59" y="292"/>
                </a:lnTo>
                <a:lnTo>
                  <a:pt x="55" y="302"/>
                </a:lnTo>
                <a:lnTo>
                  <a:pt x="55" y="312"/>
                </a:lnTo>
                <a:lnTo>
                  <a:pt x="59" y="321"/>
                </a:lnTo>
                <a:lnTo>
                  <a:pt x="70" y="326"/>
                </a:lnTo>
                <a:lnTo>
                  <a:pt x="74" y="336"/>
                </a:lnTo>
                <a:lnTo>
                  <a:pt x="79" y="340"/>
                </a:lnTo>
                <a:lnTo>
                  <a:pt x="90" y="346"/>
                </a:lnTo>
                <a:lnTo>
                  <a:pt x="99" y="355"/>
                </a:lnTo>
                <a:lnTo>
                  <a:pt x="105" y="359"/>
                </a:lnTo>
                <a:lnTo>
                  <a:pt x="105" y="365"/>
                </a:lnTo>
                <a:lnTo>
                  <a:pt x="109" y="374"/>
                </a:lnTo>
                <a:lnTo>
                  <a:pt x="114" y="384"/>
                </a:lnTo>
                <a:lnTo>
                  <a:pt x="109" y="393"/>
                </a:lnTo>
                <a:lnTo>
                  <a:pt x="99" y="408"/>
                </a:lnTo>
                <a:lnTo>
                  <a:pt x="90" y="433"/>
                </a:lnTo>
                <a:lnTo>
                  <a:pt x="79" y="452"/>
                </a:lnTo>
                <a:lnTo>
                  <a:pt x="74" y="466"/>
                </a:lnTo>
                <a:lnTo>
                  <a:pt x="79" y="485"/>
                </a:lnTo>
                <a:lnTo>
                  <a:pt x="79" y="504"/>
                </a:lnTo>
                <a:lnTo>
                  <a:pt x="79" y="519"/>
                </a:lnTo>
                <a:lnTo>
                  <a:pt x="79" y="523"/>
                </a:lnTo>
                <a:lnTo>
                  <a:pt x="99" y="523"/>
                </a:lnTo>
                <a:lnTo>
                  <a:pt x="114" y="519"/>
                </a:lnTo>
                <a:lnTo>
                  <a:pt x="120" y="504"/>
                </a:lnTo>
                <a:lnTo>
                  <a:pt x="124" y="494"/>
                </a:lnTo>
                <a:lnTo>
                  <a:pt x="129" y="490"/>
                </a:lnTo>
                <a:lnTo>
                  <a:pt x="139" y="494"/>
                </a:lnTo>
                <a:lnTo>
                  <a:pt x="149" y="500"/>
                </a:lnTo>
                <a:lnTo>
                  <a:pt x="154" y="500"/>
                </a:lnTo>
                <a:lnTo>
                  <a:pt x="194" y="500"/>
                </a:lnTo>
                <a:lnTo>
                  <a:pt x="228" y="494"/>
                </a:lnTo>
                <a:lnTo>
                  <a:pt x="233" y="494"/>
                </a:lnTo>
                <a:lnTo>
                  <a:pt x="248" y="494"/>
                </a:lnTo>
                <a:lnTo>
                  <a:pt x="268" y="494"/>
                </a:lnTo>
                <a:lnTo>
                  <a:pt x="283" y="500"/>
                </a:lnTo>
                <a:lnTo>
                  <a:pt x="313" y="504"/>
                </a:lnTo>
                <a:lnTo>
                  <a:pt x="322" y="504"/>
                </a:lnTo>
                <a:lnTo>
                  <a:pt x="327" y="504"/>
                </a:lnTo>
                <a:lnTo>
                  <a:pt x="332" y="500"/>
                </a:lnTo>
                <a:lnTo>
                  <a:pt x="342" y="494"/>
                </a:lnTo>
                <a:lnTo>
                  <a:pt x="357" y="485"/>
                </a:lnTo>
                <a:lnTo>
                  <a:pt x="372" y="480"/>
                </a:lnTo>
                <a:lnTo>
                  <a:pt x="376" y="480"/>
                </a:lnTo>
                <a:lnTo>
                  <a:pt x="382" y="490"/>
                </a:lnTo>
                <a:lnTo>
                  <a:pt x="382" y="500"/>
                </a:lnTo>
                <a:lnTo>
                  <a:pt x="387" y="509"/>
                </a:lnTo>
                <a:lnTo>
                  <a:pt x="402" y="513"/>
                </a:lnTo>
                <a:lnTo>
                  <a:pt x="411" y="519"/>
                </a:lnTo>
                <a:lnTo>
                  <a:pt x="417" y="519"/>
                </a:lnTo>
                <a:close/>
              </a:path>
            </a:pathLst>
          </a:custGeom>
          <a:solidFill>
            <a:srgbClr val="005027"/>
          </a:solidFill>
          <a:ln w="9525">
            <a:solidFill>
              <a:schemeClr val="bg1"/>
            </a:solidFill>
            <a:round/>
            <a:headEnd/>
            <a:tailEnd/>
          </a:ln>
        </p:spPr>
        <p:txBody>
          <a:bodyPr/>
          <a:lstStyle/>
          <a:p>
            <a:endParaRPr lang="ro-RO"/>
          </a:p>
        </p:txBody>
      </p:sp>
      <p:sp>
        <p:nvSpPr>
          <p:cNvPr id="12310" name="Freeform 19"/>
          <p:cNvSpPr>
            <a:spLocks/>
          </p:cNvSpPr>
          <p:nvPr/>
        </p:nvSpPr>
        <p:spPr bwMode="auto">
          <a:xfrm>
            <a:off x="4316413" y="4695825"/>
            <a:ext cx="1203325" cy="554038"/>
          </a:xfrm>
          <a:custGeom>
            <a:avLst/>
            <a:gdLst>
              <a:gd name="T0" fmla="*/ 2147483647 w 935"/>
              <a:gd name="T1" fmla="*/ 2147483647 h 401"/>
              <a:gd name="T2" fmla="*/ 2147483647 w 935"/>
              <a:gd name="T3" fmla="*/ 2147483647 h 401"/>
              <a:gd name="T4" fmla="*/ 2147483647 w 935"/>
              <a:gd name="T5" fmla="*/ 2147483647 h 401"/>
              <a:gd name="T6" fmla="*/ 2147483647 w 935"/>
              <a:gd name="T7" fmla="*/ 2147483647 h 401"/>
              <a:gd name="T8" fmla="*/ 2147483647 w 935"/>
              <a:gd name="T9" fmla="*/ 2147483647 h 401"/>
              <a:gd name="T10" fmla="*/ 2147483647 w 935"/>
              <a:gd name="T11" fmla="*/ 2147483647 h 401"/>
              <a:gd name="T12" fmla="*/ 2147483647 w 935"/>
              <a:gd name="T13" fmla="*/ 0 h 401"/>
              <a:gd name="T14" fmla="*/ 2147483647 w 935"/>
              <a:gd name="T15" fmla="*/ 2147483647 h 401"/>
              <a:gd name="T16" fmla="*/ 2147483647 w 935"/>
              <a:gd name="T17" fmla="*/ 2147483647 h 401"/>
              <a:gd name="T18" fmla="*/ 2147483647 w 935"/>
              <a:gd name="T19" fmla="*/ 2147483647 h 401"/>
              <a:gd name="T20" fmla="*/ 2147483647 w 935"/>
              <a:gd name="T21" fmla="*/ 2147483647 h 401"/>
              <a:gd name="T22" fmla="*/ 2147483647 w 935"/>
              <a:gd name="T23" fmla="*/ 2147483647 h 401"/>
              <a:gd name="T24" fmla="*/ 2147483647 w 935"/>
              <a:gd name="T25" fmla="*/ 2147483647 h 401"/>
              <a:gd name="T26" fmla="*/ 2147483647 w 935"/>
              <a:gd name="T27" fmla="*/ 2147483647 h 401"/>
              <a:gd name="T28" fmla="*/ 2147483647 w 935"/>
              <a:gd name="T29" fmla="*/ 2147483647 h 401"/>
              <a:gd name="T30" fmla="*/ 2147483647 w 935"/>
              <a:gd name="T31" fmla="*/ 2147483647 h 401"/>
              <a:gd name="T32" fmla="*/ 2147483647 w 935"/>
              <a:gd name="T33" fmla="*/ 2147483647 h 401"/>
              <a:gd name="T34" fmla="*/ 2147483647 w 935"/>
              <a:gd name="T35" fmla="*/ 2147483647 h 401"/>
              <a:gd name="T36" fmla="*/ 2147483647 w 935"/>
              <a:gd name="T37" fmla="*/ 2147483647 h 401"/>
              <a:gd name="T38" fmla="*/ 2147483647 w 935"/>
              <a:gd name="T39" fmla="*/ 2147483647 h 401"/>
              <a:gd name="T40" fmla="*/ 2147483647 w 935"/>
              <a:gd name="T41" fmla="*/ 2147483647 h 401"/>
              <a:gd name="T42" fmla="*/ 2147483647 w 935"/>
              <a:gd name="T43" fmla="*/ 2147483647 h 401"/>
              <a:gd name="T44" fmla="*/ 2147483647 w 935"/>
              <a:gd name="T45" fmla="*/ 2147483647 h 401"/>
              <a:gd name="T46" fmla="*/ 2147483647 w 935"/>
              <a:gd name="T47" fmla="*/ 2147483647 h 401"/>
              <a:gd name="T48" fmla="*/ 2147483647 w 935"/>
              <a:gd name="T49" fmla="*/ 2147483647 h 401"/>
              <a:gd name="T50" fmla="*/ 2147483647 w 935"/>
              <a:gd name="T51" fmla="*/ 2147483647 h 401"/>
              <a:gd name="T52" fmla="*/ 2147483647 w 935"/>
              <a:gd name="T53" fmla="*/ 2147483647 h 401"/>
              <a:gd name="T54" fmla="*/ 2147483647 w 935"/>
              <a:gd name="T55" fmla="*/ 2147483647 h 401"/>
              <a:gd name="T56" fmla="*/ 2147483647 w 935"/>
              <a:gd name="T57" fmla="*/ 2147483647 h 401"/>
              <a:gd name="T58" fmla="*/ 2147483647 w 935"/>
              <a:gd name="T59" fmla="*/ 2147483647 h 401"/>
              <a:gd name="T60" fmla="*/ 2147483647 w 935"/>
              <a:gd name="T61" fmla="*/ 2147483647 h 401"/>
              <a:gd name="T62" fmla="*/ 2147483647 w 935"/>
              <a:gd name="T63" fmla="*/ 2147483647 h 401"/>
              <a:gd name="T64" fmla="*/ 2147483647 w 935"/>
              <a:gd name="T65" fmla="*/ 2147483647 h 401"/>
              <a:gd name="T66" fmla="*/ 2147483647 w 935"/>
              <a:gd name="T67" fmla="*/ 2147483647 h 401"/>
              <a:gd name="T68" fmla="*/ 2147483647 w 935"/>
              <a:gd name="T69" fmla="*/ 2147483647 h 401"/>
              <a:gd name="T70" fmla="*/ 2147483647 w 935"/>
              <a:gd name="T71" fmla="*/ 2147483647 h 401"/>
              <a:gd name="T72" fmla="*/ 2147483647 w 935"/>
              <a:gd name="T73" fmla="*/ 2147483647 h 401"/>
              <a:gd name="T74" fmla="*/ 2147483647 w 935"/>
              <a:gd name="T75" fmla="*/ 2147483647 h 401"/>
              <a:gd name="T76" fmla="*/ 2147483647 w 935"/>
              <a:gd name="T77" fmla="*/ 2147483647 h 401"/>
              <a:gd name="T78" fmla="*/ 2147483647 w 935"/>
              <a:gd name="T79" fmla="*/ 2147483647 h 401"/>
              <a:gd name="T80" fmla="*/ 2147483647 w 935"/>
              <a:gd name="T81" fmla="*/ 2147483647 h 401"/>
              <a:gd name="T82" fmla="*/ 2147483647 w 935"/>
              <a:gd name="T83" fmla="*/ 2147483647 h 401"/>
              <a:gd name="T84" fmla="*/ 2147483647 w 935"/>
              <a:gd name="T85" fmla="*/ 2147483647 h 401"/>
              <a:gd name="T86" fmla="*/ 2147483647 w 935"/>
              <a:gd name="T87" fmla="*/ 2147483647 h 401"/>
              <a:gd name="T88" fmla="*/ 2147483647 w 935"/>
              <a:gd name="T89" fmla="*/ 2147483647 h 401"/>
              <a:gd name="T90" fmla="*/ 0 w 935"/>
              <a:gd name="T91" fmla="*/ 2147483647 h 401"/>
              <a:gd name="T92" fmla="*/ 2147483647 w 935"/>
              <a:gd name="T93" fmla="*/ 2147483647 h 401"/>
              <a:gd name="T94" fmla="*/ 2147483647 w 935"/>
              <a:gd name="T95" fmla="*/ 2147483647 h 401"/>
              <a:gd name="T96" fmla="*/ 2147483647 w 935"/>
              <a:gd name="T97" fmla="*/ 2147483647 h 401"/>
              <a:gd name="T98" fmla="*/ 2147483647 w 935"/>
              <a:gd name="T99" fmla="*/ 2147483647 h 401"/>
              <a:gd name="T100" fmla="*/ 2147483647 w 935"/>
              <a:gd name="T101" fmla="*/ 2147483647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35"/>
              <a:gd name="T154" fmla="*/ 0 h 401"/>
              <a:gd name="T155" fmla="*/ 935 w 935"/>
              <a:gd name="T156" fmla="*/ 401 h 40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35" h="401">
                <a:moveTo>
                  <a:pt x="65" y="58"/>
                </a:moveTo>
                <a:lnTo>
                  <a:pt x="80" y="62"/>
                </a:lnTo>
                <a:lnTo>
                  <a:pt x="95" y="62"/>
                </a:lnTo>
                <a:lnTo>
                  <a:pt x="100" y="58"/>
                </a:lnTo>
                <a:lnTo>
                  <a:pt x="105" y="47"/>
                </a:lnTo>
                <a:lnTo>
                  <a:pt x="105" y="34"/>
                </a:lnTo>
                <a:lnTo>
                  <a:pt x="115" y="19"/>
                </a:lnTo>
                <a:lnTo>
                  <a:pt x="124" y="13"/>
                </a:lnTo>
                <a:lnTo>
                  <a:pt x="135" y="13"/>
                </a:lnTo>
                <a:lnTo>
                  <a:pt x="150" y="24"/>
                </a:lnTo>
                <a:lnTo>
                  <a:pt x="150" y="28"/>
                </a:lnTo>
                <a:lnTo>
                  <a:pt x="155" y="39"/>
                </a:lnTo>
                <a:lnTo>
                  <a:pt x="159" y="47"/>
                </a:lnTo>
                <a:lnTo>
                  <a:pt x="170" y="53"/>
                </a:lnTo>
                <a:lnTo>
                  <a:pt x="194" y="53"/>
                </a:lnTo>
                <a:lnTo>
                  <a:pt x="200" y="47"/>
                </a:lnTo>
                <a:lnTo>
                  <a:pt x="205" y="39"/>
                </a:lnTo>
                <a:lnTo>
                  <a:pt x="209" y="13"/>
                </a:lnTo>
                <a:lnTo>
                  <a:pt x="209" y="5"/>
                </a:lnTo>
                <a:lnTo>
                  <a:pt x="220" y="0"/>
                </a:lnTo>
                <a:lnTo>
                  <a:pt x="229" y="0"/>
                </a:lnTo>
                <a:lnTo>
                  <a:pt x="224" y="9"/>
                </a:lnTo>
                <a:lnTo>
                  <a:pt x="229" y="19"/>
                </a:lnTo>
                <a:lnTo>
                  <a:pt x="235" y="24"/>
                </a:lnTo>
                <a:lnTo>
                  <a:pt x="244" y="28"/>
                </a:lnTo>
                <a:lnTo>
                  <a:pt x="264" y="39"/>
                </a:lnTo>
                <a:lnTo>
                  <a:pt x="279" y="43"/>
                </a:lnTo>
                <a:lnTo>
                  <a:pt x="289" y="47"/>
                </a:lnTo>
                <a:lnTo>
                  <a:pt x="299" y="47"/>
                </a:lnTo>
                <a:lnTo>
                  <a:pt x="314" y="53"/>
                </a:lnTo>
                <a:lnTo>
                  <a:pt x="329" y="58"/>
                </a:lnTo>
                <a:lnTo>
                  <a:pt x="349" y="62"/>
                </a:lnTo>
                <a:lnTo>
                  <a:pt x="368" y="58"/>
                </a:lnTo>
                <a:lnTo>
                  <a:pt x="383" y="53"/>
                </a:lnTo>
                <a:lnTo>
                  <a:pt x="388" y="53"/>
                </a:lnTo>
                <a:lnTo>
                  <a:pt x="399" y="58"/>
                </a:lnTo>
                <a:lnTo>
                  <a:pt x="408" y="68"/>
                </a:lnTo>
                <a:lnTo>
                  <a:pt x="429" y="77"/>
                </a:lnTo>
                <a:lnTo>
                  <a:pt x="448" y="77"/>
                </a:lnTo>
                <a:lnTo>
                  <a:pt x="464" y="77"/>
                </a:lnTo>
                <a:lnTo>
                  <a:pt x="473" y="72"/>
                </a:lnTo>
                <a:lnTo>
                  <a:pt x="493" y="72"/>
                </a:lnTo>
                <a:lnTo>
                  <a:pt x="518" y="72"/>
                </a:lnTo>
                <a:lnTo>
                  <a:pt x="542" y="72"/>
                </a:lnTo>
                <a:lnTo>
                  <a:pt x="558" y="72"/>
                </a:lnTo>
                <a:lnTo>
                  <a:pt x="577" y="72"/>
                </a:lnTo>
                <a:lnTo>
                  <a:pt x="597" y="72"/>
                </a:lnTo>
                <a:lnTo>
                  <a:pt x="617" y="72"/>
                </a:lnTo>
                <a:lnTo>
                  <a:pt x="632" y="72"/>
                </a:lnTo>
                <a:lnTo>
                  <a:pt x="643" y="72"/>
                </a:lnTo>
                <a:lnTo>
                  <a:pt x="657" y="72"/>
                </a:lnTo>
                <a:lnTo>
                  <a:pt x="667" y="68"/>
                </a:lnTo>
                <a:lnTo>
                  <a:pt x="677" y="47"/>
                </a:lnTo>
                <a:lnTo>
                  <a:pt x="682" y="39"/>
                </a:lnTo>
                <a:lnTo>
                  <a:pt x="682" y="34"/>
                </a:lnTo>
                <a:lnTo>
                  <a:pt x="687" y="34"/>
                </a:lnTo>
                <a:lnTo>
                  <a:pt x="692" y="39"/>
                </a:lnTo>
                <a:lnTo>
                  <a:pt x="692" y="58"/>
                </a:lnTo>
                <a:lnTo>
                  <a:pt x="692" y="87"/>
                </a:lnTo>
                <a:lnTo>
                  <a:pt x="687" y="111"/>
                </a:lnTo>
                <a:lnTo>
                  <a:pt x="687" y="121"/>
                </a:lnTo>
                <a:lnTo>
                  <a:pt x="717" y="115"/>
                </a:lnTo>
                <a:lnTo>
                  <a:pt x="717" y="106"/>
                </a:lnTo>
                <a:lnTo>
                  <a:pt x="712" y="92"/>
                </a:lnTo>
                <a:lnTo>
                  <a:pt x="712" y="87"/>
                </a:lnTo>
                <a:lnTo>
                  <a:pt x="717" y="87"/>
                </a:lnTo>
                <a:lnTo>
                  <a:pt x="727" y="87"/>
                </a:lnTo>
                <a:lnTo>
                  <a:pt x="741" y="96"/>
                </a:lnTo>
                <a:lnTo>
                  <a:pt x="772" y="121"/>
                </a:lnTo>
                <a:lnTo>
                  <a:pt x="791" y="130"/>
                </a:lnTo>
                <a:lnTo>
                  <a:pt x="806" y="130"/>
                </a:lnTo>
                <a:lnTo>
                  <a:pt x="811" y="130"/>
                </a:lnTo>
                <a:lnTo>
                  <a:pt x="821" y="130"/>
                </a:lnTo>
                <a:lnTo>
                  <a:pt x="841" y="136"/>
                </a:lnTo>
                <a:lnTo>
                  <a:pt x="861" y="140"/>
                </a:lnTo>
                <a:lnTo>
                  <a:pt x="881" y="145"/>
                </a:lnTo>
                <a:lnTo>
                  <a:pt x="906" y="145"/>
                </a:lnTo>
                <a:lnTo>
                  <a:pt x="926" y="149"/>
                </a:lnTo>
                <a:lnTo>
                  <a:pt x="931" y="160"/>
                </a:lnTo>
                <a:lnTo>
                  <a:pt x="935" y="164"/>
                </a:lnTo>
                <a:lnTo>
                  <a:pt x="935" y="179"/>
                </a:lnTo>
                <a:lnTo>
                  <a:pt x="926" y="189"/>
                </a:lnTo>
                <a:lnTo>
                  <a:pt x="915" y="198"/>
                </a:lnTo>
                <a:lnTo>
                  <a:pt x="911" y="198"/>
                </a:lnTo>
                <a:lnTo>
                  <a:pt x="911" y="203"/>
                </a:lnTo>
                <a:lnTo>
                  <a:pt x="906" y="213"/>
                </a:lnTo>
                <a:lnTo>
                  <a:pt x="896" y="223"/>
                </a:lnTo>
                <a:lnTo>
                  <a:pt x="881" y="227"/>
                </a:lnTo>
                <a:lnTo>
                  <a:pt x="861" y="227"/>
                </a:lnTo>
                <a:lnTo>
                  <a:pt x="846" y="232"/>
                </a:lnTo>
                <a:lnTo>
                  <a:pt x="826" y="232"/>
                </a:lnTo>
                <a:lnTo>
                  <a:pt x="821" y="232"/>
                </a:lnTo>
                <a:lnTo>
                  <a:pt x="796" y="251"/>
                </a:lnTo>
                <a:lnTo>
                  <a:pt x="791" y="251"/>
                </a:lnTo>
                <a:lnTo>
                  <a:pt x="782" y="257"/>
                </a:lnTo>
                <a:lnTo>
                  <a:pt x="747" y="261"/>
                </a:lnTo>
                <a:lnTo>
                  <a:pt x="732" y="261"/>
                </a:lnTo>
                <a:lnTo>
                  <a:pt x="712" y="266"/>
                </a:lnTo>
                <a:lnTo>
                  <a:pt x="697" y="271"/>
                </a:lnTo>
                <a:lnTo>
                  <a:pt x="687" y="280"/>
                </a:lnTo>
                <a:lnTo>
                  <a:pt x="677" y="291"/>
                </a:lnTo>
                <a:lnTo>
                  <a:pt x="667" y="300"/>
                </a:lnTo>
                <a:lnTo>
                  <a:pt x="657" y="310"/>
                </a:lnTo>
                <a:lnTo>
                  <a:pt x="652" y="310"/>
                </a:lnTo>
                <a:lnTo>
                  <a:pt x="647" y="310"/>
                </a:lnTo>
                <a:lnTo>
                  <a:pt x="632" y="314"/>
                </a:lnTo>
                <a:lnTo>
                  <a:pt x="617" y="319"/>
                </a:lnTo>
                <a:lnTo>
                  <a:pt x="602" y="319"/>
                </a:lnTo>
                <a:lnTo>
                  <a:pt x="588" y="319"/>
                </a:lnTo>
                <a:lnTo>
                  <a:pt x="567" y="319"/>
                </a:lnTo>
                <a:lnTo>
                  <a:pt x="553" y="319"/>
                </a:lnTo>
                <a:lnTo>
                  <a:pt x="547" y="319"/>
                </a:lnTo>
                <a:lnTo>
                  <a:pt x="523" y="324"/>
                </a:lnTo>
                <a:lnTo>
                  <a:pt x="498" y="324"/>
                </a:lnTo>
                <a:lnTo>
                  <a:pt x="448" y="319"/>
                </a:lnTo>
                <a:lnTo>
                  <a:pt x="388" y="314"/>
                </a:lnTo>
                <a:lnTo>
                  <a:pt x="359" y="319"/>
                </a:lnTo>
                <a:lnTo>
                  <a:pt x="329" y="329"/>
                </a:lnTo>
                <a:lnTo>
                  <a:pt x="299" y="348"/>
                </a:lnTo>
                <a:lnTo>
                  <a:pt x="270" y="358"/>
                </a:lnTo>
                <a:lnTo>
                  <a:pt x="200" y="382"/>
                </a:lnTo>
                <a:lnTo>
                  <a:pt x="130" y="397"/>
                </a:lnTo>
                <a:lnTo>
                  <a:pt x="100" y="401"/>
                </a:lnTo>
                <a:lnTo>
                  <a:pt x="80" y="401"/>
                </a:lnTo>
                <a:lnTo>
                  <a:pt x="75" y="397"/>
                </a:lnTo>
                <a:lnTo>
                  <a:pt x="65" y="382"/>
                </a:lnTo>
                <a:lnTo>
                  <a:pt x="65" y="363"/>
                </a:lnTo>
                <a:lnTo>
                  <a:pt x="70" y="353"/>
                </a:lnTo>
                <a:lnTo>
                  <a:pt x="80" y="348"/>
                </a:lnTo>
                <a:lnTo>
                  <a:pt x="90" y="338"/>
                </a:lnTo>
                <a:lnTo>
                  <a:pt x="90" y="324"/>
                </a:lnTo>
                <a:lnTo>
                  <a:pt x="80" y="310"/>
                </a:lnTo>
                <a:lnTo>
                  <a:pt x="70" y="291"/>
                </a:lnTo>
                <a:lnTo>
                  <a:pt x="41" y="261"/>
                </a:lnTo>
                <a:lnTo>
                  <a:pt x="26" y="251"/>
                </a:lnTo>
                <a:lnTo>
                  <a:pt x="15" y="247"/>
                </a:lnTo>
                <a:lnTo>
                  <a:pt x="6" y="237"/>
                </a:lnTo>
                <a:lnTo>
                  <a:pt x="0" y="227"/>
                </a:lnTo>
                <a:lnTo>
                  <a:pt x="0" y="223"/>
                </a:lnTo>
                <a:lnTo>
                  <a:pt x="10" y="208"/>
                </a:lnTo>
                <a:lnTo>
                  <a:pt x="20" y="189"/>
                </a:lnTo>
                <a:lnTo>
                  <a:pt x="35" y="170"/>
                </a:lnTo>
                <a:lnTo>
                  <a:pt x="61" y="145"/>
                </a:lnTo>
                <a:lnTo>
                  <a:pt x="75" y="136"/>
                </a:lnTo>
                <a:lnTo>
                  <a:pt x="90" y="126"/>
                </a:lnTo>
                <a:lnTo>
                  <a:pt x="105" y="121"/>
                </a:lnTo>
                <a:lnTo>
                  <a:pt x="105" y="111"/>
                </a:lnTo>
                <a:lnTo>
                  <a:pt x="100" y="102"/>
                </a:lnTo>
                <a:lnTo>
                  <a:pt x="90" y="96"/>
                </a:lnTo>
                <a:lnTo>
                  <a:pt x="70" y="92"/>
                </a:lnTo>
                <a:lnTo>
                  <a:pt x="61" y="77"/>
                </a:lnTo>
                <a:lnTo>
                  <a:pt x="55" y="68"/>
                </a:lnTo>
                <a:lnTo>
                  <a:pt x="50" y="62"/>
                </a:lnTo>
                <a:lnTo>
                  <a:pt x="55" y="58"/>
                </a:lnTo>
                <a:lnTo>
                  <a:pt x="65" y="58"/>
                </a:lnTo>
                <a:close/>
              </a:path>
            </a:pathLst>
          </a:custGeom>
          <a:solidFill>
            <a:srgbClr val="005027"/>
          </a:solidFill>
          <a:ln w="9525">
            <a:solidFill>
              <a:schemeClr val="bg1"/>
            </a:solidFill>
            <a:round/>
            <a:headEnd/>
            <a:tailEnd/>
          </a:ln>
        </p:spPr>
        <p:txBody>
          <a:bodyPr/>
          <a:lstStyle/>
          <a:p>
            <a:endParaRPr lang="ro-RO"/>
          </a:p>
        </p:txBody>
      </p:sp>
      <p:sp>
        <p:nvSpPr>
          <p:cNvPr id="12311" name="Freeform 20"/>
          <p:cNvSpPr>
            <a:spLocks/>
          </p:cNvSpPr>
          <p:nvPr/>
        </p:nvSpPr>
        <p:spPr bwMode="auto">
          <a:xfrm>
            <a:off x="4945063" y="3116263"/>
            <a:ext cx="665162" cy="765175"/>
          </a:xfrm>
          <a:custGeom>
            <a:avLst/>
            <a:gdLst>
              <a:gd name="T0" fmla="*/ 2147483647 w 518"/>
              <a:gd name="T1" fmla="*/ 2147483647 h 554"/>
              <a:gd name="T2" fmla="*/ 2147483647 w 518"/>
              <a:gd name="T3" fmla="*/ 2147483647 h 554"/>
              <a:gd name="T4" fmla="*/ 2147483647 w 518"/>
              <a:gd name="T5" fmla="*/ 2147483647 h 554"/>
              <a:gd name="T6" fmla="*/ 2147483647 w 518"/>
              <a:gd name="T7" fmla="*/ 2147483647 h 554"/>
              <a:gd name="T8" fmla="*/ 2147483647 w 518"/>
              <a:gd name="T9" fmla="*/ 2147483647 h 554"/>
              <a:gd name="T10" fmla="*/ 2147483647 w 518"/>
              <a:gd name="T11" fmla="*/ 2147483647 h 554"/>
              <a:gd name="T12" fmla="*/ 2147483647 w 518"/>
              <a:gd name="T13" fmla="*/ 2147483647 h 554"/>
              <a:gd name="T14" fmla="*/ 2147483647 w 518"/>
              <a:gd name="T15" fmla="*/ 2147483647 h 554"/>
              <a:gd name="T16" fmla="*/ 2147483647 w 518"/>
              <a:gd name="T17" fmla="*/ 2147483647 h 554"/>
              <a:gd name="T18" fmla="*/ 0 w 518"/>
              <a:gd name="T19" fmla="*/ 2147483647 h 554"/>
              <a:gd name="T20" fmla="*/ 2147483647 w 518"/>
              <a:gd name="T21" fmla="*/ 2147483647 h 554"/>
              <a:gd name="T22" fmla="*/ 2147483647 w 518"/>
              <a:gd name="T23" fmla="*/ 2147483647 h 554"/>
              <a:gd name="T24" fmla="*/ 2147483647 w 518"/>
              <a:gd name="T25" fmla="*/ 2147483647 h 554"/>
              <a:gd name="T26" fmla="*/ 2147483647 w 518"/>
              <a:gd name="T27" fmla="*/ 2147483647 h 554"/>
              <a:gd name="T28" fmla="*/ 2147483647 w 518"/>
              <a:gd name="T29" fmla="*/ 2147483647 h 554"/>
              <a:gd name="T30" fmla="*/ 2147483647 w 518"/>
              <a:gd name="T31" fmla="*/ 2147483647 h 554"/>
              <a:gd name="T32" fmla="*/ 2147483647 w 518"/>
              <a:gd name="T33" fmla="*/ 2147483647 h 554"/>
              <a:gd name="T34" fmla="*/ 2147483647 w 518"/>
              <a:gd name="T35" fmla="*/ 2147483647 h 554"/>
              <a:gd name="T36" fmla="*/ 2147483647 w 518"/>
              <a:gd name="T37" fmla="*/ 2147483647 h 554"/>
              <a:gd name="T38" fmla="*/ 2147483647 w 518"/>
              <a:gd name="T39" fmla="*/ 2147483647 h 554"/>
              <a:gd name="T40" fmla="*/ 2147483647 w 518"/>
              <a:gd name="T41" fmla="*/ 2147483647 h 554"/>
              <a:gd name="T42" fmla="*/ 2147483647 w 518"/>
              <a:gd name="T43" fmla="*/ 2147483647 h 554"/>
              <a:gd name="T44" fmla="*/ 2147483647 w 518"/>
              <a:gd name="T45" fmla="*/ 2147483647 h 554"/>
              <a:gd name="T46" fmla="*/ 2147483647 w 518"/>
              <a:gd name="T47" fmla="*/ 2147483647 h 554"/>
              <a:gd name="T48" fmla="*/ 2147483647 w 518"/>
              <a:gd name="T49" fmla="*/ 2147483647 h 554"/>
              <a:gd name="T50" fmla="*/ 2147483647 w 518"/>
              <a:gd name="T51" fmla="*/ 2147483647 h 554"/>
              <a:gd name="T52" fmla="*/ 2147483647 w 518"/>
              <a:gd name="T53" fmla="*/ 2147483647 h 554"/>
              <a:gd name="T54" fmla="*/ 2147483647 w 518"/>
              <a:gd name="T55" fmla="*/ 2147483647 h 554"/>
              <a:gd name="T56" fmla="*/ 2147483647 w 518"/>
              <a:gd name="T57" fmla="*/ 0 h 554"/>
              <a:gd name="T58" fmla="*/ 2147483647 w 518"/>
              <a:gd name="T59" fmla="*/ 2147483647 h 554"/>
              <a:gd name="T60" fmla="*/ 2147483647 w 518"/>
              <a:gd name="T61" fmla="*/ 2147483647 h 554"/>
              <a:gd name="T62" fmla="*/ 2147483647 w 518"/>
              <a:gd name="T63" fmla="*/ 2147483647 h 554"/>
              <a:gd name="T64" fmla="*/ 2147483647 w 518"/>
              <a:gd name="T65" fmla="*/ 2147483647 h 554"/>
              <a:gd name="T66" fmla="*/ 2147483647 w 518"/>
              <a:gd name="T67" fmla="*/ 2147483647 h 554"/>
              <a:gd name="T68" fmla="*/ 2147483647 w 518"/>
              <a:gd name="T69" fmla="*/ 2147483647 h 554"/>
              <a:gd name="T70" fmla="*/ 2147483647 w 518"/>
              <a:gd name="T71" fmla="*/ 2147483647 h 554"/>
              <a:gd name="T72" fmla="*/ 2147483647 w 518"/>
              <a:gd name="T73" fmla="*/ 2147483647 h 554"/>
              <a:gd name="T74" fmla="*/ 2147483647 w 518"/>
              <a:gd name="T75" fmla="*/ 2147483647 h 554"/>
              <a:gd name="T76" fmla="*/ 2147483647 w 518"/>
              <a:gd name="T77" fmla="*/ 2147483647 h 554"/>
              <a:gd name="T78" fmla="*/ 2147483647 w 518"/>
              <a:gd name="T79" fmla="*/ 2147483647 h 554"/>
              <a:gd name="T80" fmla="*/ 2147483647 w 518"/>
              <a:gd name="T81" fmla="*/ 2147483647 h 554"/>
              <a:gd name="T82" fmla="*/ 2147483647 w 518"/>
              <a:gd name="T83" fmla="*/ 2147483647 h 554"/>
              <a:gd name="T84" fmla="*/ 2147483647 w 518"/>
              <a:gd name="T85" fmla="*/ 2147483647 h 554"/>
              <a:gd name="T86" fmla="*/ 2147483647 w 518"/>
              <a:gd name="T87" fmla="*/ 2147483647 h 554"/>
              <a:gd name="T88" fmla="*/ 2147483647 w 518"/>
              <a:gd name="T89" fmla="*/ 2147483647 h 554"/>
              <a:gd name="T90" fmla="*/ 2147483647 w 518"/>
              <a:gd name="T91" fmla="*/ 2147483647 h 554"/>
              <a:gd name="T92" fmla="*/ 2147483647 w 518"/>
              <a:gd name="T93" fmla="*/ 2147483647 h 554"/>
              <a:gd name="T94" fmla="*/ 2147483647 w 518"/>
              <a:gd name="T95" fmla="*/ 2147483647 h 554"/>
              <a:gd name="T96" fmla="*/ 2147483647 w 518"/>
              <a:gd name="T97" fmla="*/ 2147483647 h 554"/>
              <a:gd name="T98" fmla="*/ 2147483647 w 518"/>
              <a:gd name="T99" fmla="*/ 2147483647 h 554"/>
              <a:gd name="T100" fmla="*/ 2147483647 w 518"/>
              <a:gd name="T101" fmla="*/ 2147483647 h 554"/>
              <a:gd name="T102" fmla="*/ 2147483647 w 518"/>
              <a:gd name="T103" fmla="*/ 2147483647 h 554"/>
              <a:gd name="T104" fmla="*/ 2147483647 w 518"/>
              <a:gd name="T105" fmla="*/ 2147483647 h 554"/>
              <a:gd name="T106" fmla="*/ 2147483647 w 518"/>
              <a:gd name="T107" fmla="*/ 2147483647 h 554"/>
              <a:gd name="T108" fmla="*/ 2147483647 w 518"/>
              <a:gd name="T109" fmla="*/ 2147483647 h 554"/>
              <a:gd name="T110" fmla="*/ 2147483647 w 518"/>
              <a:gd name="T111" fmla="*/ 2147483647 h 554"/>
              <a:gd name="T112" fmla="*/ 2147483647 w 518"/>
              <a:gd name="T113" fmla="*/ 2147483647 h 554"/>
              <a:gd name="T114" fmla="*/ 2147483647 w 518"/>
              <a:gd name="T115" fmla="*/ 2147483647 h 554"/>
              <a:gd name="T116" fmla="*/ 2147483647 w 518"/>
              <a:gd name="T117" fmla="*/ 2147483647 h 55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18"/>
              <a:gd name="T178" fmla="*/ 0 h 554"/>
              <a:gd name="T179" fmla="*/ 518 w 518"/>
              <a:gd name="T180" fmla="*/ 554 h 55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18" h="554">
                <a:moveTo>
                  <a:pt x="177" y="487"/>
                </a:moveTo>
                <a:lnTo>
                  <a:pt x="173" y="487"/>
                </a:lnTo>
                <a:lnTo>
                  <a:pt x="168" y="478"/>
                </a:lnTo>
                <a:lnTo>
                  <a:pt x="162" y="468"/>
                </a:lnTo>
                <a:lnTo>
                  <a:pt x="158" y="453"/>
                </a:lnTo>
                <a:lnTo>
                  <a:pt x="158" y="419"/>
                </a:lnTo>
                <a:lnTo>
                  <a:pt x="158" y="405"/>
                </a:lnTo>
                <a:lnTo>
                  <a:pt x="158" y="400"/>
                </a:lnTo>
                <a:lnTo>
                  <a:pt x="153" y="400"/>
                </a:lnTo>
                <a:lnTo>
                  <a:pt x="143" y="390"/>
                </a:lnTo>
                <a:lnTo>
                  <a:pt x="128" y="381"/>
                </a:lnTo>
                <a:lnTo>
                  <a:pt x="119" y="371"/>
                </a:lnTo>
                <a:lnTo>
                  <a:pt x="93" y="347"/>
                </a:lnTo>
                <a:lnTo>
                  <a:pt x="89" y="337"/>
                </a:lnTo>
                <a:lnTo>
                  <a:pt x="84" y="333"/>
                </a:lnTo>
                <a:lnTo>
                  <a:pt x="69" y="303"/>
                </a:lnTo>
                <a:lnTo>
                  <a:pt x="54" y="246"/>
                </a:lnTo>
                <a:lnTo>
                  <a:pt x="15" y="159"/>
                </a:lnTo>
                <a:lnTo>
                  <a:pt x="0" y="121"/>
                </a:lnTo>
                <a:lnTo>
                  <a:pt x="0" y="115"/>
                </a:lnTo>
                <a:lnTo>
                  <a:pt x="0" y="106"/>
                </a:lnTo>
                <a:lnTo>
                  <a:pt x="5" y="96"/>
                </a:lnTo>
                <a:lnTo>
                  <a:pt x="24" y="87"/>
                </a:lnTo>
                <a:lnTo>
                  <a:pt x="44" y="77"/>
                </a:lnTo>
                <a:lnTo>
                  <a:pt x="59" y="67"/>
                </a:lnTo>
                <a:lnTo>
                  <a:pt x="69" y="62"/>
                </a:lnTo>
                <a:lnTo>
                  <a:pt x="69" y="58"/>
                </a:lnTo>
                <a:lnTo>
                  <a:pt x="69" y="53"/>
                </a:lnTo>
                <a:lnTo>
                  <a:pt x="78" y="43"/>
                </a:lnTo>
                <a:lnTo>
                  <a:pt x="93" y="34"/>
                </a:lnTo>
                <a:lnTo>
                  <a:pt x="113" y="34"/>
                </a:lnTo>
                <a:lnTo>
                  <a:pt x="134" y="34"/>
                </a:lnTo>
                <a:lnTo>
                  <a:pt x="143" y="29"/>
                </a:lnTo>
                <a:lnTo>
                  <a:pt x="148" y="29"/>
                </a:lnTo>
                <a:lnTo>
                  <a:pt x="148" y="34"/>
                </a:lnTo>
                <a:lnTo>
                  <a:pt x="153" y="43"/>
                </a:lnTo>
                <a:lnTo>
                  <a:pt x="158" y="58"/>
                </a:lnTo>
                <a:lnTo>
                  <a:pt x="168" y="92"/>
                </a:lnTo>
                <a:lnTo>
                  <a:pt x="173" y="106"/>
                </a:lnTo>
                <a:lnTo>
                  <a:pt x="177" y="111"/>
                </a:lnTo>
                <a:lnTo>
                  <a:pt x="188" y="106"/>
                </a:lnTo>
                <a:lnTo>
                  <a:pt x="203" y="96"/>
                </a:lnTo>
                <a:lnTo>
                  <a:pt x="203" y="82"/>
                </a:lnTo>
                <a:lnTo>
                  <a:pt x="203" y="58"/>
                </a:lnTo>
                <a:lnTo>
                  <a:pt x="197" y="53"/>
                </a:lnTo>
                <a:lnTo>
                  <a:pt x="197" y="43"/>
                </a:lnTo>
                <a:lnTo>
                  <a:pt x="203" y="34"/>
                </a:lnTo>
                <a:lnTo>
                  <a:pt x="207" y="29"/>
                </a:lnTo>
                <a:lnTo>
                  <a:pt x="222" y="29"/>
                </a:lnTo>
                <a:lnTo>
                  <a:pt x="247" y="34"/>
                </a:lnTo>
                <a:lnTo>
                  <a:pt x="262" y="39"/>
                </a:lnTo>
                <a:lnTo>
                  <a:pt x="286" y="43"/>
                </a:lnTo>
                <a:lnTo>
                  <a:pt x="305" y="43"/>
                </a:lnTo>
                <a:lnTo>
                  <a:pt x="316" y="39"/>
                </a:lnTo>
                <a:lnTo>
                  <a:pt x="320" y="29"/>
                </a:lnTo>
                <a:lnTo>
                  <a:pt x="326" y="14"/>
                </a:lnTo>
                <a:lnTo>
                  <a:pt x="340" y="0"/>
                </a:lnTo>
                <a:lnTo>
                  <a:pt x="355" y="0"/>
                </a:lnTo>
                <a:lnTo>
                  <a:pt x="365" y="0"/>
                </a:lnTo>
                <a:lnTo>
                  <a:pt x="374" y="9"/>
                </a:lnTo>
                <a:lnTo>
                  <a:pt x="385" y="29"/>
                </a:lnTo>
                <a:lnTo>
                  <a:pt x="389" y="34"/>
                </a:lnTo>
                <a:lnTo>
                  <a:pt x="400" y="39"/>
                </a:lnTo>
                <a:lnTo>
                  <a:pt x="404" y="43"/>
                </a:lnTo>
                <a:lnTo>
                  <a:pt x="419" y="43"/>
                </a:lnTo>
                <a:lnTo>
                  <a:pt x="434" y="43"/>
                </a:lnTo>
                <a:lnTo>
                  <a:pt x="449" y="43"/>
                </a:lnTo>
                <a:lnTo>
                  <a:pt x="459" y="43"/>
                </a:lnTo>
                <a:lnTo>
                  <a:pt x="464" y="39"/>
                </a:lnTo>
                <a:lnTo>
                  <a:pt x="449" y="77"/>
                </a:lnTo>
                <a:lnTo>
                  <a:pt x="444" y="115"/>
                </a:lnTo>
                <a:lnTo>
                  <a:pt x="449" y="144"/>
                </a:lnTo>
                <a:lnTo>
                  <a:pt x="454" y="174"/>
                </a:lnTo>
                <a:lnTo>
                  <a:pt x="473" y="231"/>
                </a:lnTo>
                <a:lnTo>
                  <a:pt x="488" y="290"/>
                </a:lnTo>
                <a:lnTo>
                  <a:pt x="498" y="318"/>
                </a:lnTo>
                <a:lnTo>
                  <a:pt x="498" y="347"/>
                </a:lnTo>
                <a:lnTo>
                  <a:pt x="493" y="362"/>
                </a:lnTo>
                <a:lnTo>
                  <a:pt x="484" y="371"/>
                </a:lnTo>
                <a:lnTo>
                  <a:pt x="459" y="390"/>
                </a:lnTo>
                <a:lnTo>
                  <a:pt x="444" y="396"/>
                </a:lnTo>
                <a:lnTo>
                  <a:pt x="439" y="400"/>
                </a:lnTo>
                <a:lnTo>
                  <a:pt x="444" y="410"/>
                </a:lnTo>
                <a:lnTo>
                  <a:pt x="459" y="415"/>
                </a:lnTo>
                <a:lnTo>
                  <a:pt x="478" y="419"/>
                </a:lnTo>
                <a:lnTo>
                  <a:pt x="493" y="434"/>
                </a:lnTo>
                <a:lnTo>
                  <a:pt x="508" y="448"/>
                </a:lnTo>
                <a:lnTo>
                  <a:pt x="508" y="468"/>
                </a:lnTo>
                <a:lnTo>
                  <a:pt x="508" y="482"/>
                </a:lnTo>
                <a:lnTo>
                  <a:pt x="508" y="491"/>
                </a:lnTo>
                <a:lnTo>
                  <a:pt x="518" y="497"/>
                </a:lnTo>
                <a:lnTo>
                  <a:pt x="503" y="535"/>
                </a:lnTo>
                <a:lnTo>
                  <a:pt x="498" y="535"/>
                </a:lnTo>
                <a:lnTo>
                  <a:pt x="488" y="531"/>
                </a:lnTo>
                <a:lnTo>
                  <a:pt x="459" y="525"/>
                </a:lnTo>
                <a:lnTo>
                  <a:pt x="439" y="525"/>
                </a:lnTo>
                <a:lnTo>
                  <a:pt x="430" y="535"/>
                </a:lnTo>
                <a:lnTo>
                  <a:pt x="424" y="545"/>
                </a:lnTo>
                <a:lnTo>
                  <a:pt x="424" y="550"/>
                </a:lnTo>
                <a:lnTo>
                  <a:pt x="419" y="550"/>
                </a:lnTo>
                <a:lnTo>
                  <a:pt x="404" y="554"/>
                </a:lnTo>
                <a:lnTo>
                  <a:pt x="389" y="554"/>
                </a:lnTo>
                <a:lnTo>
                  <a:pt x="374" y="550"/>
                </a:lnTo>
                <a:lnTo>
                  <a:pt x="355" y="545"/>
                </a:lnTo>
                <a:lnTo>
                  <a:pt x="335" y="550"/>
                </a:lnTo>
                <a:lnTo>
                  <a:pt x="326" y="554"/>
                </a:lnTo>
                <a:lnTo>
                  <a:pt x="311" y="550"/>
                </a:lnTo>
                <a:lnTo>
                  <a:pt x="301" y="545"/>
                </a:lnTo>
                <a:lnTo>
                  <a:pt x="296" y="545"/>
                </a:lnTo>
                <a:lnTo>
                  <a:pt x="291" y="545"/>
                </a:lnTo>
                <a:lnTo>
                  <a:pt x="266" y="535"/>
                </a:lnTo>
                <a:lnTo>
                  <a:pt x="242" y="525"/>
                </a:lnTo>
                <a:lnTo>
                  <a:pt x="216" y="506"/>
                </a:lnTo>
                <a:lnTo>
                  <a:pt x="197" y="491"/>
                </a:lnTo>
                <a:lnTo>
                  <a:pt x="192" y="487"/>
                </a:lnTo>
                <a:lnTo>
                  <a:pt x="188" y="487"/>
                </a:lnTo>
                <a:lnTo>
                  <a:pt x="182" y="487"/>
                </a:lnTo>
                <a:lnTo>
                  <a:pt x="173" y="487"/>
                </a:lnTo>
                <a:lnTo>
                  <a:pt x="177" y="487"/>
                </a:lnTo>
                <a:close/>
              </a:path>
            </a:pathLst>
          </a:custGeom>
          <a:solidFill>
            <a:srgbClr val="005027"/>
          </a:solidFill>
          <a:ln w="9525">
            <a:solidFill>
              <a:schemeClr val="bg1"/>
            </a:solidFill>
            <a:round/>
            <a:headEnd/>
            <a:tailEnd/>
          </a:ln>
        </p:spPr>
        <p:txBody>
          <a:bodyPr/>
          <a:lstStyle/>
          <a:p>
            <a:endParaRPr lang="ro-RO"/>
          </a:p>
        </p:txBody>
      </p:sp>
      <p:sp>
        <p:nvSpPr>
          <p:cNvPr id="12312" name="Freeform 21"/>
          <p:cNvSpPr>
            <a:spLocks/>
          </p:cNvSpPr>
          <p:nvPr/>
        </p:nvSpPr>
        <p:spPr bwMode="auto">
          <a:xfrm>
            <a:off x="1441450" y="4170363"/>
            <a:ext cx="966788" cy="974725"/>
          </a:xfrm>
          <a:custGeom>
            <a:avLst/>
            <a:gdLst>
              <a:gd name="T0" fmla="*/ 2147483647 w 752"/>
              <a:gd name="T1" fmla="*/ 2147483647 h 706"/>
              <a:gd name="T2" fmla="*/ 2147483647 w 752"/>
              <a:gd name="T3" fmla="*/ 2147483647 h 706"/>
              <a:gd name="T4" fmla="*/ 2147483647 w 752"/>
              <a:gd name="T5" fmla="*/ 2147483647 h 706"/>
              <a:gd name="T6" fmla="*/ 2147483647 w 752"/>
              <a:gd name="T7" fmla="*/ 2147483647 h 706"/>
              <a:gd name="T8" fmla="*/ 2147483647 w 752"/>
              <a:gd name="T9" fmla="*/ 2147483647 h 706"/>
              <a:gd name="T10" fmla="*/ 2147483647 w 752"/>
              <a:gd name="T11" fmla="*/ 2147483647 h 706"/>
              <a:gd name="T12" fmla="*/ 2147483647 w 752"/>
              <a:gd name="T13" fmla="*/ 2147483647 h 706"/>
              <a:gd name="T14" fmla="*/ 2147483647 w 752"/>
              <a:gd name="T15" fmla="*/ 2147483647 h 706"/>
              <a:gd name="T16" fmla="*/ 2147483647 w 752"/>
              <a:gd name="T17" fmla="*/ 2147483647 h 706"/>
              <a:gd name="T18" fmla="*/ 2147483647 w 752"/>
              <a:gd name="T19" fmla="*/ 2147483647 h 706"/>
              <a:gd name="T20" fmla="*/ 2147483647 w 752"/>
              <a:gd name="T21" fmla="*/ 2147483647 h 706"/>
              <a:gd name="T22" fmla="*/ 2147483647 w 752"/>
              <a:gd name="T23" fmla="*/ 2147483647 h 706"/>
              <a:gd name="T24" fmla="*/ 2147483647 w 752"/>
              <a:gd name="T25" fmla="*/ 2147483647 h 706"/>
              <a:gd name="T26" fmla="*/ 2147483647 w 752"/>
              <a:gd name="T27" fmla="*/ 2147483647 h 706"/>
              <a:gd name="T28" fmla="*/ 2147483647 w 752"/>
              <a:gd name="T29" fmla="*/ 2147483647 h 706"/>
              <a:gd name="T30" fmla="*/ 2147483647 w 752"/>
              <a:gd name="T31" fmla="*/ 2147483647 h 706"/>
              <a:gd name="T32" fmla="*/ 2147483647 w 752"/>
              <a:gd name="T33" fmla="*/ 2147483647 h 706"/>
              <a:gd name="T34" fmla="*/ 2147483647 w 752"/>
              <a:gd name="T35" fmla="*/ 2147483647 h 706"/>
              <a:gd name="T36" fmla="*/ 2147483647 w 752"/>
              <a:gd name="T37" fmla="*/ 2147483647 h 706"/>
              <a:gd name="T38" fmla="*/ 2147483647 w 752"/>
              <a:gd name="T39" fmla="*/ 2147483647 h 706"/>
              <a:gd name="T40" fmla="*/ 2147483647 w 752"/>
              <a:gd name="T41" fmla="*/ 2147483647 h 706"/>
              <a:gd name="T42" fmla="*/ 2147483647 w 752"/>
              <a:gd name="T43" fmla="*/ 2147483647 h 706"/>
              <a:gd name="T44" fmla="*/ 2147483647 w 752"/>
              <a:gd name="T45" fmla="*/ 2147483647 h 706"/>
              <a:gd name="T46" fmla="*/ 2147483647 w 752"/>
              <a:gd name="T47" fmla="*/ 2147483647 h 706"/>
              <a:gd name="T48" fmla="*/ 2147483647 w 752"/>
              <a:gd name="T49" fmla="*/ 2147483647 h 706"/>
              <a:gd name="T50" fmla="*/ 2147483647 w 752"/>
              <a:gd name="T51" fmla="*/ 2147483647 h 706"/>
              <a:gd name="T52" fmla="*/ 2147483647 w 752"/>
              <a:gd name="T53" fmla="*/ 2147483647 h 706"/>
              <a:gd name="T54" fmla="*/ 2147483647 w 752"/>
              <a:gd name="T55" fmla="*/ 2147483647 h 706"/>
              <a:gd name="T56" fmla="*/ 2147483647 w 752"/>
              <a:gd name="T57" fmla="*/ 2147483647 h 706"/>
              <a:gd name="T58" fmla="*/ 2147483647 w 752"/>
              <a:gd name="T59" fmla="*/ 2147483647 h 706"/>
              <a:gd name="T60" fmla="*/ 2147483647 w 752"/>
              <a:gd name="T61" fmla="*/ 2147483647 h 706"/>
              <a:gd name="T62" fmla="*/ 2147483647 w 752"/>
              <a:gd name="T63" fmla="*/ 2147483647 h 706"/>
              <a:gd name="T64" fmla="*/ 2147483647 w 752"/>
              <a:gd name="T65" fmla="*/ 2147483647 h 706"/>
              <a:gd name="T66" fmla="*/ 2147483647 w 752"/>
              <a:gd name="T67" fmla="*/ 2147483647 h 706"/>
              <a:gd name="T68" fmla="*/ 2147483647 w 752"/>
              <a:gd name="T69" fmla="*/ 2147483647 h 706"/>
              <a:gd name="T70" fmla="*/ 2147483647 w 752"/>
              <a:gd name="T71" fmla="*/ 2147483647 h 706"/>
              <a:gd name="T72" fmla="*/ 2147483647 w 752"/>
              <a:gd name="T73" fmla="*/ 2147483647 h 706"/>
              <a:gd name="T74" fmla="*/ 2147483647 w 752"/>
              <a:gd name="T75" fmla="*/ 2147483647 h 706"/>
              <a:gd name="T76" fmla="*/ 2147483647 w 752"/>
              <a:gd name="T77" fmla="*/ 2147483647 h 706"/>
              <a:gd name="T78" fmla="*/ 2147483647 w 752"/>
              <a:gd name="T79" fmla="*/ 2147483647 h 706"/>
              <a:gd name="T80" fmla="*/ 2147483647 w 752"/>
              <a:gd name="T81" fmla="*/ 2147483647 h 706"/>
              <a:gd name="T82" fmla="*/ 2147483647 w 752"/>
              <a:gd name="T83" fmla="*/ 2147483647 h 706"/>
              <a:gd name="T84" fmla="*/ 2147483647 w 752"/>
              <a:gd name="T85" fmla="*/ 2147483647 h 706"/>
              <a:gd name="T86" fmla="*/ 2147483647 w 752"/>
              <a:gd name="T87" fmla="*/ 2147483647 h 706"/>
              <a:gd name="T88" fmla="*/ 2147483647 w 752"/>
              <a:gd name="T89" fmla="*/ 2147483647 h 706"/>
              <a:gd name="T90" fmla="*/ 2147483647 w 752"/>
              <a:gd name="T91" fmla="*/ 2147483647 h 706"/>
              <a:gd name="T92" fmla="*/ 2147483647 w 752"/>
              <a:gd name="T93" fmla="*/ 2147483647 h 706"/>
              <a:gd name="T94" fmla="*/ 2147483647 w 752"/>
              <a:gd name="T95" fmla="*/ 2147483647 h 706"/>
              <a:gd name="T96" fmla="*/ 2147483647 w 752"/>
              <a:gd name="T97" fmla="*/ 2147483647 h 706"/>
              <a:gd name="T98" fmla="*/ 2147483647 w 752"/>
              <a:gd name="T99" fmla="*/ 2147483647 h 70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2"/>
              <a:gd name="T151" fmla="*/ 0 h 706"/>
              <a:gd name="T152" fmla="*/ 752 w 752"/>
              <a:gd name="T153" fmla="*/ 706 h 70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2" h="706">
                <a:moveTo>
                  <a:pt x="497" y="706"/>
                </a:moveTo>
                <a:lnTo>
                  <a:pt x="478" y="706"/>
                </a:lnTo>
                <a:lnTo>
                  <a:pt x="458" y="702"/>
                </a:lnTo>
                <a:lnTo>
                  <a:pt x="443" y="692"/>
                </a:lnTo>
                <a:lnTo>
                  <a:pt x="434" y="682"/>
                </a:lnTo>
                <a:lnTo>
                  <a:pt x="423" y="673"/>
                </a:lnTo>
                <a:lnTo>
                  <a:pt x="403" y="658"/>
                </a:lnTo>
                <a:lnTo>
                  <a:pt x="393" y="649"/>
                </a:lnTo>
                <a:lnTo>
                  <a:pt x="383" y="643"/>
                </a:lnTo>
                <a:lnTo>
                  <a:pt x="373" y="635"/>
                </a:lnTo>
                <a:lnTo>
                  <a:pt x="353" y="629"/>
                </a:lnTo>
                <a:lnTo>
                  <a:pt x="349" y="624"/>
                </a:lnTo>
                <a:lnTo>
                  <a:pt x="344" y="620"/>
                </a:lnTo>
                <a:lnTo>
                  <a:pt x="344" y="605"/>
                </a:lnTo>
                <a:lnTo>
                  <a:pt x="344" y="586"/>
                </a:lnTo>
                <a:lnTo>
                  <a:pt x="338" y="576"/>
                </a:lnTo>
                <a:lnTo>
                  <a:pt x="329" y="567"/>
                </a:lnTo>
                <a:lnTo>
                  <a:pt x="314" y="557"/>
                </a:lnTo>
                <a:lnTo>
                  <a:pt x="303" y="557"/>
                </a:lnTo>
                <a:lnTo>
                  <a:pt x="294" y="557"/>
                </a:lnTo>
                <a:lnTo>
                  <a:pt x="279" y="553"/>
                </a:lnTo>
                <a:lnTo>
                  <a:pt x="264" y="542"/>
                </a:lnTo>
                <a:lnTo>
                  <a:pt x="253" y="534"/>
                </a:lnTo>
                <a:lnTo>
                  <a:pt x="249" y="504"/>
                </a:lnTo>
                <a:lnTo>
                  <a:pt x="239" y="471"/>
                </a:lnTo>
                <a:lnTo>
                  <a:pt x="234" y="452"/>
                </a:lnTo>
                <a:lnTo>
                  <a:pt x="219" y="437"/>
                </a:lnTo>
                <a:lnTo>
                  <a:pt x="214" y="427"/>
                </a:lnTo>
                <a:lnTo>
                  <a:pt x="224" y="422"/>
                </a:lnTo>
                <a:lnTo>
                  <a:pt x="234" y="418"/>
                </a:lnTo>
                <a:lnTo>
                  <a:pt x="244" y="413"/>
                </a:lnTo>
                <a:lnTo>
                  <a:pt x="249" y="418"/>
                </a:lnTo>
                <a:lnTo>
                  <a:pt x="253" y="427"/>
                </a:lnTo>
                <a:lnTo>
                  <a:pt x="259" y="433"/>
                </a:lnTo>
                <a:lnTo>
                  <a:pt x="268" y="427"/>
                </a:lnTo>
                <a:lnTo>
                  <a:pt x="274" y="413"/>
                </a:lnTo>
                <a:lnTo>
                  <a:pt x="284" y="399"/>
                </a:lnTo>
                <a:lnTo>
                  <a:pt x="288" y="389"/>
                </a:lnTo>
                <a:lnTo>
                  <a:pt x="299" y="384"/>
                </a:lnTo>
                <a:lnTo>
                  <a:pt x="314" y="389"/>
                </a:lnTo>
                <a:lnTo>
                  <a:pt x="329" y="399"/>
                </a:lnTo>
                <a:lnTo>
                  <a:pt x="338" y="408"/>
                </a:lnTo>
                <a:lnTo>
                  <a:pt x="353" y="403"/>
                </a:lnTo>
                <a:lnTo>
                  <a:pt x="369" y="393"/>
                </a:lnTo>
                <a:lnTo>
                  <a:pt x="373" y="393"/>
                </a:lnTo>
                <a:lnTo>
                  <a:pt x="383" y="389"/>
                </a:lnTo>
                <a:lnTo>
                  <a:pt x="388" y="384"/>
                </a:lnTo>
                <a:lnTo>
                  <a:pt x="388" y="370"/>
                </a:lnTo>
                <a:lnTo>
                  <a:pt x="373" y="351"/>
                </a:lnTo>
                <a:lnTo>
                  <a:pt x="344" y="327"/>
                </a:lnTo>
                <a:lnTo>
                  <a:pt x="299" y="312"/>
                </a:lnTo>
                <a:lnTo>
                  <a:pt x="284" y="307"/>
                </a:lnTo>
                <a:lnTo>
                  <a:pt x="274" y="298"/>
                </a:lnTo>
                <a:lnTo>
                  <a:pt x="264" y="279"/>
                </a:lnTo>
                <a:lnTo>
                  <a:pt x="244" y="260"/>
                </a:lnTo>
                <a:lnTo>
                  <a:pt x="234" y="250"/>
                </a:lnTo>
                <a:lnTo>
                  <a:pt x="214" y="245"/>
                </a:lnTo>
                <a:lnTo>
                  <a:pt x="209" y="260"/>
                </a:lnTo>
                <a:lnTo>
                  <a:pt x="209" y="265"/>
                </a:lnTo>
                <a:lnTo>
                  <a:pt x="205" y="273"/>
                </a:lnTo>
                <a:lnTo>
                  <a:pt x="199" y="273"/>
                </a:lnTo>
                <a:lnTo>
                  <a:pt x="189" y="279"/>
                </a:lnTo>
                <a:lnTo>
                  <a:pt x="174" y="279"/>
                </a:lnTo>
                <a:lnTo>
                  <a:pt x="154" y="284"/>
                </a:lnTo>
                <a:lnTo>
                  <a:pt x="154" y="288"/>
                </a:lnTo>
                <a:lnTo>
                  <a:pt x="144" y="293"/>
                </a:lnTo>
                <a:lnTo>
                  <a:pt x="129" y="312"/>
                </a:lnTo>
                <a:lnTo>
                  <a:pt x="109" y="341"/>
                </a:lnTo>
                <a:lnTo>
                  <a:pt x="94" y="365"/>
                </a:lnTo>
                <a:lnTo>
                  <a:pt x="89" y="384"/>
                </a:lnTo>
                <a:lnTo>
                  <a:pt x="85" y="399"/>
                </a:lnTo>
                <a:lnTo>
                  <a:pt x="70" y="418"/>
                </a:lnTo>
                <a:lnTo>
                  <a:pt x="59" y="422"/>
                </a:lnTo>
                <a:lnTo>
                  <a:pt x="54" y="422"/>
                </a:lnTo>
                <a:lnTo>
                  <a:pt x="35" y="403"/>
                </a:lnTo>
                <a:lnTo>
                  <a:pt x="20" y="384"/>
                </a:lnTo>
                <a:lnTo>
                  <a:pt x="0" y="332"/>
                </a:lnTo>
                <a:lnTo>
                  <a:pt x="5" y="332"/>
                </a:lnTo>
                <a:lnTo>
                  <a:pt x="10" y="336"/>
                </a:lnTo>
                <a:lnTo>
                  <a:pt x="35" y="341"/>
                </a:lnTo>
                <a:lnTo>
                  <a:pt x="50" y="346"/>
                </a:lnTo>
                <a:lnTo>
                  <a:pt x="59" y="351"/>
                </a:lnTo>
                <a:lnTo>
                  <a:pt x="65" y="346"/>
                </a:lnTo>
                <a:lnTo>
                  <a:pt x="65" y="332"/>
                </a:lnTo>
                <a:lnTo>
                  <a:pt x="65" y="307"/>
                </a:lnTo>
                <a:lnTo>
                  <a:pt x="65" y="288"/>
                </a:lnTo>
                <a:lnTo>
                  <a:pt x="65" y="273"/>
                </a:lnTo>
                <a:lnTo>
                  <a:pt x="65" y="269"/>
                </a:lnTo>
                <a:lnTo>
                  <a:pt x="70" y="265"/>
                </a:lnTo>
                <a:lnTo>
                  <a:pt x="80" y="254"/>
                </a:lnTo>
                <a:lnTo>
                  <a:pt x="85" y="240"/>
                </a:lnTo>
                <a:lnTo>
                  <a:pt x="89" y="221"/>
                </a:lnTo>
                <a:lnTo>
                  <a:pt x="89" y="206"/>
                </a:lnTo>
                <a:lnTo>
                  <a:pt x="89" y="197"/>
                </a:lnTo>
                <a:lnTo>
                  <a:pt x="89" y="193"/>
                </a:lnTo>
                <a:lnTo>
                  <a:pt x="94" y="187"/>
                </a:lnTo>
                <a:lnTo>
                  <a:pt x="105" y="178"/>
                </a:lnTo>
                <a:lnTo>
                  <a:pt x="119" y="178"/>
                </a:lnTo>
                <a:lnTo>
                  <a:pt x="129" y="178"/>
                </a:lnTo>
                <a:lnTo>
                  <a:pt x="140" y="187"/>
                </a:lnTo>
                <a:lnTo>
                  <a:pt x="164" y="206"/>
                </a:lnTo>
                <a:lnTo>
                  <a:pt x="185" y="216"/>
                </a:lnTo>
                <a:lnTo>
                  <a:pt x="205" y="212"/>
                </a:lnTo>
                <a:lnTo>
                  <a:pt x="214" y="202"/>
                </a:lnTo>
                <a:lnTo>
                  <a:pt x="224" y="187"/>
                </a:lnTo>
                <a:lnTo>
                  <a:pt x="244" y="153"/>
                </a:lnTo>
                <a:lnTo>
                  <a:pt x="259" y="120"/>
                </a:lnTo>
                <a:lnTo>
                  <a:pt x="274" y="92"/>
                </a:lnTo>
                <a:lnTo>
                  <a:pt x="294" y="73"/>
                </a:lnTo>
                <a:lnTo>
                  <a:pt x="309" y="58"/>
                </a:lnTo>
                <a:lnTo>
                  <a:pt x="318" y="39"/>
                </a:lnTo>
                <a:lnTo>
                  <a:pt x="323" y="19"/>
                </a:lnTo>
                <a:lnTo>
                  <a:pt x="329" y="5"/>
                </a:lnTo>
                <a:lnTo>
                  <a:pt x="329" y="0"/>
                </a:lnTo>
                <a:lnTo>
                  <a:pt x="338" y="0"/>
                </a:lnTo>
                <a:lnTo>
                  <a:pt x="349" y="5"/>
                </a:lnTo>
                <a:lnTo>
                  <a:pt x="358" y="5"/>
                </a:lnTo>
                <a:lnTo>
                  <a:pt x="383" y="10"/>
                </a:lnTo>
                <a:lnTo>
                  <a:pt x="403" y="24"/>
                </a:lnTo>
                <a:lnTo>
                  <a:pt x="423" y="39"/>
                </a:lnTo>
                <a:lnTo>
                  <a:pt x="434" y="52"/>
                </a:lnTo>
                <a:lnTo>
                  <a:pt x="458" y="73"/>
                </a:lnTo>
                <a:lnTo>
                  <a:pt x="463" y="86"/>
                </a:lnTo>
                <a:lnTo>
                  <a:pt x="463" y="101"/>
                </a:lnTo>
                <a:lnTo>
                  <a:pt x="453" y="139"/>
                </a:lnTo>
                <a:lnTo>
                  <a:pt x="453" y="153"/>
                </a:lnTo>
                <a:lnTo>
                  <a:pt x="463" y="172"/>
                </a:lnTo>
                <a:lnTo>
                  <a:pt x="473" y="187"/>
                </a:lnTo>
                <a:lnTo>
                  <a:pt x="478" y="202"/>
                </a:lnTo>
                <a:lnTo>
                  <a:pt x="488" y="212"/>
                </a:lnTo>
                <a:lnTo>
                  <a:pt x="497" y="221"/>
                </a:lnTo>
                <a:lnTo>
                  <a:pt x="513" y="231"/>
                </a:lnTo>
                <a:lnTo>
                  <a:pt x="528" y="240"/>
                </a:lnTo>
                <a:lnTo>
                  <a:pt x="532" y="250"/>
                </a:lnTo>
                <a:lnTo>
                  <a:pt x="538" y="254"/>
                </a:lnTo>
                <a:lnTo>
                  <a:pt x="538" y="260"/>
                </a:lnTo>
                <a:lnTo>
                  <a:pt x="547" y="273"/>
                </a:lnTo>
                <a:lnTo>
                  <a:pt x="567" y="284"/>
                </a:lnTo>
                <a:lnTo>
                  <a:pt x="593" y="288"/>
                </a:lnTo>
                <a:lnTo>
                  <a:pt x="608" y="288"/>
                </a:lnTo>
                <a:lnTo>
                  <a:pt x="617" y="288"/>
                </a:lnTo>
                <a:lnTo>
                  <a:pt x="628" y="293"/>
                </a:lnTo>
                <a:lnTo>
                  <a:pt x="632" y="298"/>
                </a:lnTo>
                <a:lnTo>
                  <a:pt x="643" y="303"/>
                </a:lnTo>
                <a:lnTo>
                  <a:pt x="657" y="307"/>
                </a:lnTo>
                <a:lnTo>
                  <a:pt x="672" y="312"/>
                </a:lnTo>
                <a:lnTo>
                  <a:pt x="687" y="322"/>
                </a:lnTo>
                <a:lnTo>
                  <a:pt x="697" y="327"/>
                </a:lnTo>
                <a:lnTo>
                  <a:pt x="707" y="332"/>
                </a:lnTo>
                <a:lnTo>
                  <a:pt x="711" y="341"/>
                </a:lnTo>
                <a:lnTo>
                  <a:pt x="717" y="355"/>
                </a:lnTo>
                <a:lnTo>
                  <a:pt x="732" y="365"/>
                </a:lnTo>
                <a:lnTo>
                  <a:pt x="742" y="370"/>
                </a:lnTo>
                <a:lnTo>
                  <a:pt x="752" y="374"/>
                </a:lnTo>
                <a:lnTo>
                  <a:pt x="746" y="384"/>
                </a:lnTo>
                <a:lnTo>
                  <a:pt x="746" y="393"/>
                </a:lnTo>
                <a:lnTo>
                  <a:pt x="752" y="399"/>
                </a:lnTo>
                <a:lnTo>
                  <a:pt x="746" y="399"/>
                </a:lnTo>
                <a:lnTo>
                  <a:pt x="742" y="399"/>
                </a:lnTo>
                <a:lnTo>
                  <a:pt x="722" y="403"/>
                </a:lnTo>
                <a:lnTo>
                  <a:pt x="702" y="403"/>
                </a:lnTo>
                <a:lnTo>
                  <a:pt x="682" y="393"/>
                </a:lnTo>
                <a:lnTo>
                  <a:pt x="677" y="393"/>
                </a:lnTo>
                <a:lnTo>
                  <a:pt x="667" y="393"/>
                </a:lnTo>
                <a:lnTo>
                  <a:pt x="663" y="403"/>
                </a:lnTo>
                <a:lnTo>
                  <a:pt x="652" y="418"/>
                </a:lnTo>
                <a:lnTo>
                  <a:pt x="647" y="427"/>
                </a:lnTo>
                <a:lnTo>
                  <a:pt x="643" y="433"/>
                </a:lnTo>
                <a:lnTo>
                  <a:pt x="628" y="437"/>
                </a:lnTo>
                <a:lnTo>
                  <a:pt x="617" y="437"/>
                </a:lnTo>
                <a:lnTo>
                  <a:pt x="617" y="441"/>
                </a:lnTo>
                <a:lnTo>
                  <a:pt x="612" y="452"/>
                </a:lnTo>
                <a:lnTo>
                  <a:pt x="608" y="466"/>
                </a:lnTo>
                <a:lnTo>
                  <a:pt x="598" y="471"/>
                </a:lnTo>
                <a:lnTo>
                  <a:pt x="598" y="475"/>
                </a:lnTo>
                <a:lnTo>
                  <a:pt x="602" y="481"/>
                </a:lnTo>
                <a:lnTo>
                  <a:pt x="608" y="485"/>
                </a:lnTo>
                <a:lnTo>
                  <a:pt x="622" y="494"/>
                </a:lnTo>
                <a:lnTo>
                  <a:pt x="632" y="500"/>
                </a:lnTo>
                <a:lnTo>
                  <a:pt x="637" y="504"/>
                </a:lnTo>
                <a:lnTo>
                  <a:pt x="632" y="514"/>
                </a:lnTo>
                <a:lnTo>
                  <a:pt x="617" y="523"/>
                </a:lnTo>
                <a:lnTo>
                  <a:pt x="608" y="534"/>
                </a:lnTo>
                <a:lnTo>
                  <a:pt x="587" y="553"/>
                </a:lnTo>
                <a:lnTo>
                  <a:pt x="567" y="567"/>
                </a:lnTo>
                <a:lnTo>
                  <a:pt x="558" y="572"/>
                </a:lnTo>
                <a:lnTo>
                  <a:pt x="558" y="582"/>
                </a:lnTo>
                <a:lnTo>
                  <a:pt x="563" y="591"/>
                </a:lnTo>
                <a:lnTo>
                  <a:pt x="567" y="605"/>
                </a:lnTo>
                <a:lnTo>
                  <a:pt x="573" y="624"/>
                </a:lnTo>
                <a:lnTo>
                  <a:pt x="573" y="643"/>
                </a:lnTo>
                <a:lnTo>
                  <a:pt x="573" y="663"/>
                </a:lnTo>
                <a:lnTo>
                  <a:pt x="573" y="668"/>
                </a:lnTo>
                <a:lnTo>
                  <a:pt x="573" y="673"/>
                </a:lnTo>
                <a:lnTo>
                  <a:pt x="573" y="677"/>
                </a:lnTo>
                <a:lnTo>
                  <a:pt x="563" y="682"/>
                </a:lnTo>
                <a:lnTo>
                  <a:pt x="547" y="682"/>
                </a:lnTo>
                <a:lnTo>
                  <a:pt x="532" y="677"/>
                </a:lnTo>
                <a:lnTo>
                  <a:pt x="517" y="673"/>
                </a:lnTo>
                <a:lnTo>
                  <a:pt x="508" y="673"/>
                </a:lnTo>
                <a:lnTo>
                  <a:pt x="503" y="687"/>
                </a:lnTo>
                <a:lnTo>
                  <a:pt x="497" y="702"/>
                </a:lnTo>
                <a:lnTo>
                  <a:pt x="497" y="706"/>
                </a:lnTo>
                <a:close/>
              </a:path>
            </a:pathLst>
          </a:custGeom>
          <a:solidFill>
            <a:srgbClr val="005027"/>
          </a:solidFill>
          <a:ln w="9525">
            <a:solidFill>
              <a:schemeClr val="bg1"/>
            </a:solidFill>
            <a:round/>
            <a:headEnd/>
            <a:tailEnd/>
          </a:ln>
        </p:spPr>
        <p:txBody>
          <a:bodyPr/>
          <a:lstStyle/>
          <a:p>
            <a:endParaRPr lang="ro-RO"/>
          </a:p>
        </p:txBody>
      </p:sp>
      <p:sp>
        <p:nvSpPr>
          <p:cNvPr id="12313" name="Freeform 22"/>
          <p:cNvSpPr>
            <a:spLocks/>
          </p:cNvSpPr>
          <p:nvPr/>
        </p:nvSpPr>
        <p:spPr bwMode="auto">
          <a:xfrm>
            <a:off x="995363" y="3573463"/>
            <a:ext cx="922337" cy="1079500"/>
          </a:xfrm>
          <a:custGeom>
            <a:avLst/>
            <a:gdLst>
              <a:gd name="T0" fmla="*/ 2147483647 w 717"/>
              <a:gd name="T1" fmla="*/ 2147483647 h 782"/>
              <a:gd name="T2" fmla="*/ 2147483647 w 717"/>
              <a:gd name="T3" fmla="*/ 2147483647 h 782"/>
              <a:gd name="T4" fmla="*/ 2147483647 w 717"/>
              <a:gd name="T5" fmla="*/ 2147483647 h 782"/>
              <a:gd name="T6" fmla="*/ 2147483647 w 717"/>
              <a:gd name="T7" fmla="*/ 2147483647 h 782"/>
              <a:gd name="T8" fmla="*/ 2147483647 w 717"/>
              <a:gd name="T9" fmla="*/ 2147483647 h 782"/>
              <a:gd name="T10" fmla="*/ 2147483647 w 717"/>
              <a:gd name="T11" fmla="*/ 2147483647 h 782"/>
              <a:gd name="T12" fmla="*/ 2147483647 w 717"/>
              <a:gd name="T13" fmla="*/ 2147483647 h 782"/>
              <a:gd name="T14" fmla="*/ 2147483647 w 717"/>
              <a:gd name="T15" fmla="*/ 2147483647 h 782"/>
              <a:gd name="T16" fmla="*/ 2147483647 w 717"/>
              <a:gd name="T17" fmla="*/ 2147483647 h 782"/>
              <a:gd name="T18" fmla="*/ 2147483647 w 717"/>
              <a:gd name="T19" fmla="*/ 2147483647 h 782"/>
              <a:gd name="T20" fmla="*/ 2147483647 w 717"/>
              <a:gd name="T21" fmla="*/ 2147483647 h 782"/>
              <a:gd name="T22" fmla="*/ 2147483647 w 717"/>
              <a:gd name="T23" fmla="*/ 2147483647 h 782"/>
              <a:gd name="T24" fmla="*/ 2147483647 w 717"/>
              <a:gd name="T25" fmla="*/ 2147483647 h 782"/>
              <a:gd name="T26" fmla="*/ 2147483647 w 717"/>
              <a:gd name="T27" fmla="*/ 2147483647 h 782"/>
              <a:gd name="T28" fmla="*/ 2147483647 w 717"/>
              <a:gd name="T29" fmla="*/ 2147483647 h 782"/>
              <a:gd name="T30" fmla="*/ 2147483647 w 717"/>
              <a:gd name="T31" fmla="*/ 2147483647 h 782"/>
              <a:gd name="T32" fmla="*/ 2147483647 w 717"/>
              <a:gd name="T33" fmla="*/ 2147483647 h 782"/>
              <a:gd name="T34" fmla="*/ 2147483647 w 717"/>
              <a:gd name="T35" fmla="*/ 2147483647 h 782"/>
              <a:gd name="T36" fmla="*/ 2147483647 w 717"/>
              <a:gd name="T37" fmla="*/ 2147483647 h 782"/>
              <a:gd name="T38" fmla="*/ 2147483647 w 717"/>
              <a:gd name="T39" fmla="*/ 2147483647 h 782"/>
              <a:gd name="T40" fmla="*/ 2147483647 w 717"/>
              <a:gd name="T41" fmla="*/ 2147483647 h 782"/>
              <a:gd name="T42" fmla="*/ 2147483647 w 717"/>
              <a:gd name="T43" fmla="*/ 2147483647 h 782"/>
              <a:gd name="T44" fmla="*/ 2147483647 w 717"/>
              <a:gd name="T45" fmla="*/ 2147483647 h 782"/>
              <a:gd name="T46" fmla="*/ 2147483647 w 717"/>
              <a:gd name="T47" fmla="*/ 2147483647 h 782"/>
              <a:gd name="T48" fmla="*/ 2147483647 w 717"/>
              <a:gd name="T49" fmla="*/ 2147483647 h 782"/>
              <a:gd name="T50" fmla="*/ 2147483647 w 717"/>
              <a:gd name="T51" fmla="*/ 2147483647 h 782"/>
              <a:gd name="T52" fmla="*/ 2147483647 w 717"/>
              <a:gd name="T53" fmla="*/ 2147483647 h 782"/>
              <a:gd name="T54" fmla="*/ 2147483647 w 717"/>
              <a:gd name="T55" fmla="*/ 2147483647 h 782"/>
              <a:gd name="T56" fmla="*/ 2147483647 w 717"/>
              <a:gd name="T57" fmla="*/ 2147483647 h 782"/>
              <a:gd name="T58" fmla="*/ 2147483647 w 717"/>
              <a:gd name="T59" fmla="*/ 2147483647 h 782"/>
              <a:gd name="T60" fmla="*/ 2147483647 w 717"/>
              <a:gd name="T61" fmla="*/ 2147483647 h 782"/>
              <a:gd name="T62" fmla="*/ 2147483647 w 717"/>
              <a:gd name="T63" fmla="*/ 2147483647 h 782"/>
              <a:gd name="T64" fmla="*/ 2147483647 w 717"/>
              <a:gd name="T65" fmla="*/ 2147483647 h 782"/>
              <a:gd name="T66" fmla="*/ 2147483647 w 717"/>
              <a:gd name="T67" fmla="*/ 2147483647 h 782"/>
              <a:gd name="T68" fmla="*/ 2147483647 w 717"/>
              <a:gd name="T69" fmla="*/ 2147483647 h 782"/>
              <a:gd name="T70" fmla="*/ 2147483647 w 717"/>
              <a:gd name="T71" fmla="*/ 2147483647 h 782"/>
              <a:gd name="T72" fmla="*/ 2147483647 w 717"/>
              <a:gd name="T73" fmla="*/ 2147483647 h 782"/>
              <a:gd name="T74" fmla="*/ 2147483647 w 717"/>
              <a:gd name="T75" fmla="*/ 2147483647 h 782"/>
              <a:gd name="T76" fmla="*/ 2147483647 w 717"/>
              <a:gd name="T77" fmla="*/ 2147483647 h 782"/>
              <a:gd name="T78" fmla="*/ 2147483647 w 717"/>
              <a:gd name="T79" fmla="*/ 2147483647 h 782"/>
              <a:gd name="T80" fmla="*/ 2147483647 w 717"/>
              <a:gd name="T81" fmla="*/ 2147483647 h 782"/>
              <a:gd name="T82" fmla="*/ 2147483647 w 717"/>
              <a:gd name="T83" fmla="*/ 2147483647 h 782"/>
              <a:gd name="T84" fmla="*/ 2147483647 w 717"/>
              <a:gd name="T85" fmla="*/ 2147483647 h 782"/>
              <a:gd name="T86" fmla="*/ 2147483647 w 717"/>
              <a:gd name="T87" fmla="*/ 2147483647 h 782"/>
              <a:gd name="T88" fmla="*/ 2147483647 w 717"/>
              <a:gd name="T89" fmla="*/ 2147483647 h 782"/>
              <a:gd name="T90" fmla="*/ 2147483647 w 717"/>
              <a:gd name="T91" fmla="*/ 2147483647 h 782"/>
              <a:gd name="T92" fmla="*/ 2147483647 w 717"/>
              <a:gd name="T93" fmla="*/ 2147483647 h 782"/>
              <a:gd name="T94" fmla="*/ 2147483647 w 717"/>
              <a:gd name="T95" fmla="*/ 2147483647 h 782"/>
              <a:gd name="T96" fmla="*/ 2147483647 w 717"/>
              <a:gd name="T97" fmla="*/ 2147483647 h 782"/>
              <a:gd name="T98" fmla="*/ 2147483647 w 717"/>
              <a:gd name="T99" fmla="*/ 2147483647 h 782"/>
              <a:gd name="T100" fmla="*/ 2147483647 w 717"/>
              <a:gd name="T101" fmla="*/ 2147483647 h 782"/>
              <a:gd name="T102" fmla="*/ 2147483647 w 717"/>
              <a:gd name="T103" fmla="*/ 2147483647 h 782"/>
              <a:gd name="T104" fmla="*/ 2147483647 w 717"/>
              <a:gd name="T105" fmla="*/ 2147483647 h 782"/>
              <a:gd name="T106" fmla="*/ 2147483647 w 717"/>
              <a:gd name="T107" fmla="*/ 2147483647 h 782"/>
              <a:gd name="T108" fmla="*/ 2147483647 w 717"/>
              <a:gd name="T109" fmla="*/ 2147483647 h 782"/>
              <a:gd name="T110" fmla="*/ 2147483647 w 717"/>
              <a:gd name="T111" fmla="*/ 2147483647 h 782"/>
              <a:gd name="T112" fmla="*/ 2147483647 w 717"/>
              <a:gd name="T113" fmla="*/ 2147483647 h 782"/>
              <a:gd name="T114" fmla="*/ 2147483647 w 717"/>
              <a:gd name="T115" fmla="*/ 2147483647 h 782"/>
              <a:gd name="T116" fmla="*/ 2147483647 w 717"/>
              <a:gd name="T117" fmla="*/ 2147483647 h 782"/>
              <a:gd name="T118" fmla="*/ 2147483647 w 717"/>
              <a:gd name="T119" fmla="*/ 2147483647 h 782"/>
              <a:gd name="T120" fmla="*/ 2147483647 w 717"/>
              <a:gd name="T121" fmla="*/ 2147483647 h 782"/>
              <a:gd name="T122" fmla="*/ 2147483647 w 717"/>
              <a:gd name="T123" fmla="*/ 2147483647 h 78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17"/>
              <a:gd name="T187" fmla="*/ 0 h 782"/>
              <a:gd name="T188" fmla="*/ 717 w 717"/>
              <a:gd name="T189" fmla="*/ 782 h 78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17" h="782">
                <a:moveTo>
                  <a:pt x="682" y="313"/>
                </a:moveTo>
                <a:lnTo>
                  <a:pt x="678" y="319"/>
                </a:lnTo>
                <a:lnTo>
                  <a:pt x="673" y="323"/>
                </a:lnTo>
                <a:lnTo>
                  <a:pt x="654" y="343"/>
                </a:lnTo>
                <a:lnTo>
                  <a:pt x="643" y="353"/>
                </a:lnTo>
                <a:lnTo>
                  <a:pt x="643" y="362"/>
                </a:lnTo>
                <a:lnTo>
                  <a:pt x="648" y="372"/>
                </a:lnTo>
                <a:lnTo>
                  <a:pt x="658" y="376"/>
                </a:lnTo>
                <a:lnTo>
                  <a:pt x="663" y="381"/>
                </a:lnTo>
                <a:lnTo>
                  <a:pt x="673" y="391"/>
                </a:lnTo>
                <a:lnTo>
                  <a:pt x="678" y="406"/>
                </a:lnTo>
                <a:lnTo>
                  <a:pt x="678" y="420"/>
                </a:lnTo>
                <a:lnTo>
                  <a:pt x="673" y="429"/>
                </a:lnTo>
                <a:lnTo>
                  <a:pt x="673" y="435"/>
                </a:lnTo>
                <a:lnTo>
                  <a:pt x="667" y="449"/>
                </a:lnTo>
                <a:lnTo>
                  <a:pt x="663" y="469"/>
                </a:lnTo>
                <a:lnTo>
                  <a:pt x="654" y="488"/>
                </a:lnTo>
                <a:lnTo>
                  <a:pt x="638" y="503"/>
                </a:lnTo>
                <a:lnTo>
                  <a:pt x="619" y="522"/>
                </a:lnTo>
                <a:lnTo>
                  <a:pt x="604" y="550"/>
                </a:lnTo>
                <a:lnTo>
                  <a:pt x="589" y="584"/>
                </a:lnTo>
                <a:lnTo>
                  <a:pt x="569" y="618"/>
                </a:lnTo>
                <a:lnTo>
                  <a:pt x="559" y="632"/>
                </a:lnTo>
                <a:lnTo>
                  <a:pt x="550" y="643"/>
                </a:lnTo>
                <a:lnTo>
                  <a:pt x="530" y="647"/>
                </a:lnTo>
                <a:lnTo>
                  <a:pt x="509" y="637"/>
                </a:lnTo>
                <a:lnTo>
                  <a:pt x="485" y="618"/>
                </a:lnTo>
                <a:lnTo>
                  <a:pt x="475" y="609"/>
                </a:lnTo>
                <a:lnTo>
                  <a:pt x="465" y="609"/>
                </a:lnTo>
                <a:lnTo>
                  <a:pt x="450" y="609"/>
                </a:lnTo>
                <a:lnTo>
                  <a:pt x="440" y="618"/>
                </a:lnTo>
                <a:lnTo>
                  <a:pt x="435" y="623"/>
                </a:lnTo>
                <a:lnTo>
                  <a:pt x="435" y="628"/>
                </a:lnTo>
                <a:lnTo>
                  <a:pt x="435" y="637"/>
                </a:lnTo>
                <a:lnTo>
                  <a:pt x="435" y="652"/>
                </a:lnTo>
                <a:lnTo>
                  <a:pt x="431" y="671"/>
                </a:lnTo>
                <a:lnTo>
                  <a:pt x="426" y="685"/>
                </a:lnTo>
                <a:lnTo>
                  <a:pt x="416" y="696"/>
                </a:lnTo>
                <a:lnTo>
                  <a:pt x="411" y="700"/>
                </a:lnTo>
                <a:lnTo>
                  <a:pt x="411" y="704"/>
                </a:lnTo>
                <a:lnTo>
                  <a:pt x="411" y="719"/>
                </a:lnTo>
                <a:lnTo>
                  <a:pt x="411" y="738"/>
                </a:lnTo>
                <a:lnTo>
                  <a:pt x="411" y="763"/>
                </a:lnTo>
                <a:lnTo>
                  <a:pt x="411" y="778"/>
                </a:lnTo>
                <a:lnTo>
                  <a:pt x="405" y="782"/>
                </a:lnTo>
                <a:lnTo>
                  <a:pt x="396" y="778"/>
                </a:lnTo>
                <a:lnTo>
                  <a:pt x="381" y="772"/>
                </a:lnTo>
                <a:lnTo>
                  <a:pt x="357" y="768"/>
                </a:lnTo>
                <a:lnTo>
                  <a:pt x="351" y="763"/>
                </a:lnTo>
                <a:lnTo>
                  <a:pt x="346" y="763"/>
                </a:lnTo>
                <a:lnTo>
                  <a:pt x="327" y="734"/>
                </a:lnTo>
                <a:lnTo>
                  <a:pt x="303" y="715"/>
                </a:lnTo>
                <a:lnTo>
                  <a:pt x="258" y="700"/>
                </a:lnTo>
                <a:lnTo>
                  <a:pt x="233" y="700"/>
                </a:lnTo>
                <a:lnTo>
                  <a:pt x="199" y="700"/>
                </a:lnTo>
                <a:lnTo>
                  <a:pt x="178" y="704"/>
                </a:lnTo>
                <a:lnTo>
                  <a:pt x="164" y="704"/>
                </a:lnTo>
                <a:lnTo>
                  <a:pt x="158" y="704"/>
                </a:lnTo>
                <a:lnTo>
                  <a:pt x="149" y="700"/>
                </a:lnTo>
                <a:lnTo>
                  <a:pt x="143" y="700"/>
                </a:lnTo>
                <a:lnTo>
                  <a:pt x="139" y="691"/>
                </a:lnTo>
                <a:lnTo>
                  <a:pt x="129" y="671"/>
                </a:lnTo>
                <a:lnTo>
                  <a:pt x="119" y="647"/>
                </a:lnTo>
                <a:lnTo>
                  <a:pt x="109" y="632"/>
                </a:lnTo>
                <a:lnTo>
                  <a:pt x="100" y="628"/>
                </a:lnTo>
                <a:lnTo>
                  <a:pt x="85" y="623"/>
                </a:lnTo>
                <a:lnTo>
                  <a:pt x="54" y="623"/>
                </a:lnTo>
                <a:lnTo>
                  <a:pt x="41" y="618"/>
                </a:lnTo>
                <a:lnTo>
                  <a:pt x="26" y="613"/>
                </a:lnTo>
                <a:lnTo>
                  <a:pt x="11" y="599"/>
                </a:lnTo>
                <a:lnTo>
                  <a:pt x="0" y="575"/>
                </a:lnTo>
                <a:lnTo>
                  <a:pt x="6" y="565"/>
                </a:lnTo>
                <a:lnTo>
                  <a:pt x="15" y="560"/>
                </a:lnTo>
                <a:lnTo>
                  <a:pt x="30" y="556"/>
                </a:lnTo>
                <a:lnTo>
                  <a:pt x="45" y="556"/>
                </a:lnTo>
                <a:lnTo>
                  <a:pt x="69" y="550"/>
                </a:lnTo>
                <a:lnTo>
                  <a:pt x="89" y="541"/>
                </a:lnTo>
                <a:lnTo>
                  <a:pt x="95" y="541"/>
                </a:lnTo>
                <a:lnTo>
                  <a:pt x="104" y="546"/>
                </a:lnTo>
                <a:lnTo>
                  <a:pt x="109" y="541"/>
                </a:lnTo>
                <a:lnTo>
                  <a:pt x="114" y="536"/>
                </a:lnTo>
                <a:lnTo>
                  <a:pt x="109" y="512"/>
                </a:lnTo>
                <a:lnTo>
                  <a:pt x="104" y="497"/>
                </a:lnTo>
                <a:lnTo>
                  <a:pt x="89" y="493"/>
                </a:lnTo>
                <a:lnTo>
                  <a:pt x="75" y="493"/>
                </a:lnTo>
                <a:lnTo>
                  <a:pt x="60" y="488"/>
                </a:lnTo>
                <a:lnTo>
                  <a:pt x="41" y="482"/>
                </a:lnTo>
                <a:lnTo>
                  <a:pt x="26" y="469"/>
                </a:lnTo>
                <a:lnTo>
                  <a:pt x="11" y="444"/>
                </a:lnTo>
                <a:lnTo>
                  <a:pt x="15" y="435"/>
                </a:lnTo>
                <a:lnTo>
                  <a:pt x="26" y="429"/>
                </a:lnTo>
                <a:lnTo>
                  <a:pt x="45" y="429"/>
                </a:lnTo>
                <a:lnTo>
                  <a:pt x="60" y="429"/>
                </a:lnTo>
                <a:lnTo>
                  <a:pt x="65" y="420"/>
                </a:lnTo>
                <a:lnTo>
                  <a:pt x="65" y="410"/>
                </a:lnTo>
                <a:lnTo>
                  <a:pt x="69" y="391"/>
                </a:lnTo>
                <a:lnTo>
                  <a:pt x="85" y="376"/>
                </a:lnTo>
                <a:lnTo>
                  <a:pt x="95" y="367"/>
                </a:lnTo>
                <a:lnTo>
                  <a:pt x="100" y="357"/>
                </a:lnTo>
                <a:lnTo>
                  <a:pt x="100" y="347"/>
                </a:lnTo>
                <a:lnTo>
                  <a:pt x="89" y="338"/>
                </a:lnTo>
                <a:lnTo>
                  <a:pt x="75" y="319"/>
                </a:lnTo>
                <a:lnTo>
                  <a:pt x="80" y="319"/>
                </a:lnTo>
                <a:lnTo>
                  <a:pt x="85" y="313"/>
                </a:lnTo>
                <a:lnTo>
                  <a:pt x="100" y="304"/>
                </a:lnTo>
                <a:lnTo>
                  <a:pt x="109" y="300"/>
                </a:lnTo>
                <a:lnTo>
                  <a:pt x="114" y="290"/>
                </a:lnTo>
                <a:lnTo>
                  <a:pt x="114" y="279"/>
                </a:lnTo>
                <a:lnTo>
                  <a:pt x="119" y="266"/>
                </a:lnTo>
                <a:lnTo>
                  <a:pt x="124" y="251"/>
                </a:lnTo>
                <a:lnTo>
                  <a:pt x="114" y="237"/>
                </a:lnTo>
                <a:lnTo>
                  <a:pt x="104" y="218"/>
                </a:lnTo>
                <a:lnTo>
                  <a:pt x="89" y="203"/>
                </a:lnTo>
                <a:lnTo>
                  <a:pt x="80" y="193"/>
                </a:lnTo>
                <a:lnTo>
                  <a:pt x="80" y="184"/>
                </a:lnTo>
                <a:lnTo>
                  <a:pt x="80" y="173"/>
                </a:lnTo>
                <a:lnTo>
                  <a:pt x="85" y="169"/>
                </a:lnTo>
                <a:lnTo>
                  <a:pt x="89" y="159"/>
                </a:lnTo>
                <a:lnTo>
                  <a:pt x="95" y="154"/>
                </a:lnTo>
                <a:lnTo>
                  <a:pt x="89" y="140"/>
                </a:lnTo>
                <a:lnTo>
                  <a:pt x="89" y="125"/>
                </a:lnTo>
                <a:lnTo>
                  <a:pt x="95" y="116"/>
                </a:lnTo>
                <a:lnTo>
                  <a:pt x="109" y="106"/>
                </a:lnTo>
                <a:lnTo>
                  <a:pt x="129" y="106"/>
                </a:lnTo>
                <a:lnTo>
                  <a:pt x="149" y="106"/>
                </a:lnTo>
                <a:lnTo>
                  <a:pt x="154" y="101"/>
                </a:lnTo>
                <a:lnTo>
                  <a:pt x="158" y="91"/>
                </a:lnTo>
                <a:lnTo>
                  <a:pt x="158" y="67"/>
                </a:lnTo>
                <a:lnTo>
                  <a:pt x="164" y="63"/>
                </a:lnTo>
                <a:lnTo>
                  <a:pt x="173" y="53"/>
                </a:lnTo>
                <a:lnTo>
                  <a:pt x="184" y="53"/>
                </a:lnTo>
                <a:lnTo>
                  <a:pt x="199" y="53"/>
                </a:lnTo>
                <a:lnTo>
                  <a:pt x="223" y="63"/>
                </a:lnTo>
                <a:lnTo>
                  <a:pt x="243" y="82"/>
                </a:lnTo>
                <a:lnTo>
                  <a:pt x="253" y="91"/>
                </a:lnTo>
                <a:lnTo>
                  <a:pt x="268" y="91"/>
                </a:lnTo>
                <a:lnTo>
                  <a:pt x="277" y="91"/>
                </a:lnTo>
                <a:lnTo>
                  <a:pt x="292" y="82"/>
                </a:lnTo>
                <a:lnTo>
                  <a:pt x="303" y="72"/>
                </a:lnTo>
                <a:lnTo>
                  <a:pt x="312" y="67"/>
                </a:lnTo>
                <a:lnTo>
                  <a:pt x="317" y="72"/>
                </a:lnTo>
                <a:lnTo>
                  <a:pt x="322" y="82"/>
                </a:lnTo>
                <a:lnTo>
                  <a:pt x="336" y="101"/>
                </a:lnTo>
                <a:lnTo>
                  <a:pt x="362" y="111"/>
                </a:lnTo>
                <a:lnTo>
                  <a:pt x="381" y="111"/>
                </a:lnTo>
                <a:lnTo>
                  <a:pt x="401" y="106"/>
                </a:lnTo>
                <a:lnTo>
                  <a:pt x="411" y="101"/>
                </a:lnTo>
                <a:lnTo>
                  <a:pt x="416" y="87"/>
                </a:lnTo>
                <a:lnTo>
                  <a:pt x="411" y="77"/>
                </a:lnTo>
                <a:lnTo>
                  <a:pt x="401" y="67"/>
                </a:lnTo>
                <a:lnTo>
                  <a:pt x="391" y="63"/>
                </a:lnTo>
                <a:lnTo>
                  <a:pt x="386" y="63"/>
                </a:lnTo>
                <a:lnTo>
                  <a:pt x="391" y="53"/>
                </a:lnTo>
                <a:lnTo>
                  <a:pt x="396" y="48"/>
                </a:lnTo>
                <a:lnTo>
                  <a:pt x="420" y="44"/>
                </a:lnTo>
                <a:lnTo>
                  <a:pt x="450" y="34"/>
                </a:lnTo>
                <a:lnTo>
                  <a:pt x="465" y="34"/>
                </a:lnTo>
                <a:lnTo>
                  <a:pt x="480" y="38"/>
                </a:lnTo>
                <a:lnTo>
                  <a:pt x="495" y="44"/>
                </a:lnTo>
                <a:lnTo>
                  <a:pt x="505" y="44"/>
                </a:lnTo>
                <a:lnTo>
                  <a:pt x="515" y="34"/>
                </a:lnTo>
                <a:lnTo>
                  <a:pt x="515" y="23"/>
                </a:lnTo>
                <a:lnTo>
                  <a:pt x="519" y="15"/>
                </a:lnTo>
                <a:lnTo>
                  <a:pt x="534" y="15"/>
                </a:lnTo>
                <a:lnTo>
                  <a:pt x="550" y="10"/>
                </a:lnTo>
                <a:lnTo>
                  <a:pt x="559" y="0"/>
                </a:lnTo>
                <a:lnTo>
                  <a:pt x="574" y="0"/>
                </a:lnTo>
                <a:lnTo>
                  <a:pt x="589" y="4"/>
                </a:lnTo>
                <a:lnTo>
                  <a:pt x="604" y="19"/>
                </a:lnTo>
                <a:lnTo>
                  <a:pt x="619" y="38"/>
                </a:lnTo>
                <a:lnTo>
                  <a:pt x="633" y="53"/>
                </a:lnTo>
                <a:lnTo>
                  <a:pt x="658" y="63"/>
                </a:lnTo>
                <a:lnTo>
                  <a:pt x="678" y="77"/>
                </a:lnTo>
                <a:lnTo>
                  <a:pt x="693" y="87"/>
                </a:lnTo>
                <a:lnTo>
                  <a:pt x="702" y="106"/>
                </a:lnTo>
                <a:lnTo>
                  <a:pt x="712" y="135"/>
                </a:lnTo>
                <a:lnTo>
                  <a:pt x="717" y="169"/>
                </a:lnTo>
                <a:lnTo>
                  <a:pt x="712" y="188"/>
                </a:lnTo>
                <a:lnTo>
                  <a:pt x="702" y="203"/>
                </a:lnTo>
                <a:lnTo>
                  <a:pt x="693" y="226"/>
                </a:lnTo>
                <a:lnTo>
                  <a:pt x="693" y="237"/>
                </a:lnTo>
                <a:lnTo>
                  <a:pt x="702" y="247"/>
                </a:lnTo>
                <a:lnTo>
                  <a:pt x="708" y="256"/>
                </a:lnTo>
                <a:lnTo>
                  <a:pt x="708" y="275"/>
                </a:lnTo>
                <a:lnTo>
                  <a:pt x="697" y="290"/>
                </a:lnTo>
                <a:lnTo>
                  <a:pt x="688" y="304"/>
                </a:lnTo>
                <a:lnTo>
                  <a:pt x="682" y="309"/>
                </a:lnTo>
                <a:lnTo>
                  <a:pt x="682" y="313"/>
                </a:lnTo>
                <a:close/>
              </a:path>
            </a:pathLst>
          </a:custGeom>
          <a:solidFill>
            <a:srgbClr val="005027"/>
          </a:solidFill>
          <a:ln w="9525">
            <a:solidFill>
              <a:schemeClr val="bg1"/>
            </a:solidFill>
            <a:round/>
            <a:headEnd/>
            <a:tailEnd/>
          </a:ln>
        </p:spPr>
        <p:txBody>
          <a:bodyPr/>
          <a:lstStyle/>
          <a:p>
            <a:endParaRPr lang="ro-RO"/>
          </a:p>
        </p:txBody>
      </p:sp>
      <p:sp>
        <p:nvSpPr>
          <p:cNvPr id="12314" name="Freeform 24"/>
          <p:cNvSpPr>
            <a:spLocks/>
          </p:cNvSpPr>
          <p:nvPr/>
        </p:nvSpPr>
        <p:spPr bwMode="auto">
          <a:xfrm>
            <a:off x="615950" y="2541588"/>
            <a:ext cx="1381125" cy="792162"/>
          </a:xfrm>
          <a:custGeom>
            <a:avLst/>
            <a:gdLst>
              <a:gd name="T0" fmla="*/ 2147483647 w 1073"/>
              <a:gd name="T1" fmla="*/ 2147483647 h 574"/>
              <a:gd name="T2" fmla="*/ 2147483647 w 1073"/>
              <a:gd name="T3" fmla="*/ 2147483647 h 574"/>
              <a:gd name="T4" fmla="*/ 2147483647 w 1073"/>
              <a:gd name="T5" fmla="*/ 2147483647 h 574"/>
              <a:gd name="T6" fmla="*/ 2147483647 w 1073"/>
              <a:gd name="T7" fmla="*/ 2147483647 h 574"/>
              <a:gd name="T8" fmla="*/ 2147483647 w 1073"/>
              <a:gd name="T9" fmla="*/ 2147483647 h 574"/>
              <a:gd name="T10" fmla="*/ 2147483647 w 1073"/>
              <a:gd name="T11" fmla="*/ 2147483647 h 574"/>
              <a:gd name="T12" fmla="*/ 2147483647 w 1073"/>
              <a:gd name="T13" fmla="*/ 2147483647 h 574"/>
              <a:gd name="T14" fmla="*/ 2147483647 w 1073"/>
              <a:gd name="T15" fmla="*/ 2147483647 h 574"/>
              <a:gd name="T16" fmla="*/ 2147483647 w 1073"/>
              <a:gd name="T17" fmla="*/ 2147483647 h 574"/>
              <a:gd name="T18" fmla="*/ 2147483647 w 1073"/>
              <a:gd name="T19" fmla="*/ 2147483647 h 574"/>
              <a:gd name="T20" fmla="*/ 2147483647 w 1073"/>
              <a:gd name="T21" fmla="*/ 2147483647 h 574"/>
              <a:gd name="T22" fmla="*/ 2147483647 w 1073"/>
              <a:gd name="T23" fmla="*/ 2147483647 h 574"/>
              <a:gd name="T24" fmla="*/ 2147483647 w 1073"/>
              <a:gd name="T25" fmla="*/ 2147483647 h 574"/>
              <a:gd name="T26" fmla="*/ 2147483647 w 1073"/>
              <a:gd name="T27" fmla="*/ 2147483647 h 574"/>
              <a:gd name="T28" fmla="*/ 2147483647 w 1073"/>
              <a:gd name="T29" fmla="*/ 2147483647 h 574"/>
              <a:gd name="T30" fmla="*/ 2147483647 w 1073"/>
              <a:gd name="T31" fmla="*/ 2147483647 h 574"/>
              <a:gd name="T32" fmla="*/ 2147483647 w 1073"/>
              <a:gd name="T33" fmla="*/ 2147483647 h 574"/>
              <a:gd name="T34" fmla="*/ 2147483647 w 1073"/>
              <a:gd name="T35" fmla="*/ 2147483647 h 574"/>
              <a:gd name="T36" fmla="*/ 2147483647 w 1073"/>
              <a:gd name="T37" fmla="*/ 2147483647 h 574"/>
              <a:gd name="T38" fmla="*/ 2147483647 w 1073"/>
              <a:gd name="T39" fmla="*/ 2147483647 h 574"/>
              <a:gd name="T40" fmla="*/ 2147483647 w 1073"/>
              <a:gd name="T41" fmla="*/ 2147483647 h 574"/>
              <a:gd name="T42" fmla="*/ 2147483647 w 1073"/>
              <a:gd name="T43" fmla="*/ 2147483647 h 574"/>
              <a:gd name="T44" fmla="*/ 0 w 1073"/>
              <a:gd name="T45" fmla="*/ 2147483647 h 574"/>
              <a:gd name="T46" fmla="*/ 2147483647 w 1073"/>
              <a:gd name="T47" fmla="*/ 2147483647 h 574"/>
              <a:gd name="T48" fmla="*/ 2147483647 w 1073"/>
              <a:gd name="T49" fmla="*/ 2147483647 h 574"/>
              <a:gd name="T50" fmla="*/ 2147483647 w 1073"/>
              <a:gd name="T51" fmla="*/ 2147483647 h 574"/>
              <a:gd name="T52" fmla="*/ 2147483647 w 1073"/>
              <a:gd name="T53" fmla="*/ 2147483647 h 574"/>
              <a:gd name="T54" fmla="*/ 2147483647 w 1073"/>
              <a:gd name="T55" fmla="*/ 2147483647 h 574"/>
              <a:gd name="T56" fmla="*/ 2147483647 w 1073"/>
              <a:gd name="T57" fmla="*/ 2147483647 h 574"/>
              <a:gd name="T58" fmla="*/ 2147483647 w 1073"/>
              <a:gd name="T59" fmla="*/ 2147483647 h 574"/>
              <a:gd name="T60" fmla="*/ 2147483647 w 1073"/>
              <a:gd name="T61" fmla="*/ 2147483647 h 574"/>
              <a:gd name="T62" fmla="*/ 2147483647 w 1073"/>
              <a:gd name="T63" fmla="*/ 2147483647 h 574"/>
              <a:gd name="T64" fmla="*/ 2147483647 w 1073"/>
              <a:gd name="T65" fmla="*/ 2147483647 h 574"/>
              <a:gd name="T66" fmla="*/ 2147483647 w 1073"/>
              <a:gd name="T67" fmla="*/ 2147483647 h 574"/>
              <a:gd name="T68" fmla="*/ 2147483647 w 1073"/>
              <a:gd name="T69" fmla="*/ 2147483647 h 574"/>
              <a:gd name="T70" fmla="*/ 2147483647 w 1073"/>
              <a:gd name="T71" fmla="*/ 2147483647 h 574"/>
              <a:gd name="T72" fmla="*/ 2147483647 w 1073"/>
              <a:gd name="T73" fmla="*/ 0 h 574"/>
              <a:gd name="T74" fmla="*/ 2147483647 w 1073"/>
              <a:gd name="T75" fmla="*/ 2147483647 h 574"/>
              <a:gd name="T76" fmla="*/ 2147483647 w 1073"/>
              <a:gd name="T77" fmla="*/ 2147483647 h 574"/>
              <a:gd name="T78" fmla="*/ 2147483647 w 1073"/>
              <a:gd name="T79" fmla="*/ 2147483647 h 574"/>
              <a:gd name="T80" fmla="*/ 2147483647 w 1073"/>
              <a:gd name="T81" fmla="*/ 2147483647 h 574"/>
              <a:gd name="T82" fmla="*/ 2147483647 w 1073"/>
              <a:gd name="T83" fmla="*/ 2147483647 h 574"/>
              <a:gd name="T84" fmla="*/ 2147483647 w 1073"/>
              <a:gd name="T85" fmla="*/ 2147483647 h 574"/>
              <a:gd name="T86" fmla="*/ 2147483647 w 1073"/>
              <a:gd name="T87" fmla="*/ 2147483647 h 574"/>
              <a:gd name="T88" fmla="*/ 2147483647 w 1073"/>
              <a:gd name="T89" fmla="*/ 2147483647 h 574"/>
              <a:gd name="T90" fmla="*/ 2147483647 w 1073"/>
              <a:gd name="T91" fmla="*/ 2147483647 h 574"/>
              <a:gd name="T92" fmla="*/ 2147483647 w 1073"/>
              <a:gd name="T93" fmla="*/ 2147483647 h 574"/>
              <a:gd name="T94" fmla="*/ 2147483647 w 1073"/>
              <a:gd name="T95" fmla="*/ 2147483647 h 574"/>
              <a:gd name="T96" fmla="*/ 2147483647 w 1073"/>
              <a:gd name="T97" fmla="*/ 2147483647 h 574"/>
              <a:gd name="T98" fmla="*/ 2147483647 w 1073"/>
              <a:gd name="T99" fmla="*/ 2147483647 h 574"/>
              <a:gd name="T100" fmla="*/ 2147483647 w 1073"/>
              <a:gd name="T101" fmla="*/ 2147483647 h 574"/>
              <a:gd name="T102" fmla="*/ 2147483647 w 1073"/>
              <a:gd name="T103" fmla="*/ 2147483647 h 574"/>
              <a:gd name="T104" fmla="*/ 2147483647 w 1073"/>
              <a:gd name="T105" fmla="*/ 2147483647 h 574"/>
              <a:gd name="T106" fmla="*/ 2147483647 w 1073"/>
              <a:gd name="T107" fmla="*/ 2147483647 h 574"/>
              <a:gd name="T108" fmla="*/ 2147483647 w 1073"/>
              <a:gd name="T109" fmla="*/ 2147483647 h 574"/>
              <a:gd name="T110" fmla="*/ 2147483647 w 1073"/>
              <a:gd name="T111" fmla="*/ 2147483647 h 574"/>
              <a:gd name="T112" fmla="*/ 2147483647 w 1073"/>
              <a:gd name="T113" fmla="*/ 2147483647 h 574"/>
              <a:gd name="T114" fmla="*/ 2147483647 w 1073"/>
              <a:gd name="T115" fmla="*/ 2147483647 h 57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73"/>
              <a:gd name="T175" fmla="*/ 0 h 574"/>
              <a:gd name="T176" fmla="*/ 1073 w 1073"/>
              <a:gd name="T177" fmla="*/ 574 h 57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73" h="574">
                <a:moveTo>
                  <a:pt x="864" y="536"/>
                </a:moveTo>
                <a:lnTo>
                  <a:pt x="849" y="530"/>
                </a:lnTo>
                <a:lnTo>
                  <a:pt x="844" y="530"/>
                </a:lnTo>
                <a:lnTo>
                  <a:pt x="844" y="536"/>
                </a:lnTo>
                <a:lnTo>
                  <a:pt x="844" y="540"/>
                </a:lnTo>
                <a:lnTo>
                  <a:pt x="839" y="545"/>
                </a:lnTo>
                <a:lnTo>
                  <a:pt x="829" y="549"/>
                </a:lnTo>
                <a:lnTo>
                  <a:pt x="804" y="555"/>
                </a:lnTo>
                <a:lnTo>
                  <a:pt x="795" y="559"/>
                </a:lnTo>
                <a:lnTo>
                  <a:pt x="790" y="569"/>
                </a:lnTo>
                <a:lnTo>
                  <a:pt x="784" y="574"/>
                </a:lnTo>
                <a:lnTo>
                  <a:pt x="775" y="574"/>
                </a:lnTo>
                <a:lnTo>
                  <a:pt x="755" y="564"/>
                </a:lnTo>
                <a:lnTo>
                  <a:pt x="745" y="559"/>
                </a:lnTo>
                <a:lnTo>
                  <a:pt x="725" y="549"/>
                </a:lnTo>
                <a:lnTo>
                  <a:pt x="706" y="536"/>
                </a:lnTo>
                <a:lnTo>
                  <a:pt x="690" y="530"/>
                </a:lnTo>
                <a:lnTo>
                  <a:pt x="680" y="526"/>
                </a:lnTo>
                <a:lnTo>
                  <a:pt x="675" y="526"/>
                </a:lnTo>
                <a:lnTo>
                  <a:pt x="671" y="521"/>
                </a:lnTo>
                <a:lnTo>
                  <a:pt x="665" y="511"/>
                </a:lnTo>
                <a:lnTo>
                  <a:pt x="656" y="506"/>
                </a:lnTo>
                <a:lnTo>
                  <a:pt x="645" y="506"/>
                </a:lnTo>
                <a:lnTo>
                  <a:pt x="636" y="511"/>
                </a:lnTo>
                <a:lnTo>
                  <a:pt x="625" y="526"/>
                </a:lnTo>
                <a:lnTo>
                  <a:pt x="616" y="536"/>
                </a:lnTo>
                <a:lnTo>
                  <a:pt x="601" y="536"/>
                </a:lnTo>
                <a:lnTo>
                  <a:pt x="586" y="530"/>
                </a:lnTo>
                <a:lnTo>
                  <a:pt x="581" y="526"/>
                </a:lnTo>
                <a:lnTo>
                  <a:pt x="576" y="526"/>
                </a:lnTo>
                <a:lnTo>
                  <a:pt x="571" y="526"/>
                </a:lnTo>
                <a:lnTo>
                  <a:pt x="562" y="526"/>
                </a:lnTo>
                <a:lnTo>
                  <a:pt x="556" y="536"/>
                </a:lnTo>
                <a:lnTo>
                  <a:pt x="556" y="540"/>
                </a:lnTo>
                <a:lnTo>
                  <a:pt x="551" y="536"/>
                </a:lnTo>
                <a:lnTo>
                  <a:pt x="531" y="521"/>
                </a:lnTo>
                <a:lnTo>
                  <a:pt x="521" y="515"/>
                </a:lnTo>
                <a:lnTo>
                  <a:pt x="512" y="521"/>
                </a:lnTo>
                <a:lnTo>
                  <a:pt x="506" y="530"/>
                </a:lnTo>
                <a:lnTo>
                  <a:pt x="501" y="536"/>
                </a:lnTo>
                <a:lnTo>
                  <a:pt x="497" y="536"/>
                </a:lnTo>
                <a:lnTo>
                  <a:pt x="492" y="536"/>
                </a:lnTo>
                <a:lnTo>
                  <a:pt x="482" y="530"/>
                </a:lnTo>
                <a:lnTo>
                  <a:pt x="477" y="526"/>
                </a:lnTo>
                <a:lnTo>
                  <a:pt x="471" y="515"/>
                </a:lnTo>
                <a:lnTo>
                  <a:pt x="467" y="502"/>
                </a:lnTo>
                <a:lnTo>
                  <a:pt x="457" y="492"/>
                </a:lnTo>
                <a:lnTo>
                  <a:pt x="447" y="487"/>
                </a:lnTo>
                <a:lnTo>
                  <a:pt x="436" y="487"/>
                </a:lnTo>
                <a:lnTo>
                  <a:pt x="432" y="482"/>
                </a:lnTo>
                <a:lnTo>
                  <a:pt x="427" y="477"/>
                </a:lnTo>
                <a:lnTo>
                  <a:pt x="423" y="458"/>
                </a:lnTo>
                <a:lnTo>
                  <a:pt x="417" y="443"/>
                </a:lnTo>
                <a:lnTo>
                  <a:pt x="408" y="439"/>
                </a:lnTo>
                <a:lnTo>
                  <a:pt x="392" y="443"/>
                </a:lnTo>
                <a:lnTo>
                  <a:pt x="382" y="449"/>
                </a:lnTo>
                <a:lnTo>
                  <a:pt x="368" y="458"/>
                </a:lnTo>
                <a:lnTo>
                  <a:pt x="353" y="468"/>
                </a:lnTo>
                <a:lnTo>
                  <a:pt x="342" y="477"/>
                </a:lnTo>
                <a:lnTo>
                  <a:pt x="338" y="482"/>
                </a:lnTo>
                <a:lnTo>
                  <a:pt x="333" y="482"/>
                </a:lnTo>
                <a:lnTo>
                  <a:pt x="323" y="487"/>
                </a:lnTo>
                <a:lnTo>
                  <a:pt x="312" y="482"/>
                </a:lnTo>
                <a:lnTo>
                  <a:pt x="303" y="472"/>
                </a:lnTo>
                <a:lnTo>
                  <a:pt x="298" y="468"/>
                </a:lnTo>
                <a:lnTo>
                  <a:pt x="288" y="472"/>
                </a:lnTo>
                <a:lnTo>
                  <a:pt x="283" y="482"/>
                </a:lnTo>
                <a:lnTo>
                  <a:pt x="273" y="487"/>
                </a:lnTo>
                <a:lnTo>
                  <a:pt x="268" y="487"/>
                </a:lnTo>
                <a:lnTo>
                  <a:pt x="264" y="477"/>
                </a:lnTo>
                <a:lnTo>
                  <a:pt x="258" y="472"/>
                </a:lnTo>
                <a:lnTo>
                  <a:pt x="249" y="468"/>
                </a:lnTo>
                <a:lnTo>
                  <a:pt x="234" y="472"/>
                </a:lnTo>
                <a:lnTo>
                  <a:pt x="214" y="472"/>
                </a:lnTo>
                <a:lnTo>
                  <a:pt x="199" y="472"/>
                </a:lnTo>
                <a:lnTo>
                  <a:pt x="184" y="458"/>
                </a:lnTo>
                <a:lnTo>
                  <a:pt x="179" y="449"/>
                </a:lnTo>
                <a:lnTo>
                  <a:pt x="164" y="443"/>
                </a:lnTo>
                <a:lnTo>
                  <a:pt x="134" y="439"/>
                </a:lnTo>
                <a:lnTo>
                  <a:pt x="119" y="429"/>
                </a:lnTo>
                <a:lnTo>
                  <a:pt x="110" y="420"/>
                </a:lnTo>
                <a:lnTo>
                  <a:pt x="105" y="415"/>
                </a:lnTo>
                <a:lnTo>
                  <a:pt x="94" y="415"/>
                </a:lnTo>
                <a:lnTo>
                  <a:pt x="70" y="410"/>
                </a:lnTo>
                <a:lnTo>
                  <a:pt x="64" y="405"/>
                </a:lnTo>
                <a:lnTo>
                  <a:pt x="60" y="395"/>
                </a:lnTo>
                <a:lnTo>
                  <a:pt x="60" y="386"/>
                </a:lnTo>
                <a:lnTo>
                  <a:pt x="55" y="376"/>
                </a:lnTo>
                <a:lnTo>
                  <a:pt x="40" y="371"/>
                </a:lnTo>
                <a:lnTo>
                  <a:pt x="20" y="367"/>
                </a:lnTo>
                <a:lnTo>
                  <a:pt x="5" y="361"/>
                </a:lnTo>
                <a:lnTo>
                  <a:pt x="0" y="357"/>
                </a:lnTo>
                <a:lnTo>
                  <a:pt x="10" y="357"/>
                </a:lnTo>
                <a:lnTo>
                  <a:pt x="25" y="352"/>
                </a:lnTo>
                <a:lnTo>
                  <a:pt x="30" y="348"/>
                </a:lnTo>
                <a:lnTo>
                  <a:pt x="30" y="342"/>
                </a:lnTo>
                <a:lnTo>
                  <a:pt x="30" y="333"/>
                </a:lnTo>
                <a:lnTo>
                  <a:pt x="45" y="327"/>
                </a:lnTo>
                <a:lnTo>
                  <a:pt x="45" y="304"/>
                </a:lnTo>
                <a:lnTo>
                  <a:pt x="49" y="284"/>
                </a:lnTo>
                <a:lnTo>
                  <a:pt x="60" y="274"/>
                </a:lnTo>
                <a:lnTo>
                  <a:pt x="84" y="270"/>
                </a:lnTo>
                <a:lnTo>
                  <a:pt x="99" y="270"/>
                </a:lnTo>
                <a:lnTo>
                  <a:pt x="105" y="274"/>
                </a:lnTo>
                <a:lnTo>
                  <a:pt x="110" y="294"/>
                </a:lnTo>
                <a:lnTo>
                  <a:pt x="125" y="289"/>
                </a:lnTo>
                <a:lnTo>
                  <a:pt x="129" y="280"/>
                </a:lnTo>
                <a:lnTo>
                  <a:pt x="134" y="274"/>
                </a:lnTo>
                <a:lnTo>
                  <a:pt x="140" y="270"/>
                </a:lnTo>
                <a:lnTo>
                  <a:pt x="149" y="274"/>
                </a:lnTo>
                <a:lnTo>
                  <a:pt x="159" y="274"/>
                </a:lnTo>
                <a:lnTo>
                  <a:pt x="169" y="280"/>
                </a:lnTo>
                <a:lnTo>
                  <a:pt x="179" y="284"/>
                </a:lnTo>
                <a:lnTo>
                  <a:pt x="184" y="289"/>
                </a:lnTo>
                <a:lnTo>
                  <a:pt x="208" y="304"/>
                </a:lnTo>
                <a:lnTo>
                  <a:pt x="214" y="289"/>
                </a:lnTo>
                <a:lnTo>
                  <a:pt x="223" y="284"/>
                </a:lnTo>
                <a:lnTo>
                  <a:pt x="249" y="280"/>
                </a:lnTo>
                <a:lnTo>
                  <a:pt x="258" y="274"/>
                </a:lnTo>
                <a:lnTo>
                  <a:pt x="268" y="270"/>
                </a:lnTo>
                <a:lnTo>
                  <a:pt x="273" y="246"/>
                </a:lnTo>
                <a:lnTo>
                  <a:pt x="278" y="217"/>
                </a:lnTo>
                <a:lnTo>
                  <a:pt x="278" y="207"/>
                </a:lnTo>
                <a:lnTo>
                  <a:pt x="283" y="198"/>
                </a:lnTo>
                <a:lnTo>
                  <a:pt x="298" y="192"/>
                </a:lnTo>
                <a:lnTo>
                  <a:pt x="312" y="192"/>
                </a:lnTo>
                <a:lnTo>
                  <a:pt x="333" y="188"/>
                </a:lnTo>
                <a:lnTo>
                  <a:pt x="338" y="173"/>
                </a:lnTo>
                <a:lnTo>
                  <a:pt x="333" y="154"/>
                </a:lnTo>
                <a:lnTo>
                  <a:pt x="318" y="135"/>
                </a:lnTo>
                <a:lnTo>
                  <a:pt x="308" y="120"/>
                </a:lnTo>
                <a:lnTo>
                  <a:pt x="308" y="116"/>
                </a:lnTo>
                <a:lnTo>
                  <a:pt x="312" y="111"/>
                </a:lnTo>
                <a:lnTo>
                  <a:pt x="333" y="106"/>
                </a:lnTo>
                <a:lnTo>
                  <a:pt x="342" y="96"/>
                </a:lnTo>
                <a:lnTo>
                  <a:pt x="353" y="86"/>
                </a:lnTo>
                <a:lnTo>
                  <a:pt x="353" y="72"/>
                </a:lnTo>
                <a:lnTo>
                  <a:pt x="353" y="48"/>
                </a:lnTo>
                <a:lnTo>
                  <a:pt x="362" y="38"/>
                </a:lnTo>
                <a:lnTo>
                  <a:pt x="373" y="34"/>
                </a:lnTo>
                <a:lnTo>
                  <a:pt x="382" y="38"/>
                </a:lnTo>
                <a:lnTo>
                  <a:pt x="392" y="38"/>
                </a:lnTo>
                <a:lnTo>
                  <a:pt x="402" y="38"/>
                </a:lnTo>
                <a:lnTo>
                  <a:pt x="408" y="34"/>
                </a:lnTo>
                <a:lnTo>
                  <a:pt x="408" y="19"/>
                </a:lnTo>
                <a:lnTo>
                  <a:pt x="408" y="10"/>
                </a:lnTo>
                <a:lnTo>
                  <a:pt x="412" y="0"/>
                </a:lnTo>
                <a:lnTo>
                  <a:pt x="417" y="0"/>
                </a:lnTo>
                <a:lnTo>
                  <a:pt x="423" y="4"/>
                </a:lnTo>
                <a:lnTo>
                  <a:pt x="432" y="14"/>
                </a:lnTo>
                <a:lnTo>
                  <a:pt x="447" y="29"/>
                </a:lnTo>
                <a:lnTo>
                  <a:pt x="457" y="38"/>
                </a:lnTo>
                <a:lnTo>
                  <a:pt x="471" y="38"/>
                </a:lnTo>
                <a:lnTo>
                  <a:pt x="477" y="34"/>
                </a:lnTo>
                <a:lnTo>
                  <a:pt x="482" y="29"/>
                </a:lnTo>
                <a:lnTo>
                  <a:pt x="486" y="24"/>
                </a:lnTo>
                <a:lnTo>
                  <a:pt x="501" y="19"/>
                </a:lnTo>
                <a:lnTo>
                  <a:pt x="521" y="10"/>
                </a:lnTo>
                <a:lnTo>
                  <a:pt x="531" y="4"/>
                </a:lnTo>
                <a:lnTo>
                  <a:pt x="541" y="10"/>
                </a:lnTo>
                <a:lnTo>
                  <a:pt x="546" y="14"/>
                </a:lnTo>
                <a:lnTo>
                  <a:pt x="551" y="19"/>
                </a:lnTo>
                <a:lnTo>
                  <a:pt x="556" y="19"/>
                </a:lnTo>
                <a:lnTo>
                  <a:pt x="562" y="19"/>
                </a:lnTo>
                <a:lnTo>
                  <a:pt x="576" y="14"/>
                </a:lnTo>
                <a:lnTo>
                  <a:pt x="591" y="14"/>
                </a:lnTo>
                <a:lnTo>
                  <a:pt x="610" y="19"/>
                </a:lnTo>
                <a:lnTo>
                  <a:pt x="625" y="24"/>
                </a:lnTo>
                <a:lnTo>
                  <a:pt x="636" y="34"/>
                </a:lnTo>
                <a:lnTo>
                  <a:pt x="645" y="44"/>
                </a:lnTo>
                <a:lnTo>
                  <a:pt x="660" y="48"/>
                </a:lnTo>
                <a:lnTo>
                  <a:pt x="680" y="48"/>
                </a:lnTo>
                <a:lnTo>
                  <a:pt x="695" y="38"/>
                </a:lnTo>
                <a:lnTo>
                  <a:pt x="710" y="34"/>
                </a:lnTo>
                <a:lnTo>
                  <a:pt x="725" y="38"/>
                </a:lnTo>
                <a:lnTo>
                  <a:pt x="734" y="44"/>
                </a:lnTo>
                <a:lnTo>
                  <a:pt x="740" y="44"/>
                </a:lnTo>
                <a:lnTo>
                  <a:pt x="745" y="44"/>
                </a:lnTo>
                <a:lnTo>
                  <a:pt x="749" y="48"/>
                </a:lnTo>
                <a:lnTo>
                  <a:pt x="765" y="63"/>
                </a:lnTo>
                <a:lnTo>
                  <a:pt x="780" y="82"/>
                </a:lnTo>
                <a:lnTo>
                  <a:pt x="784" y="92"/>
                </a:lnTo>
                <a:lnTo>
                  <a:pt x="784" y="101"/>
                </a:lnTo>
                <a:lnTo>
                  <a:pt x="780" y="120"/>
                </a:lnTo>
                <a:lnTo>
                  <a:pt x="784" y="126"/>
                </a:lnTo>
                <a:lnTo>
                  <a:pt x="795" y="130"/>
                </a:lnTo>
                <a:lnTo>
                  <a:pt x="810" y="135"/>
                </a:lnTo>
                <a:lnTo>
                  <a:pt x="829" y="135"/>
                </a:lnTo>
                <a:lnTo>
                  <a:pt x="839" y="135"/>
                </a:lnTo>
                <a:lnTo>
                  <a:pt x="844" y="130"/>
                </a:lnTo>
                <a:lnTo>
                  <a:pt x="844" y="139"/>
                </a:lnTo>
                <a:lnTo>
                  <a:pt x="854" y="160"/>
                </a:lnTo>
                <a:lnTo>
                  <a:pt x="874" y="188"/>
                </a:lnTo>
                <a:lnTo>
                  <a:pt x="889" y="207"/>
                </a:lnTo>
                <a:lnTo>
                  <a:pt x="904" y="222"/>
                </a:lnTo>
                <a:lnTo>
                  <a:pt x="923" y="232"/>
                </a:lnTo>
                <a:lnTo>
                  <a:pt x="943" y="232"/>
                </a:lnTo>
                <a:lnTo>
                  <a:pt x="963" y="232"/>
                </a:lnTo>
                <a:lnTo>
                  <a:pt x="983" y="232"/>
                </a:lnTo>
                <a:lnTo>
                  <a:pt x="1003" y="226"/>
                </a:lnTo>
                <a:lnTo>
                  <a:pt x="1023" y="222"/>
                </a:lnTo>
                <a:lnTo>
                  <a:pt x="1028" y="222"/>
                </a:lnTo>
                <a:lnTo>
                  <a:pt x="1043" y="255"/>
                </a:lnTo>
                <a:lnTo>
                  <a:pt x="1053" y="260"/>
                </a:lnTo>
                <a:lnTo>
                  <a:pt x="1063" y="265"/>
                </a:lnTo>
                <a:lnTo>
                  <a:pt x="1073" y="270"/>
                </a:lnTo>
                <a:lnTo>
                  <a:pt x="1063" y="270"/>
                </a:lnTo>
                <a:lnTo>
                  <a:pt x="1043" y="274"/>
                </a:lnTo>
                <a:lnTo>
                  <a:pt x="1032" y="280"/>
                </a:lnTo>
                <a:lnTo>
                  <a:pt x="1023" y="294"/>
                </a:lnTo>
                <a:lnTo>
                  <a:pt x="1018" y="318"/>
                </a:lnTo>
                <a:lnTo>
                  <a:pt x="1013" y="342"/>
                </a:lnTo>
                <a:lnTo>
                  <a:pt x="997" y="352"/>
                </a:lnTo>
                <a:lnTo>
                  <a:pt x="978" y="352"/>
                </a:lnTo>
                <a:lnTo>
                  <a:pt x="949" y="352"/>
                </a:lnTo>
                <a:lnTo>
                  <a:pt x="934" y="352"/>
                </a:lnTo>
                <a:lnTo>
                  <a:pt x="923" y="352"/>
                </a:lnTo>
                <a:lnTo>
                  <a:pt x="914" y="367"/>
                </a:lnTo>
                <a:lnTo>
                  <a:pt x="914" y="381"/>
                </a:lnTo>
                <a:lnTo>
                  <a:pt x="914" y="395"/>
                </a:lnTo>
                <a:lnTo>
                  <a:pt x="908" y="405"/>
                </a:lnTo>
                <a:lnTo>
                  <a:pt x="904" y="415"/>
                </a:lnTo>
                <a:lnTo>
                  <a:pt x="893" y="424"/>
                </a:lnTo>
                <a:lnTo>
                  <a:pt x="889" y="434"/>
                </a:lnTo>
                <a:lnTo>
                  <a:pt x="889" y="449"/>
                </a:lnTo>
                <a:lnTo>
                  <a:pt x="893" y="468"/>
                </a:lnTo>
                <a:lnTo>
                  <a:pt x="893" y="487"/>
                </a:lnTo>
                <a:lnTo>
                  <a:pt x="884" y="496"/>
                </a:lnTo>
                <a:lnTo>
                  <a:pt x="874" y="506"/>
                </a:lnTo>
                <a:lnTo>
                  <a:pt x="869" y="515"/>
                </a:lnTo>
                <a:lnTo>
                  <a:pt x="869" y="530"/>
                </a:lnTo>
                <a:lnTo>
                  <a:pt x="869" y="536"/>
                </a:lnTo>
                <a:lnTo>
                  <a:pt x="864" y="536"/>
                </a:lnTo>
                <a:close/>
              </a:path>
            </a:pathLst>
          </a:custGeom>
          <a:solidFill>
            <a:srgbClr val="005027"/>
          </a:solidFill>
          <a:ln w="9525">
            <a:solidFill>
              <a:schemeClr val="bg1"/>
            </a:solidFill>
            <a:round/>
            <a:headEnd/>
            <a:tailEnd/>
          </a:ln>
        </p:spPr>
        <p:txBody>
          <a:bodyPr/>
          <a:lstStyle/>
          <a:p>
            <a:endParaRPr lang="ro-RO"/>
          </a:p>
        </p:txBody>
      </p:sp>
      <p:sp>
        <p:nvSpPr>
          <p:cNvPr id="12315" name="Freeform 25"/>
          <p:cNvSpPr>
            <a:spLocks/>
          </p:cNvSpPr>
          <p:nvPr/>
        </p:nvSpPr>
        <p:spPr bwMode="auto">
          <a:xfrm>
            <a:off x="1146175" y="1643063"/>
            <a:ext cx="889000" cy="1220787"/>
          </a:xfrm>
          <a:custGeom>
            <a:avLst/>
            <a:gdLst>
              <a:gd name="T0" fmla="*/ 2147483647 w 691"/>
              <a:gd name="T1" fmla="*/ 2147483647 h 884"/>
              <a:gd name="T2" fmla="*/ 2147483647 w 691"/>
              <a:gd name="T3" fmla="*/ 2147483647 h 884"/>
              <a:gd name="T4" fmla="*/ 2147483647 w 691"/>
              <a:gd name="T5" fmla="*/ 2147483647 h 884"/>
              <a:gd name="T6" fmla="*/ 2147483647 w 691"/>
              <a:gd name="T7" fmla="*/ 2147483647 h 884"/>
              <a:gd name="T8" fmla="*/ 2147483647 w 691"/>
              <a:gd name="T9" fmla="*/ 2147483647 h 884"/>
              <a:gd name="T10" fmla="*/ 2147483647 w 691"/>
              <a:gd name="T11" fmla="*/ 2147483647 h 884"/>
              <a:gd name="T12" fmla="*/ 2147483647 w 691"/>
              <a:gd name="T13" fmla="*/ 2147483647 h 884"/>
              <a:gd name="T14" fmla="*/ 2147483647 w 691"/>
              <a:gd name="T15" fmla="*/ 2147483647 h 884"/>
              <a:gd name="T16" fmla="*/ 2147483647 w 691"/>
              <a:gd name="T17" fmla="*/ 2147483647 h 884"/>
              <a:gd name="T18" fmla="*/ 2147483647 w 691"/>
              <a:gd name="T19" fmla="*/ 2147483647 h 884"/>
              <a:gd name="T20" fmla="*/ 2147483647 w 691"/>
              <a:gd name="T21" fmla="*/ 2147483647 h 884"/>
              <a:gd name="T22" fmla="*/ 2147483647 w 691"/>
              <a:gd name="T23" fmla="*/ 2147483647 h 884"/>
              <a:gd name="T24" fmla="*/ 2147483647 w 691"/>
              <a:gd name="T25" fmla="*/ 2147483647 h 884"/>
              <a:gd name="T26" fmla="*/ 2147483647 w 691"/>
              <a:gd name="T27" fmla="*/ 2147483647 h 884"/>
              <a:gd name="T28" fmla="*/ 2147483647 w 691"/>
              <a:gd name="T29" fmla="*/ 2147483647 h 884"/>
              <a:gd name="T30" fmla="*/ 2147483647 w 691"/>
              <a:gd name="T31" fmla="*/ 2147483647 h 884"/>
              <a:gd name="T32" fmla="*/ 2147483647 w 691"/>
              <a:gd name="T33" fmla="*/ 2147483647 h 884"/>
              <a:gd name="T34" fmla="*/ 2147483647 w 691"/>
              <a:gd name="T35" fmla="*/ 2147483647 h 884"/>
              <a:gd name="T36" fmla="*/ 2147483647 w 691"/>
              <a:gd name="T37" fmla="*/ 2147483647 h 884"/>
              <a:gd name="T38" fmla="*/ 2147483647 w 691"/>
              <a:gd name="T39" fmla="*/ 2147483647 h 884"/>
              <a:gd name="T40" fmla="*/ 2147483647 w 691"/>
              <a:gd name="T41" fmla="*/ 2147483647 h 884"/>
              <a:gd name="T42" fmla="*/ 2147483647 w 691"/>
              <a:gd name="T43" fmla="*/ 2147483647 h 884"/>
              <a:gd name="T44" fmla="*/ 2147483647 w 691"/>
              <a:gd name="T45" fmla="*/ 2147483647 h 884"/>
              <a:gd name="T46" fmla="*/ 2147483647 w 691"/>
              <a:gd name="T47" fmla="*/ 2147483647 h 884"/>
              <a:gd name="T48" fmla="*/ 2147483647 w 691"/>
              <a:gd name="T49" fmla="*/ 2147483647 h 884"/>
              <a:gd name="T50" fmla="*/ 2147483647 w 691"/>
              <a:gd name="T51" fmla="*/ 2147483647 h 884"/>
              <a:gd name="T52" fmla="*/ 2147483647 w 691"/>
              <a:gd name="T53" fmla="*/ 2147483647 h 884"/>
              <a:gd name="T54" fmla="*/ 2147483647 w 691"/>
              <a:gd name="T55" fmla="*/ 2147483647 h 884"/>
              <a:gd name="T56" fmla="*/ 2147483647 w 691"/>
              <a:gd name="T57" fmla="*/ 2147483647 h 884"/>
              <a:gd name="T58" fmla="*/ 2147483647 w 691"/>
              <a:gd name="T59" fmla="*/ 2147483647 h 884"/>
              <a:gd name="T60" fmla="*/ 2147483647 w 691"/>
              <a:gd name="T61" fmla="*/ 2147483647 h 884"/>
              <a:gd name="T62" fmla="*/ 2147483647 w 691"/>
              <a:gd name="T63" fmla="*/ 2147483647 h 884"/>
              <a:gd name="T64" fmla="*/ 2147483647 w 691"/>
              <a:gd name="T65" fmla="*/ 2147483647 h 884"/>
              <a:gd name="T66" fmla="*/ 2147483647 w 691"/>
              <a:gd name="T67" fmla="*/ 2147483647 h 884"/>
              <a:gd name="T68" fmla="*/ 2147483647 w 691"/>
              <a:gd name="T69" fmla="*/ 2147483647 h 884"/>
              <a:gd name="T70" fmla="*/ 2147483647 w 691"/>
              <a:gd name="T71" fmla="*/ 2147483647 h 884"/>
              <a:gd name="T72" fmla="*/ 2147483647 w 691"/>
              <a:gd name="T73" fmla="*/ 2147483647 h 884"/>
              <a:gd name="T74" fmla="*/ 2147483647 w 691"/>
              <a:gd name="T75" fmla="*/ 2147483647 h 884"/>
              <a:gd name="T76" fmla="*/ 2147483647 w 691"/>
              <a:gd name="T77" fmla="*/ 2147483647 h 884"/>
              <a:gd name="T78" fmla="*/ 2147483647 w 691"/>
              <a:gd name="T79" fmla="*/ 2147483647 h 884"/>
              <a:gd name="T80" fmla="*/ 2147483647 w 691"/>
              <a:gd name="T81" fmla="*/ 2147483647 h 884"/>
              <a:gd name="T82" fmla="*/ 2147483647 w 691"/>
              <a:gd name="T83" fmla="*/ 2147483647 h 884"/>
              <a:gd name="T84" fmla="*/ 2147483647 w 691"/>
              <a:gd name="T85" fmla="*/ 2147483647 h 884"/>
              <a:gd name="T86" fmla="*/ 2147483647 w 691"/>
              <a:gd name="T87" fmla="*/ 2147483647 h 884"/>
              <a:gd name="T88" fmla="*/ 2147483647 w 691"/>
              <a:gd name="T89" fmla="*/ 2147483647 h 884"/>
              <a:gd name="T90" fmla="*/ 2147483647 w 691"/>
              <a:gd name="T91" fmla="*/ 2147483647 h 884"/>
              <a:gd name="T92" fmla="*/ 2147483647 w 691"/>
              <a:gd name="T93" fmla="*/ 2147483647 h 884"/>
              <a:gd name="T94" fmla="*/ 2147483647 w 691"/>
              <a:gd name="T95" fmla="*/ 2147483647 h 884"/>
              <a:gd name="T96" fmla="*/ 2147483647 w 691"/>
              <a:gd name="T97" fmla="*/ 2147483647 h 88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91"/>
              <a:gd name="T148" fmla="*/ 0 h 884"/>
              <a:gd name="T149" fmla="*/ 691 w 691"/>
              <a:gd name="T150" fmla="*/ 884 h 88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91" h="884">
                <a:moveTo>
                  <a:pt x="423" y="0"/>
                </a:moveTo>
                <a:lnTo>
                  <a:pt x="428" y="5"/>
                </a:lnTo>
                <a:lnTo>
                  <a:pt x="434" y="19"/>
                </a:lnTo>
                <a:lnTo>
                  <a:pt x="443" y="38"/>
                </a:lnTo>
                <a:lnTo>
                  <a:pt x="453" y="53"/>
                </a:lnTo>
                <a:lnTo>
                  <a:pt x="468" y="72"/>
                </a:lnTo>
                <a:lnTo>
                  <a:pt x="478" y="87"/>
                </a:lnTo>
                <a:lnTo>
                  <a:pt x="478" y="106"/>
                </a:lnTo>
                <a:lnTo>
                  <a:pt x="478" y="121"/>
                </a:lnTo>
                <a:lnTo>
                  <a:pt x="482" y="131"/>
                </a:lnTo>
                <a:lnTo>
                  <a:pt x="493" y="131"/>
                </a:lnTo>
                <a:lnTo>
                  <a:pt x="503" y="131"/>
                </a:lnTo>
                <a:lnTo>
                  <a:pt x="517" y="136"/>
                </a:lnTo>
                <a:lnTo>
                  <a:pt x="538" y="140"/>
                </a:lnTo>
                <a:lnTo>
                  <a:pt x="563" y="150"/>
                </a:lnTo>
                <a:lnTo>
                  <a:pt x="582" y="165"/>
                </a:lnTo>
                <a:lnTo>
                  <a:pt x="597" y="184"/>
                </a:lnTo>
                <a:lnTo>
                  <a:pt x="602" y="199"/>
                </a:lnTo>
                <a:lnTo>
                  <a:pt x="597" y="208"/>
                </a:lnTo>
                <a:lnTo>
                  <a:pt x="587" y="212"/>
                </a:lnTo>
                <a:lnTo>
                  <a:pt x="578" y="218"/>
                </a:lnTo>
                <a:lnTo>
                  <a:pt x="578" y="227"/>
                </a:lnTo>
                <a:lnTo>
                  <a:pt x="578" y="237"/>
                </a:lnTo>
                <a:lnTo>
                  <a:pt x="578" y="241"/>
                </a:lnTo>
                <a:lnTo>
                  <a:pt x="578" y="246"/>
                </a:lnTo>
                <a:lnTo>
                  <a:pt x="573" y="256"/>
                </a:lnTo>
                <a:lnTo>
                  <a:pt x="567" y="266"/>
                </a:lnTo>
                <a:lnTo>
                  <a:pt x="567" y="271"/>
                </a:lnTo>
                <a:lnTo>
                  <a:pt x="552" y="286"/>
                </a:lnTo>
                <a:lnTo>
                  <a:pt x="547" y="294"/>
                </a:lnTo>
                <a:lnTo>
                  <a:pt x="547" y="305"/>
                </a:lnTo>
                <a:lnTo>
                  <a:pt x="547" y="314"/>
                </a:lnTo>
                <a:lnTo>
                  <a:pt x="558" y="333"/>
                </a:lnTo>
                <a:lnTo>
                  <a:pt x="573" y="343"/>
                </a:lnTo>
                <a:lnTo>
                  <a:pt x="578" y="353"/>
                </a:lnTo>
                <a:lnTo>
                  <a:pt x="578" y="367"/>
                </a:lnTo>
                <a:lnTo>
                  <a:pt x="573" y="377"/>
                </a:lnTo>
                <a:lnTo>
                  <a:pt x="573" y="392"/>
                </a:lnTo>
                <a:lnTo>
                  <a:pt x="578" y="396"/>
                </a:lnTo>
                <a:lnTo>
                  <a:pt x="593" y="396"/>
                </a:lnTo>
                <a:lnTo>
                  <a:pt x="612" y="396"/>
                </a:lnTo>
                <a:lnTo>
                  <a:pt x="627" y="401"/>
                </a:lnTo>
                <a:lnTo>
                  <a:pt x="637" y="411"/>
                </a:lnTo>
                <a:lnTo>
                  <a:pt x="647" y="421"/>
                </a:lnTo>
                <a:lnTo>
                  <a:pt x="647" y="430"/>
                </a:lnTo>
                <a:lnTo>
                  <a:pt x="632" y="455"/>
                </a:lnTo>
                <a:lnTo>
                  <a:pt x="622" y="478"/>
                </a:lnTo>
                <a:lnTo>
                  <a:pt x="627" y="493"/>
                </a:lnTo>
                <a:lnTo>
                  <a:pt x="637" y="502"/>
                </a:lnTo>
                <a:lnTo>
                  <a:pt x="647" y="508"/>
                </a:lnTo>
                <a:lnTo>
                  <a:pt x="667" y="517"/>
                </a:lnTo>
                <a:lnTo>
                  <a:pt x="672" y="527"/>
                </a:lnTo>
                <a:lnTo>
                  <a:pt x="672" y="536"/>
                </a:lnTo>
                <a:lnTo>
                  <a:pt x="672" y="550"/>
                </a:lnTo>
                <a:lnTo>
                  <a:pt x="667" y="570"/>
                </a:lnTo>
                <a:lnTo>
                  <a:pt x="652" y="584"/>
                </a:lnTo>
                <a:lnTo>
                  <a:pt x="643" y="584"/>
                </a:lnTo>
                <a:lnTo>
                  <a:pt x="632" y="584"/>
                </a:lnTo>
                <a:lnTo>
                  <a:pt x="622" y="580"/>
                </a:lnTo>
                <a:lnTo>
                  <a:pt x="617" y="584"/>
                </a:lnTo>
                <a:lnTo>
                  <a:pt x="608" y="595"/>
                </a:lnTo>
                <a:lnTo>
                  <a:pt x="612" y="609"/>
                </a:lnTo>
                <a:lnTo>
                  <a:pt x="627" y="618"/>
                </a:lnTo>
                <a:lnTo>
                  <a:pt x="637" y="628"/>
                </a:lnTo>
                <a:lnTo>
                  <a:pt x="647" y="643"/>
                </a:lnTo>
                <a:lnTo>
                  <a:pt x="662" y="677"/>
                </a:lnTo>
                <a:lnTo>
                  <a:pt x="676" y="715"/>
                </a:lnTo>
                <a:lnTo>
                  <a:pt x="687" y="749"/>
                </a:lnTo>
                <a:lnTo>
                  <a:pt x="691" y="758"/>
                </a:lnTo>
                <a:lnTo>
                  <a:pt x="687" y="768"/>
                </a:lnTo>
                <a:lnTo>
                  <a:pt x="676" y="773"/>
                </a:lnTo>
                <a:lnTo>
                  <a:pt x="662" y="773"/>
                </a:lnTo>
                <a:lnTo>
                  <a:pt x="652" y="773"/>
                </a:lnTo>
                <a:lnTo>
                  <a:pt x="632" y="783"/>
                </a:lnTo>
                <a:lnTo>
                  <a:pt x="627" y="792"/>
                </a:lnTo>
                <a:lnTo>
                  <a:pt x="622" y="806"/>
                </a:lnTo>
                <a:lnTo>
                  <a:pt x="622" y="826"/>
                </a:lnTo>
                <a:lnTo>
                  <a:pt x="622" y="840"/>
                </a:lnTo>
                <a:lnTo>
                  <a:pt x="627" y="855"/>
                </a:lnTo>
                <a:lnTo>
                  <a:pt x="632" y="860"/>
                </a:lnTo>
                <a:lnTo>
                  <a:pt x="632" y="865"/>
                </a:lnTo>
                <a:lnTo>
                  <a:pt x="617" y="874"/>
                </a:lnTo>
                <a:lnTo>
                  <a:pt x="612" y="874"/>
                </a:lnTo>
                <a:lnTo>
                  <a:pt x="593" y="879"/>
                </a:lnTo>
                <a:lnTo>
                  <a:pt x="573" y="884"/>
                </a:lnTo>
                <a:lnTo>
                  <a:pt x="552" y="884"/>
                </a:lnTo>
                <a:lnTo>
                  <a:pt x="532" y="884"/>
                </a:lnTo>
                <a:lnTo>
                  <a:pt x="512" y="884"/>
                </a:lnTo>
                <a:lnTo>
                  <a:pt x="493" y="874"/>
                </a:lnTo>
                <a:lnTo>
                  <a:pt x="478" y="860"/>
                </a:lnTo>
                <a:lnTo>
                  <a:pt x="463" y="840"/>
                </a:lnTo>
                <a:lnTo>
                  <a:pt x="443" y="812"/>
                </a:lnTo>
                <a:lnTo>
                  <a:pt x="434" y="792"/>
                </a:lnTo>
                <a:lnTo>
                  <a:pt x="434" y="783"/>
                </a:lnTo>
                <a:lnTo>
                  <a:pt x="428" y="787"/>
                </a:lnTo>
                <a:lnTo>
                  <a:pt x="418" y="787"/>
                </a:lnTo>
                <a:lnTo>
                  <a:pt x="399" y="787"/>
                </a:lnTo>
                <a:lnTo>
                  <a:pt x="383" y="783"/>
                </a:lnTo>
                <a:lnTo>
                  <a:pt x="373" y="779"/>
                </a:lnTo>
                <a:lnTo>
                  <a:pt x="369" y="773"/>
                </a:lnTo>
                <a:lnTo>
                  <a:pt x="373" y="754"/>
                </a:lnTo>
                <a:lnTo>
                  <a:pt x="373" y="745"/>
                </a:lnTo>
                <a:lnTo>
                  <a:pt x="369" y="734"/>
                </a:lnTo>
                <a:lnTo>
                  <a:pt x="353" y="715"/>
                </a:lnTo>
                <a:lnTo>
                  <a:pt x="338" y="701"/>
                </a:lnTo>
                <a:lnTo>
                  <a:pt x="334" y="696"/>
                </a:lnTo>
                <a:lnTo>
                  <a:pt x="329" y="696"/>
                </a:lnTo>
                <a:lnTo>
                  <a:pt x="323" y="696"/>
                </a:lnTo>
                <a:lnTo>
                  <a:pt x="314" y="691"/>
                </a:lnTo>
                <a:lnTo>
                  <a:pt x="299" y="686"/>
                </a:lnTo>
                <a:lnTo>
                  <a:pt x="284" y="691"/>
                </a:lnTo>
                <a:lnTo>
                  <a:pt x="268" y="701"/>
                </a:lnTo>
                <a:lnTo>
                  <a:pt x="249" y="701"/>
                </a:lnTo>
                <a:lnTo>
                  <a:pt x="234" y="696"/>
                </a:lnTo>
                <a:lnTo>
                  <a:pt x="224" y="686"/>
                </a:lnTo>
                <a:lnTo>
                  <a:pt x="214" y="677"/>
                </a:lnTo>
                <a:lnTo>
                  <a:pt x="199" y="671"/>
                </a:lnTo>
                <a:lnTo>
                  <a:pt x="179" y="667"/>
                </a:lnTo>
                <a:lnTo>
                  <a:pt x="164" y="667"/>
                </a:lnTo>
                <a:lnTo>
                  <a:pt x="150" y="671"/>
                </a:lnTo>
                <a:lnTo>
                  <a:pt x="144" y="671"/>
                </a:lnTo>
                <a:lnTo>
                  <a:pt x="139" y="671"/>
                </a:lnTo>
                <a:lnTo>
                  <a:pt x="135" y="667"/>
                </a:lnTo>
                <a:lnTo>
                  <a:pt x="129" y="662"/>
                </a:lnTo>
                <a:lnTo>
                  <a:pt x="120" y="657"/>
                </a:lnTo>
                <a:lnTo>
                  <a:pt x="109" y="662"/>
                </a:lnTo>
                <a:lnTo>
                  <a:pt x="90" y="671"/>
                </a:lnTo>
                <a:lnTo>
                  <a:pt x="75" y="677"/>
                </a:lnTo>
                <a:lnTo>
                  <a:pt x="70" y="681"/>
                </a:lnTo>
                <a:lnTo>
                  <a:pt x="65" y="686"/>
                </a:lnTo>
                <a:lnTo>
                  <a:pt x="59" y="691"/>
                </a:lnTo>
                <a:lnTo>
                  <a:pt x="45" y="691"/>
                </a:lnTo>
                <a:lnTo>
                  <a:pt x="35" y="681"/>
                </a:lnTo>
                <a:lnTo>
                  <a:pt x="20" y="667"/>
                </a:lnTo>
                <a:lnTo>
                  <a:pt x="11" y="657"/>
                </a:lnTo>
                <a:lnTo>
                  <a:pt x="5" y="652"/>
                </a:lnTo>
                <a:lnTo>
                  <a:pt x="0" y="652"/>
                </a:lnTo>
                <a:lnTo>
                  <a:pt x="20" y="643"/>
                </a:lnTo>
                <a:lnTo>
                  <a:pt x="40" y="637"/>
                </a:lnTo>
                <a:lnTo>
                  <a:pt x="55" y="633"/>
                </a:lnTo>
                <a:lnTo>
                  <a:pt x="59" y="633"/>
                </a:lnTo>
                <a:lnTo>
                  <a:pt x="55" y="628"/>
                </a:lnTo>
                <a:lnTo>
                  <a:pt x="50" y="618"/>
                </a:lnTo>
                <a:lnTo>
                  <a:pt x="45" y="609"/>
                </a:lnTo>
                <a:lnTo>
                  <a:pt x="40" y="580"/>
                </a:lnTo>
                <a:lnTo>
                  <a:pt x="45" y="555"/>
                </a:lnTo>
                <a:lnTo>
                  <a:pt x="55" y="546"/>
                </a:lnTo>
                <a:lnTo>
                  <a:pt x="70" y="542"/>
                </a:lnTo>
                <a:lnTo>
                  <a:pt x="90" y="536"/>
                </a:lnTo>
                <a:lnTo>
                  <a:pt x="94" y="531"/>
                </a:lnTo>
                <a:lnTo>
                  <a:pt x="100" y="517"/>
                </a:lnTo>
                <a:lnTo>
                  <a:pt x="100" y="508"/>
                </a:lnTo>
                <a:lnTo>
                  <a:pt x="100" y="497"/>
                </a:lnTo>
                <a:lnTo>
                  <a:pt x="100" y="489"/>
                </a:lnTo>
                <a:lnTo>
                  <a:pt x="109" y="478"/>
                </a:lnTo>
                <a:lnTo>
                  <a:pt x="129" y="474"/>
                </a:lnTo>
                <a:lnTo>
                  <a:pt x="139" y="464"/>
                </a:lnTo>
                <a:lnTo>
                  <a:pt x="144" y="449"/>
                </a:lnTo>
                <a:lnTo>
                  <a:pt x="144" y="435"/>
                </a:lnTo>
                <a:lnTo>
                  <a:pt x="144" y="425"/>
                </a:lnTo>
                <a:lnTo>
                  <a:pt x="139" y="425"/>
                </a:lnTo>
                <a:lnTo>
                  <a:pt x="129" y="421"/>
                </a:lnTo>
                <a:lnTo>
                  <a:pt x="125" y="415"/>
                </a:lnTo>
                <a:lnTo>
                  <a:pt x="125" y="406"/>
                </a:lnTo>
                <a:lnTo>
                  <a:pt x="129" y="401"/>
                </a:lnTo>
                <a:lnTo>
                  <a:pt x="135" y="392"/>
                </a:lnTo>
                <a:lnTo>
                  <a:pt x="144" y="381"/>
                </a:lnTo>
                <a:lnTo>
                  <a:pt x="155" y="377"/>
                </a:lnTo>
                <a:lnTo>
                  <a:pt x="164" y="372"/>
                </a:lnTo>
                <a:lnTo>
                  <a:pt x="179" y="367"/>
                </a:lnTo>
                <a:lnTo>
                  <a:pt x="190" y="358"/>
                </a:lnTo>
                <a:lnTo>
                  <a:pt x="205" y="339"/>
                </a:lnTo>
                <a:lnTo>
                  <a:pt x="219" y="314"/>
                </a:lnTo>
                <a:lnTo>
                  <a:pt x="229" y="305"/>
                </a:lnTo>
                <a:lnTo>
                  <a:pt x="244" y="299"/>
                </a:lnTo>
                <a:lnTo>
                  <a:pt x="240" y="286"/>
                </a:lnTo>
                <a:lnTo>
                  <a:pt x="240" y="275"/>
                </a:lnTo>
                <a:lnTo>
                  <a:pt x="244" y="266"/>
                </a:lnTo>
                <a:lnTo>
                  <a:pt x="244" y="261"/>
                </a:lnTo>
                <a:lnTo>
                  <a:pt x="249" y="237"/>
                </a:lnTo>
                <a:lnTo>
                  <a:pt x="259" y="203"/>
                </a:lnTo>
                <a:lnTo>
                  <a:pt x="279" y="184"/>
                </a:lnTo>
                <a:lnTo>
                  <a:pt x="288" y="174"/>
                </a:lnTo>
                <a:lnTo>
                  <a:pt x="303" y="174"/>
                </a:lnTo>
                <a:lnTo>
                  <a:pt x="329" y="169"/>
                </a:lnTo>
                <a:lnTo>
                  <a:pt x="338" y="155"/>
                </a:lnTo>
                <a:lnTo>
                  <a:pt x="338" y="131"/>
                </a:lnTo>
                <a:lnTo>
                  <a:pt x="329" y="106"/>
                </a:lnTo>
                <a:lnTo>
                  <a:pt x="323" y="87"/>
                </a:lnTo>
                <a:lnTo>
                  <a:pt x="329" y="68"/>
                </a:lnTo>
                <a:lnTo>
                  <a:pt x="344" y="53"/>
                </a:lnTo>
                <a:lnTo>
                  <a:pt x="364" y="38"/>
                </a:lnTo>
                <a:lnTo>
                  <a:pt x="383" y="24"/>
                </a:lnTo>
                <a:lnTo>
                  <a:pt x="403" y="15"/>
                </a:lnTo>
                <a:lnTo>
                  <a:pt x="418" y="9"/>
                </a:lnTo>
                <a:lnTo>
                  <a:pt x="423" y="9"/>
                </a:lnTo>
                <a:lnTo>
                  <a:pt x="423" y="0"/>
                </a:lnTo>
                <a:close/>
              </a:path>
            </a:pathLst>
          </a:custGeom>
          <a:solidFill>
            <a:srgbClr val="A7C4D9"/>
          </a:solidFill>
          <a:ln w="9525">
            <a:solidFill>
              <a:schemeClr val="bg1"/>
            </a:solidFill>
            <a:round/>
            <a:headEnd/>
            <a:tailEnd/>
          </a:ln>
        </p:spPr>
        <p:txBody>
          <a:bodyPr/>
          <a:lstStyle/>
          <a:p>
            <a:endParaRPr lang="ro-RO"/>
          </a:p>
        </p:txBody>
      </p:sp>
      <p:sp>
        <p:nvSpPr>
          <p:cNvPr id="12316" name="Freeform 26"/>
          <p:cNvSpPr>
            <a:spLocks/>
          </p:cNvSpPr>
          <p:nvPr/>
        </p:nvSpPr>
        <p:spPr bwMode="auto">
          <a:xfrm>
            <a:off x="1146175" y="1643063"/>
            <a:ext cx="889000" cy="1220787"/>
          </a:xfrm>
          <a:custGeom>
            <a:avLst/>
            <a:gdLst>
              <a:gd name="T0" fmla="*/ 2147483647 w 691"/>
              <a:gd name="T1" fmla="*/ 2147483647 h 884"/>
              <a:gd name="T2" fmla="*/ 2147483647 w 691"/>
              <a:gd name="T3" fmla="*/ 2147483647 h 884"/>
              <a:gd name="T4" fmla="*/ 2147483647 w 691"/>
              <a:gd name="T5" fmla="*/ 2147483647 h 884"/>
              <a:gd name="T6" fmla="*/ 2147483647 w 691"/>
              <a:gd name="T7" fmla="*/ 2147483647 h 884"/>
              <a:gd name="T8" fmla="*/ 2147483647 w 691"/>
              <a:gd name="T9" fmla="*/ 2147483647 h 884"/>
              <a:gd name="T10" fmla="*/ 2147483647 w 691"/>
              <a:gd name="T11" fmla="*/ 2147483647 h 884"/>
              <a:gd name="T12" fmla="*/ 2147483647 w 691"/>
              <a:gd name="T13" fmla="*/ 2147483647 h 884"/>
              <a:gd name="T14" fmla="*/ 2147483647 w 691"/>
              <a:gd name="T15" fmla="*/ 2147483647 h 884"/>
              <a:gd name="T16" fmla="*/ 2147483647 w 691"/>
              <a:gd name="T17" fmla="*/ 2147483647 h 884"/>
              <a:gd name="T18" fmla="*/ 2147483647 w 691"/>
              <a:gd name="T19" fmla="*/ 2147483647 h 884"/>
              <a:gd name="T20" fmla="*/ 2147483647 w 691"/>
              <a:gd name="T21" fmla="*/ 2147483647 h 884"/>
              <a:gd name="T22" fmla="*/ 2147483647 w 691"/>
              <a:gd name="T23" fmla="*/ 2147483647 h 884"/>
              <a:gd name="T24" fmla="*/ 2147483647 w 691"/>
              <a:gd name="T25" fmla="*/ 2147483647 h 884"/>
              <a:gd name="T26" fmla="*/ 2147483647 w 691"/>
              <a:gd name="T27" fmla="*/ 2147483647 h 884"/>
              <a:gd name="T28" fmla="*/ 2147483647 w 691"/>
              <a:gd name="T29" fmla="*/ 2147483647 h 884"/>
              <a:gd name="T30" fmla="*/ 2147483647 w 691"/>
              <a:gd name="T31" fmla="*/ 2147483647 h 884"/>
              <a:gd name="T32" fmla="*/ 2147483647 w 691"/>
              <a:gd name="T33" fmla="*/ 2147483647 h 884"/>
              <a:gd name="T34" fmla="*/ 2147483647 w 691"/>
              <a:gd name="T35" fmla="*/ 2147483647 h 884"/>
              <a:gd name="T36" fmla="*/ 2147483647 w 691"/>
              <a:gd name="T37" fmla="*/ 2147483647 h 884"/>
              <a:gd name="T38" fmla="*/ 2147483647 w 691"/>
              <a:gd name="T39" fmla="*/ 2147483647 h 884"/>
              <a:gd name="T40" fmla="*/ 2147483647 w 691"/>
              <a:gd name="T41" fmla="*/ 2147483647 h 884"/>
              <a:gd name="T42" fmla="*/ 2147483647 w 691"/>
              <a:gd name="T43" fmla="*/ 2147483647 h 884"/>
              <a:gd name="T44" fmla="*/ 2147483647 w 691"/>
              <a:gd name="T45" fmla="*/ 2147483647 h 884"/>
              <a:gd name="T46" fmla="*/ 2147483647 w 691"/>
              <a:gd name="T47" fmla="*/ 2147483647 h 884"/>
              <a:gd name="T48" fmla="*/ 2147483647 w 691"/>
              <a:gd name="T49" fmla="*/ 2147483647 h 884"/>
              <a:gd name="T50" fmla="*/ 2147483647 w 691"/>
              <a:gd name="T51" fmla="*/ 2147483647 h 884"/>
              <a:gd name="T52" fmla="*/ 2147483647 w 691"/>
              <a:gd name="T53" fmla="*/ 2147483647 h 884"/>
              <a:gd name="T54" fmla="*/ 2147483647 w 691"/>
              <a:gd name="T55" fmla="*/ 2147483647 h 884"/>
              <a:gd name="T56" fmla="*/ 2147483647 w 691"/>
              <a:gd name="T57" fmla="*/ 2147483647 h 884"/>
              <a:gd name="T58" fmla="*/ 2147483647 w 691"/>
              <a:gd name="T59" fmla="*/ 2147483647 h 884"/>
              <a:gd name="T60" fmla="*/ 2147483647 w 691"/>
              <a:gd name="T61" fmla="*/ 2147483647 h 884"/>
              <a:gd name="T62" fmla="*/ 2147483647 w 691"/>
              <a:gd name="T63" fmla="*/ 2147483647 h 884"/>
              <a:gd name="T64" fmla="*/ 2147483647 w 691"/>
              <a:gd name="T65" fmla="*/ 2147483647 h 884"/>
              <a:gd name="T66" fmla="*/ 2147483647 w 691"/>
              <a:gd name="T67" fmla="*/ 2147483647 h 884"/>
              <a:gd name="T68" fmla="*/ 2147483647 w 691"/>
              <a:gd name="T69" fmla="*/ 2147483647 h 884"/>
              <a:gd name="T70" fmla="*/ 2147483647 w 691"/>
              <a:gd name="T71" fmla="*/ 2147483647 h 884"/>
              <a:gd name="T72" fmla="*/ 2147483647 w 691"/>
              <a:gd name="T73" fmla="*/ 2147483647 h 884"/>
              <a:gd name="T74" fmla="*/ 2147483647 w 691"/>
              <a:gd name="T75" fmla="*/ 2147483647 h 884"/>
              <a:gd name="T76" fmla="*/ 2147483647 w 691"/>
              <a:gd name="T77" fmla="*/ 2147483647 h 884"/>
              <a:gd name="T78" fmla="*/ 2147483647 w 691"/>
              <a:gd name="T79" fmla="*/ 2147483647 h 884"/>
              <a:gd name="T80" fmla="*/ 2147483647 w 691"/>
              <a:gd name="T81" fmla="*/ 2147483647 h 884"/>
              <a:gd name="T82" fmla="*/ 2147483647 w 691"/>
              <a:gd name="T83" fmla="*/ 2147483647 h 884"/>
              <a:gd name="T84" fmla="*/ 2147483647 w 691"/>
              <a:gd name="T85" fmla="*/ 2147483647 h 884"/>
              <a:gd name="T86" fmla="*/ 2147483647 w 691"/>
              <a:gd name="T87" fmla="*/ 2147483647 h 884"/>
              <a:gd name="T88" fmla="*/ 2147483647 w 691"/>
              <a:gd name="T89" fmla="*/ 2147483647 h 884"/>
              <a:gd name="T90" fmla="*/ 2147483647 w 691"/>
              <a:gd name="T91" fmla="*/ 2147483647 h 884"/>
              <a:gd name="T92" fmla="*/ 2147483647 w 691"/>
              <a:gd name="T93" fmla="*/ 2147483647 h 884"/>
              <a:gd name="T94" fmla="*/ 2147483647 w 691"/>
              <a:gd name="T95" fmla="*/ 2147483647 h 884"/>
              <a:gd name="T96" fmla="*/ 2147483647 w 691"/>
              <a:gd name="T97" fmla="*/ 2147483647 h 884"/>
              <a:gd name="T98" fmla="*/ 2147483647 w 691"/>
              <a:gd name="T99" fmla="*/ 2147483647 h 884"/>
              <a:gd name="T100" fmla="*/ 2147483647 w 691"/>
              <a:gd name="T101" fmla="*/ 2147483647 h 884"/>
              <a:gd name="T102" fmla="*/ 2147483647 w 691"/>
              <a:gd name="T103" fmla="*/ 2147483647 h 884"/>
              <a:gd name="T104" fmla="*/ 2147483647 w 691"/>
              <a:gd name="T105" fmla="*/ 2147483647 h 884"/>
              <a:gd name="T106" fmla="*/ 2147483647 w 691"/>
              <a:gd name="T107" fmla="*/ 2147483647 h 884"/>
              <a:gd name="T108" fmla="*/ 2147483647 w 691"/>
              <a:gd name="T109" fmla="*/ 2147483647 h 884"/>
              <a:gd name="T110" fmla="*/ 2147483647 w 691"/>
              <a:gd name="T111" fmla="*/ 2147483647 h 8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91"/>
              <a:gd name="T169" fmla="*/ 0 h 884"/>
              <a:gd name="T170" fmla="*/ 691 w 691"/>
              <a:gd name="T171" fmla="*/ 884 h 8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91" h="884">
                <a:moveTo>
                  <a:pt x="423" y="0"/>
                </a:moveTo>
                <a:lnTo>
                  <a:pt x="453" y="53"/>
                </a:lnTo>
                <a:lnTo>
                  <a:pt x="458" y="57"/>
                </a:lnTo>
                <a:lnTo>
                  <a:pt x="458" y="63"/>
                </a:lnTo>
                <a:lnTo>
                  <a:pt x="468" y="77"/>
                </a:lnTo>
                <a:lnTo>
                  <a:pt x="473" y="82"/>
                </a:lnTo>
                <a:lnTo>
                  <a:pt x="473" y="87"/>
                </a:lnTo>
                <a:lnTo>
                  <a:pt x="478" y="97"/>
                </a:lnTo>
                <a:lnTo>
                  <a:pt x="478" y="106"/>
                </a:lnTo>
                <a:lnTo>
                  <a:pt x="478" y="116"/>
                </a:lnTo>
                <a:lnTo>
                  <a:pt x="478" y="120"/>
                </a:lnTo>
                <a:lnTo>
                  <a:pt x="482" y="125"/>
                </a:lnTo>
                <a:lnTo>
                  <a:pt x="482" y="130"/>
                </a:lnTo>
                <a:lnTo>
                  <a:pt x="488" y="130"/>
                </a:lnTo>
                <a:lnTo>
                  <a:pt x="493" y="130"/>
                </a:lnTo>
                <a:lnTo>
                  <a:pt x="497" y="130"/>
                </a:lnTo>
                <a:lnTo>
                  <a:pt x="503" y="130"/>
                </a:lnTo>
                <a:lnTo>
                  <a:pt x="512" y="135"/>
                </a:lnTo>
                <a:lnTo>
                  <a:pt x="538" y="139"/>
                </a:lnTo>
                <a:lnTo>
                  <a:pt x="547" y="144"/>
                </a:lnTo>
                <a:lnTo>
                  <a:pt x="563" y="149"/>
                </a:lnTo>
                <a:lnTo>
                  <a:pt x="573" y="154"/>
                </a:lnTo>
                <a:lnTo>
                  <a:pt x="578" y="158"/>
                </a:lnTo>
                <a:lnTo>
                  <a:pt x="582" y="164"/>
                </a:lnTo>
                <a:lnTo>
                  <a:pt x="593" y="173"/>
                </a:lnTo>
                <a:lnTo>
                  <a:pt x="593" y="178"/>
                </a:lnTo>
                <a:lnTo>
                  <a:pt x="597" y="183"/>
                </a:lnTo>
                <a:lnTo>
                  <a:pt x="602" y="187"/>
                </a:lnTo>
                <a:lnTo>
                  <a:pt x="602" y="192"/>
                </a:lnTo>
                <a:lnTo>
                  <a:pt x="602" y="198"/>
                </a:lnTo>
                <a:lnTo>
                  <a:pt x="602" y="202"/>
                </a:lnTo>
                <a:lnTo>
                  <a:pt x="597" y="207"/>
                </a:lnTo>
                <a:lnTo>
                  <a:pt x="593" y="211"/>
                </a:lnTo>
                <a:lnTo>
                  <a:pt x="587" y="211"/>
                </a:lnTo>
                <a:lnTo>
                  <a:pt x="587" y="217"/>
                </a:lnTo>
                <a:lnTo>
                  <a:pt x="582" y="217"/>
                </a:lnTo>
                <a:lnTo>
                  <a:pt x="582" y="221"/>
                </a:lnTo>
                <a:lnTo>
                  <a:pt x="578" y="221"/>
                </a:lnTo>
                <a:lnTo>
                  <a:pt x="578" y="226"/>
                </a:lnTo>
                <a:lnTo>
                  <a:pt x="578" y="231"/>
                </a:lnTo>
                <a:lnTo>
                  <a:pt x="578" y="236"/>
                </a:lnTo>
                <a:lnTo>
                  <a:pt x="578" y="240"/>
                </a:lnTo>
                <a:lnTo>
                  <a:pt x="578" y="245"/>
                </a:lnTo>
                <a:lnTo>
                  <a:pt x="578" y="250"/>
                </a:lnTo>
                <a:lnTo>
                  <a:pt x="573" y="255"/>
                </a:lnTo>
                <a:lnTo>
                  <a:pt x="567" y="269"/>
                </a:lnTo>
                <a:lnTo>
                  <a:pt x="563" y="274"/>
                </a:lnTo>
                <a:lnTo>
                  <a:pt x="558" y="279"/>
                </a:lnTo>
                <a:lnTo>
                  <a:pt x="552" y="288"/>
                </a:lnTo>
                <a:lnTo>
                  <a:pt x="547" y="293"/>
                </a:lnTo>
                <a:lnTo>
                  <a:pt x="547" y="298"/>
                </a:lnTo>
                <a:lnTo>
                  <a:pt x="547" y="303"/>
                </a:lnTo>
                <a:lnTo>
                  <a:pt x="547" y="308"/>
                </a:lnTo>
                <a:lnTo>
                  <a:pt x="547" y="312"/>
                </a:lnTo>
                <a:lnTo>
                  <a:pt x="547" y="318"/>
                </a:lnTo>
                <a:lnTo>
                  <a:pt x="552" y="322"/>
                </a:lnTo>
                <a:lnTo>
                  <a:pt x="558" y="327"/>
                </a:lnTo>
                <a:lnTo>
                  <a:pt x="558" y="331"/>
                </a:lnTo>
                <a:lnTo>
                  <a:pt x="567" y="337"/>
                </a:lnTo>
                <a:lnTo>
                  <a:pt x="573" y="341"/>
                </a:lnTo>
                <a:lnTo>
                  <a:pt x="578" y="346"/>
                </a:lnTo>
                <a:lnTo>
                  <a:pt x="578" y="351"/>
                </a:lnTo>
                <a:lnTo>
                  <a:pt x="578" y="356"/>
                </a:lnTo>
                <a:lnTo>
                  <a:pt x="578" y="361"/>
                </a:lnTo>
                <a:lnTo>
                  <a:pt x="573" y="375"/>
                </a:lnTo>
                <a:lnTo>
                  <a:pt x="573" y="380"/>
                </a:lnTo>
                <a:lnTo>
                  <a:pt x="573" y="389"/>
                </a:lnTo>
                <a:lnTo>
                  <a:pt x="578" y="394"/>
                </a:lnTo>
                <a:lnTo>
                  <a:pt x="582" y="394"/>
                </a:lnTo>
                <a:lnTo>
                  <a:pt x="593" y="394"/>
                </a:lnTo>
                <a:lnTo>
                  <a:pt x="602" y="394"/>
                </a:lnTo>
                <a:lnTo>
                  <a:pt x="612" y="394"/>
                </a:lnTo>
                <a:lnTo>
                  <a:pt x="617" y="394"/>
                </a:lnTo>
                <a:lnTo>
                  <a:pt x="617" y="399"/>
                </a:lnTo>
                <a:lnTo>
                  <a:pt x="622" y="399"/>
                </a:lnTo>
                <a:lnTo>
                  <a:pt x="627" y="399"/>
                </a:lnTo>
                <a:lnTo>
                  <a:pt x="632" y="404"/>
                </a:lnTo>
                <a:lnTo>
                  <a:pt x="637" y="408"/>
                </a:lnTo>
                <a:lnTo>
                  <a:pt x="643" y="413"/>
                </a:lnTo>
                <a:lnTo>
                  <a:pt x="647" y="419"/>
                </a:lnTo>
                <a:lnTo>
                  <a:pt x="647" y="423"/>
                </a:lnTo>
                <a:lnTo>
                  <a:pt x="647" y="428"/>
                </a:lnTo>
                <a:lnTo>
                  <a:pt x="643" y="432"/>
                </a:lnTo>
                <a:lnTo>
                  <a:pt x="643" y="438"/>
                </a:lnTo>
                <a:lnTo>
                  <a:pt x="632" y="452"/>
                </a:lnTo>
                <a:lnTo>
                  <a:pt x="627" y="462"/>
                </a:lnTo>
                <a:lnTo>
                  <a:pt x="627" y="466"/>
                </a:lnTo>
                <a:lnTo>
                  <a:pt x="622" y="471"/>
                </a:lnTo>
                <a:lnTo>
                  <a:pt x="622" y="476"/>
                </a:lnTo>
                <a:lnTo>
                  <a:pt x="622" y="481"/>
                </a:lnTo>
                <a:lnTo>
                  <a:pt x="622" y="486"/>
                </a:lnTo>
                <a:lnTo>
                  <a:pt x="627" y="490"/>
                </a:lnTo>
                <a:lnTo>
                  <a:pt x="627" y="495"/>
                </a:lnTo>
                <a:lnTo>
                  <a:pt x="632" y="495"/>
                </a:lnTo>
                <a:lnTo>
                  <a:pt x="647" y="505"/>
                </a:lnTo>
                <a:lnTo>
                  <a:pt x="657" y="509"/>
                </a:lnTo>
                <a:lnTo>
                  <a:pt x="662" y="509"/>
                </a:lnTo>
                <a:lnTo>
                  <a:pt x="667" y="514"/>
                </a:lnTo>
                <a:lnTo>
                  <a:pt x="672" y="520"/>
                </a:lnTo>
                <a:lnTo>
                  <a:pt x="672" y="524"/>
                </a:lnTo>
                <a:lnTo>
                  <a:pt x="672" y="529"/>
                </a:lnTo>
                <a:lnTo>
                  <a:pt x="672" y="533"/>
                </a:lnTo>
                <a:lnTo>
                  <a:pt x="672" y="548"/>
                </a:lnTo>
                <a:lnTo>
                  <a:pt x="667" y="558"/>
                </a:lnTo>
                <a:lnTo>
                  <a:pt x="667" y="567"/>
                </a:lnTo>
                <a:lnTo>
                  <a:pt x="662" y="572"/>
                </a:lnTo>
                <a:lnTo>
                  <a:pt x="662" y="577"/>
                </a:lnTo>
                <a:lnTo>
                  <a:pt x="657" y="577"/>
                </a:lnTo>
                <a:lnTo>
                  <a:pt x="652" y="582"/>
                </a:lnTo>
                <a:lnTo>
                  <a:pt x="647" y="582"/>
                </a:lnTo>
                <a:lnTo>
                  <a:pt x="637" y="582"/>
                </a:lnTo>
                <a:lnTo>
                  <a:pt x="632" y="582"/>
                </a:lnTo>
                <a:lnTo>
                  <a:pt x="627" y="577"/>
                </a:lnTo>
                <a:lnTo>
                  <a:pt x="622" y="577"/>
                </a:lnTo>
                <a:lnTo>
                  <a:pt x="617" y="577"/>
                </a:lnTo>
                <a:lnTo>
                  <a:pt x="612" y="582"/>
                </a:lnTo>
                <a:lnTo>
                  <a:pt x="608" y="586"/>
                </a:lnTo>
                <a:lnTo>
                  <a:pt x="608" y="591"/>
                </a:lnTo>
                <a:lnTo>
                  <a:pt x="608" y="596"/>
                </a:lnTo>
                <a:lnTo>
                  <a:pt x="612" y="601"/>
                </a:lnTo>
                <a:lnTo>
                  <a:pt x="612" y="606"/>
                </a:lnTo>
                <a:lnTo>
                  <a:pt x="617" y="610"/>
                </a:lnTo>
                <a:lnTo>
                  <a:pt x="622" y="615"/>
                </a:lnTo>
                <a:lnTo>
                  <a:pt x="627" y="615"/>
                </a:lnTo>
                <a:lnTo>
                  <a:pt x="632" y="620"/>
                </a:lnTo>
                <a:lnTo>
                  <a:pt x="637" y="625"/>
                </a:lnTo>
                <a:lnTo>
                  <a:pt x="637" y="630"/>
                </a:lnTo>
                <a:lnTo>
                  <a:pt x="643" y="640"/>
                </a:lnTo>
                <a:lnTo>
                  <a:pt x="652" y="653"/>
                </a:lnTo>
                <a:lnTo>
                  <a:pt x="662" y="673"/>
                </a:lnTo>
                <a:lnTo>
                  <a:pt x="676" y="712"/>
                </a:lnTo>
                <a:lnTo>
                  <a:pt x="687" y="745"/>
                </a:lnTo>
                <a:lnTo>
                  <a:pt x="691" y="750"/>
                </a:lnTo>
                <a:lnTo>
                  <a:pt x="691" y="754"/>
                </a:lnTo>
                <a:lnTo>
                  <a:pt x="691" y="760"/>
                </a:lnTo>
                <a:lnTo>
                  <a:pt x="687" y="764"/>
                </a:lnTo>
                <a:lnTo>
                  <a:pt x="682" y="769"/>
                </a:lnTo>
                <a:lnTo>
                  <a:pt x="676" y="769"/>
                </a:lnTo>
                <a:lnTo>
                  <a:pt x="667" y="769"/>
                </a:lnTo>
                <a:lnTo>
                  <a:pt x="662" y="769"/>
                </a:lnTo>
                <a:lnTo>
                  <a:pt x="652" y="769"/>
                </a:lnTo>
                <a:lnTo>
                  <a:pt x="647" y="769"/>
                </a:lnTo>
                <a:lnTo>
                  <a:pt x="643" y="774"/>
                </a:lnTo>
                <a:lnTo>
                  <a:pt x="637" y="774"/>
                </a:lnTo>
                <a:lnTo>
                  <a:pt x="637" y="779"/>
                </a:lnTo>
                <a:lnTo>
                  <a:pt x="632" y="779"/>
                </a:lnTo>
                <a:lnTo>
                  <a:pt x="632" y="783"/>
                </a:lnTo>
                <a:lnTo>
                  <a:pt x="627" y="788"/>
                </a:lnTo>
                <a:lnTo>
                  <a:pt x="627" y="798"/>
                </a:lnTo>
                <a:lnTo>
                  <a:pt x="627" y="808"/>
                </a:lnTo>
                <a:lnTo>
                  <a:pt x="622" y="813"/>
                </a:lnTo>
                <a:lnTo>
                  <a:pt x="622" y="822"/>
                </a:lnTo>
                <a:lnTo>
                  <a:pt x="622" y="827"/>
                </a:lnTo>
                <a:lnTo>
                  <a:pt x="622" y="832"/>
                </a:lnTo>
                <a:lnTo>
                  <a:pt x="622" y="836"/>
                </a:lnTo>
                <a:lnTo>
                  <a:pt x="622" y="841"/>
                </a:lnTo>
                <a:lnTo>
                  <a:pt x="627" y="851"/>
                </a:lnTo>
                <a:lnTo>
                  <a:pt x="627" y="855"/>
                </a:lnTo>
                <a:lnTo>
                  <a:pt x="632" y="855"/>
                </a:lnTo>
                <a:lnTo>
                  <a:pt x="632" y="861"/>
                </a:lnTo>
                <a:lnTo>
                  <a:pt x="617" y="870"/>
                </a:lnTo>
                <a:lnTo>
                  <a:pt x="612" y="874"/>
                </a:lnTo>
                <a:lnTo>
                  <a:pt x="597" y="880"/>
                </a:lnTo>
                <a:lnTo>
                  <a:pt x="582" y="880"/>
                </a:lnTo>
                <a:lnTo>
                  <a:pt x="573" y="880"/>
                </a:lnTo>
                <a:lnTo>
                  <a:pt x="563" y="884"/>
                </a:lnTo>
                <a:lnTo>
                  <a:pt x="552" y="880"/>
                </a:lnTo>
                <a:lnTo>
                  <a:pt x="543" y="880"/>
                </a:lnTo>
                <a:lnTo>
                  <a:pt x="532" y="880"/>
                </a:lnTo>
                <a:lnTo>
                  <a:pt x="523" y="880"/>
                </a:lnTo>
                <a:lnTo>
                  <a:pt x="517" y="880"/>
                </a:lnTo>
                <a:lnTo>
                  <a:pt x="512" y="880"/>
                </a:lnTo>
                <a:lnTo>
                  <a:pt x="508" y="880"/>
                </a:lnTo>
                <a:lnTo>
                  <a:pt x="503" y="874"/>
                </a:lnTo>
                <a:lnTo>
                  <a:pt x="497" y="870"/>
                </a:lnTo>
                <a:lnTo>
                  <a:pt x="488" y="870"/>
                </a:lnTo>
                <a:lnTo>
                  <a:pt x="482" y="861"/>
                </a:lnTo>
                <a:lnTo>
                  <a:pt x="478" y="855"/>
                </a:lnTo>
                <a:lnTo>
                  <a:pt x="473" y="846"/>
                </a:lnTo>
                <a:lnTo>
                  <a:pt x="463" y="836"/>
                </a:lnTo>
                <a:lnTo>
                  <a:pt x="443" y="808"/>
                </a:lnTo>
                <a:lnTo>
                  <a:pt x="438" y="793"/>
                </a:lnTo>
                <a:lnTo>
                  <a:pt x="434" y="788"/>
                </a:lnTo>
                <a:lnTo>
                  <a:pt x="434" y="783"/>
                </a:lnTo>
                <a:lnTo>
                  <a:pt x="434" y="779"/>
                </a:lnTo>
                <a:lnTo>
                  <a:pt x="428" y="783"/>
                </a:lnTo>
                <a:lnTo>
                  <a:pt x="423" y="783"/>
                </a:lnTo>
                <a:lnTo>
                  <a:pt x="418" y="783"/>
                </a:lnTo>
                <a:lnTo>
                  <a:pt x="408" y="783"/>
                </a:lnTo>
                <a:lnTo>
                  <a:pt x="399" y="783"/>
                </a:lnTo>
                <a:lnTo>
                  <a:pt x="383" y="779"/>
                </a:lnTo>
                <a:lnTo>
                  <a:pt x="379" y="779"/>
                </a:lnTo>
                <a:lnTo>
                  <a:pt x="373" y="779"/>
                </a:lnTo>
                <a:lnTo>
                  <a:pt x="373" y="774"/>
                </a:lnTo>
                <a:lnTo>
                  <a:pt x="369" y="769"/>
                </a:lnTo>
                <a:lnTo>
                  <a:pt x="369" y="764"/>
                </a:lnTo>
                <a:lnTo>
                  <a:pt x="369" y="760"/>
                </a:lnTo>
                <a:lnTo>
                  <a:pt x="373" y="750"/>
                </a:lnTo>
                <a:lnTo>
                  <a:pt x="373" y="745"/>
                </a:lnTo>
                <a:lnTo>
                  <a:pt x="373" y="741"/>
                </a:lnTo>
                <a:lnTo>
                  <a:pt x="373" y="735"/>
                </a:lnTo>
                <a:lnTo>
                  <a:pt x="369" y="731"/>
                </a:lnTo>
                <a:lnTo>
                  <a:pt x="369" y="726"/>
                </a:lnTo>
                <a:lnTo>
                  <a:pt x="364" y="721"/>
                </a:lnTo>
                <a:lnTo>
                  <a:pt x="353" y="712"/>
                </a:lnTo>
                <a:lnTo>
                  <a:pt x="344" y="707"/>
                </a:lnTo>
                <a:lnTo>
                  <a:pt x="338" y="697"/>
                </a:lnTo>
                <a:lnTo>
                  <a:pt x="329" y="692"/>
                </a:lnTo>
                <a:lnTo>
                  <a:pt x="323" y="692"/>
                </a:lnTo>
                <a:lnTo>
                  <a:pt x="319" y="692"/>
                </a:lnTo>
                <a:lnTo>
                  <a:pt x="314" y="687"/>
                </a:lnTo>
                <a:lnTo>
                  <a:pt x="303" y="687"/>
                </a:lnTo>
                <a:lnTo>
                  <a:pt x="299" y="687"/>
                </a:lnTo>
                <a:lnTo>
                  <a:pt x="294" y="687"/>
                </a:lnTo>
                <a:lnTo>
                  <a:pt x="288" y="687"/>
                </a:lnTo>
                <a:lnTo>
                  <a:pt x="284" y="687"/>
                </a:lnTo>
                <a:lnTo>
                  <a:pt x="279" y="692"/>
                </a:lnTo>
                <a:lnTo>
                  <a:pt x="268" y="697"/>
                </a:lnTo>
                <a:lnTo>
                  <a:pt x="259" y="697"/>
                </a:lnTo>
                <a:lnTo>
                  <a:pt x="249" y="697"/>
                </a:lnTo>
                <a:lnTo>
                  <a:pt x="240" y="697"/>
                </a:lnTo>
                <a:lnTo>
                  <a:pt x="234" y="692"/>
                </a:lnTo>
                <a:lnTo>
                  <a:pt x="229" y="692"/>
                </a:lnTo>
                <a:lnTo>
                  <a:pt x="224" y="687"/>
                </a:lnTo>
                <a:lnTo>
                  <a:pt x="224" y="683"/>
                </a:lnTo>
                <a:lnTo>
                  <a:pt x="219" y="678"/>
                </a:lnTo>
                <a:lnTo>
                  <a:pt x="214" y="673"/>
                </a:lnTo>
                <a:lnTo>
                  <a:pt x="205" y="673"/>
                </a:lnTo>
                <a:lnTo>
                  <a:pt x="199" y="668"/>
                </a:lnTo>
                <a:lnTo>
                  <a:pt x="190" y="668"/>
                </a:lnTo>
                <a:lnTo>
                  <a:pt x="179" y="663"/>
                </a:lnTo>
                <a:lnTo>
                  <a:pt x="164" y="663"/>
                </a:lnTo>
                <a:lnTo>
                  <a:pt x="159" y="663"/>
                </a:lnTo>
                <a:lnTo>
                  <a:pt x="150" y="668"/>
                </a:lnTo>
                <a:lnTo>
                  <a:pt x="139" y="668"/>
                </a:lnTo>
                <a:lnTo>
                  <a:pt x="135" y="663"/>
                </a:lnTo>
                <a:lnTo>
                  <a:pt x="129" y="659"/>
                </a:lnTo>
                <a:lnTo>
                  <a:pt x="125" y="659"/>
                </a:lnTo>
                <a:lnTo>
                  <a:pt x="120" y="653"/>
                </a:lnTo>
                <a:lnTo>
                  <a:pt x="90" y="668"/>
                </a:lnTo>
                <a:lnTo>
                  <a:pt x="70" y="678"/>
                </a:lnTo>
                <a:lnTo>
                  <a:pt x="65" y="678"/>
                </a:lnTo>
                <a:lnTo>
                  <a:pt x="59" y="683"/>
                </a:lnTo>
                <a:lnTo>
                  <a:pt x="55" y="683"/>
                </a:lnTo>
                <a:lnTo>
                  <a:pt x="55" y="687"/>
                </a:lnTo>
                <a:lnTo>
                  <a:pt x="50" y="687"/>
                </a:lnTo>
                <a:lnTo>
                  <a:pt x="45" y="687"/>
                </a:lnTo>
                <a:lnTo>
                  <a:pt x="45" y="683"/>
                </a:lnTo>
                <a:lnTo>
                  <a:pt x="40" y="683"/>
                </a:lnTo>
                <a:lnTo>
                  <a:pt x="35" y="678"/>
                </a:lnTo>
                <a:lnTo>
                  <a:pt x="24" y="668"/>
                </a:lnTo>
                <a:lnTo>
                  <a:pt x="20" y="663"/>
                </a:lnTo>
                <a:lnTo>
                  <a:pt x="15" y="659"/>
                </a:lnTo>
                <a:lnTo>
                  <a:pt x="11" y="653"/>
                </a:lnTo>
                <a:lnTo>
                  <a:pt x="5" y="649"/>
                </a:lnTo>
                <a:lnTo>
                  <a:pt x="0" y="649"/>
                </a:lnTo>
                <a:lnTo>
                  <a:pt x="5" y="644"/>
                </a:lnTo>
                <a:lnTo>
                  <a:pt x="11" y="644"/>
                </a:lnTo>
                <a:lnTo>
                  <a:pt x="15" y="640"/>
                </a:lnTo>
                <a:lnTo>
                  <a:pt x="20" y="640"/>
                </a:lnTo>
                <a:lnTo>
                  <a:pt x="31" y="634"/>
                </a:lnTo>
                <a:lnTo>
                  <a:pt x="40" y="634"/>
                </a:lnTo>
                <a:lnTo>
                  <a:pt x="50" y="630"/>
                </a:lnTo>
                <a:lnTo>
                  <a:pt x="55" y="630"/>
                </a:lnTo>
                <a:lnTo>
                  <a:pt x="59" y="630"/>
                </a:lnTo>
                <a:lnTo>
                  <a:pt x="59" y="625"/>
                </a:lnTo>
                <a:lnTo>
                  <a:pt x="55" y="625"/>
                </a:lnTo>
                <a:lnTo>
                  <a:pt x="55" y="620"/>
                </a:lnTo>
                <a:lnTo>
                  <a:pt x="50" y="615"/>
                </a:lnTo>
                <a:lnTo>
                  <a:pt x="45" y="610"/>
                </a:lnTo>
                <a:lnTo>
                  <a:pt x="45" y="606"/>
                </a:lnTo>
                <a:lnTo>
                  <a:pt x="45" y="596"/>
                </a:lnTo>
                <a:lnTo>
                  <a:pt x="40" y="591"/>
                </a:lnTo>
                <a:lnTo>
                  <a:pt x="40" y="582"/>
                </a:lnTo>
                <a:lnTo>
                  <a:pt x="40" y="577"/>
                </a:lnTo>
                <a:lnTo>
                  <a:pt x="40" y="567"/>
                </a:lnTo>
                <a:lnTo>
                  <a:pt x="40" y="562"/>
                </a:lnTo>
                <a:lnTo>
                  <a:pt x="45" y="558"/>
                </a:lnTo>
                <a:lnTo>
                  <a:pt x="50" y="552"/>
                </a:lnTo>
                <a:lnTo>
                  <a:pt x="50" y="548"/>
                </a:lnTo>
                <a:lnTo>
                  <a:pt x="55" y="543"/>
                </a:lnTo>
                <a:lnTo>
                  <a:pt x="59" y="543"/>
                </a:lnTo>
                <a:lnTo>
                  <a:pt x="65" y="539"/>
                </a:lnTo>
                <a:lnTo>
                  <a:pt x="70" y="539"/>
                </a:lnTo>
                <a:lnTo>
                  <a:pt x="80" y="539"/>
                </a:lnTo>
                <a:lnTo>
                  <a:pt x="85" y="539"/>
                </a:lnTo>
                <a:lnTo>
                  <a:pt x="90" y="533"/>
                </a:lnTo>
                <a:lnTo>
                  <a:pt x="94" y="533"/>
                </a:lnTo>
                <a:lnTo>
                  <a:pt x="94" y="529"/>
                </a:lnTo>
                <a:lnTo>
                  <a:pt x="100" y="524"/>
                </a:lnTo>
                <a:lnTo>
                  <a:pt x="100" y="520"/>
                </a:lnTo>
                <a:lnTo>
                  <a:pt x="100" y="505"/>
                </a:lnTo>
                <a:lnTo>
                  <a:pt x="100" y="500"/>
                </a:lnTo>
                <a:lnTo>
                  <a:pt x="100" y="495"/>
                </a:lnTo>
                <a:lnTo>
                  <a:pt x="100" y="490"/>
                </a:lnTo>
                <a:lnTo>
                  <a:pt x="100" y="486"/>
                </a:lnTo>
                <a:lnTo>
                  <a:pt x="100" y="481"/>
                </a:lnTo>
                <a:lnTo>
                  <a:pt x="105" y="476"/>
                </a:lnTo>
                <a:lnTo>
                  <a:pt x="109" y="476"/>
                </a:lnTo>
                <a:lnTo>
                  <a:pt x="115" y="471"/>
                </a:lnTo>
                <a:lnTo>
                  <a:pt x="120" y="471"/>
                </a:lnTo>
                <a:lnTo>
                  <a:pt x="129" y="471"/>
                </a:lnTo>
                <a:lnTo>
                  <a:pt x="129" y="466"/>
                </a:lnTo>
                <a:lnTo>
                  <a:pt x="135" y="466"/>
                </a:lnTo>
                <a:lnTo>
                  <a:pt x="139" y="462"/>
                </a:lnTo>
                <a:lnTo>
                  <a:pt x="139" y="457"/>
                </a:lnTo>
                <a:lnTo>
                  <a:pt x="144" y="447"/>
                </a:lnTo>
                <a:lnTo>
                  <a:pt x="144" y="442"/>
                </a:lnTo>
                <a:lnTo>
                  <a:pt x="144" y="432"/>
                </a:lnTo>
                <a:lnTo>
                  <a:pt x="144" y="428"/>
                </a:lnTo>
                <a:lnTo>
                  <a:pt x="144" y="423"/>
                </a:lnTo>
                <a:lnTo>
                  <a:pt x="139" y="423"/>
                </a:lnTo>
                <a:lnTo>
                  <a:pt x="135" y="423"/>
                </a:lnTo>
                <a:lnTo>
                  <a:pt x="129" y="419"/>
                </a:lnTo>
                <a:lnTo>
                  <a:pt x="125" y="419"/>
                </a:lnTo>
                <a:lnTo>
                  <a:pt x="125" y="413"/>
                </a:lnTo>
                <a:lnTo>
                  <a:pt x="125" y="408"/>
                </a:lnTo>
                <a:lnTo>
                  <a:pt x="125" y="404"/>
                </a:lnTo>
                <a:lnTo>
                  <a:pt x="129" y="399"/>
                </a:lnTo>
                <a:lnTo>
                  <a:pt x="129" y="394"/>
                </a:lnTo>
                <a:lnTo>
                  <a:pt x="129" y="389"/>
                </a:lnTo>
                <a:lnTo>
                  <a:pt x="135" y="389"/>
                </a:lnTo>
                <a:lnTo>
                  <a:pt x="135" y="385"/>
                </a:lnTo>
                <a:lnTo>
                  <a:pt x="139" y="385"/>
                </a:lnTo>
                <a:lnTo>
                  <a:pt x="144" y="380"/>
                </a:lnTo>
                <a:lnTo>
                  <a:pt x="150" y="380"/>
                </a:lnTo>
                <a:lnTo>
                  <a:pt x="155" y="375"/>
                </a:lnTo>
                <a:lnTo>
                  <a:pt x="164" y="370"/>
                </a:lnTo>
                <a:lnTo>
                  <a:pt x="174" y="370"/>
                </a:lnTo>
                <a:lnTo>
                  <a:pt x="179" y="365"/>
                </a:lnTo>
                <a:lnTo>
                  <a:pt x="185" y="361"/>
                </a:lnTo>
                <a:lnTo>
                  <a:pt x="190" y="356"/>
                </a:lnTo>
                <a:lnTo>
                  <a:pt x="194" y="351"/>
                </a:lnTo>
                <a:lnTo>
                  <a:pt x="194" y="346"/>
                </a:lnTo>
                <a:lnTo>
                  <a:pt x="205" y="331"/>
                </a:lnTo>
                <a:lnTo>
                  <a:pt x="209" y="322"/>
                </a:lnTo>
                <a:lnTo>
                  <a:pt x="214" y="318"/>
                </a:lnTo>
                <a:lnTo>
                  <a:pt x="219" y="312"/>
                </a:lnTo>
                <a:lnTo>
                  <a:pt x="224" y="308"/>
                </a:lnTo>
                <a:lnTo>
                  <a:pt x="229" y="303"/>
                </a:lnTo>
                <a:lnTo>
                  <a:pt x="234" y="298"/>
                </a:lnTo>
                <a:lnTo>
                  <a:pt x="244" y="298"/>
                </a:lnTo>
                <a:lnTo>
                  <a:pt x="240" y="293"/>
                </a:lnTo>
                <a:lnTo>
                  <a:pt x="240" y="288"/>
                </a:lnTo>
                <a:lnTo>
                  <a:pt x="234" y="284"/>
                </a:lnTo>
                <a:lnTo>
                  <a:pt x="234" y="279"/>
                </a:lnTo>
                <a:lnTo>
                  <a:pt x="240" y="274"/>
                </a:lnTo>
                <a:lnTo>
                  <a:pt x="240" y="269"/>
                </a:lnTo>
                <a:lnTo>
                  <a:pt x="240" y="265"/>
                </a:lnTo>
                <a:lnTo>
                  <a:pt x="244" y="265"/>
                </a:lnTo>
                <a:lnTo>
                  <a:pt x="244" y="260"/>
                </a:lnTo>
                <a:lnTo>
                  <a:pt x="244" y="245"/>
                </a:lnTo>
                <a:lnTo>
                  <a:pt x="249" y="236"/>
                </a:lnTo>
                <a:lnTo>
                  <a:pt x="249" y="217"/>
                </a:lnTo>
                <a:lnTo>
                  <a:pt x="259" y="202"/>
                </a:lnTo>
                <a:lnTo>
                  <a:pt x="264" y="198"/>
                </a:lnTo>
                <a:lnTo>
                  <a:pt x="264" y="192"/>
                </a:lnTo>
                <a:lnTo>
                  <a:pt x="268" y="187"/>
                </a:lnTo>
                <a:lnTo>
                  <a:pt x="274" y="183"/>
                </a:lnTo>
                <a:lnTo>
                  <a:pt x="284" y="178"/>
                </a:lnTo>
                <a:lnTo>
                  <a:pt x="288" y="173"/>
                </a:lnTo>
                <a:lnTo>
                  <a:pt x="294" y="173"/>
                </a:lnTo>
                <a:lnTo>
                  <a:pt x="299" y="173"/>
                </a:lnTo>
                <a:lnTo>
                  <a:pt x="303" y="173"/>
                </a:lnTo>
                <a:lnTo>
                  <a:pt x="309" y="173"/>
                </a:lnTo>
                <a:lnTo>
                  <a:pt x="314" y="173"/>
                </a:lnTo>
                <a:lnTo>
                  <a:pt x="323" y="173"/>
                </a:lnTo>
                <a:lnTo>
                  <a:pt x="329" y="168"/>
                </a:lnTo>
                <a:lnTo>
                  <a:pt x="329" y="164"/>
                </a:lnTo>
                <a:lnTo>
                  <a:pt x="334" y="164"/>
                </a:lnTo>
                <a:lnTo>
                  <a:pt x="338" y="158"/>
                </a:lnTo>
                <a:lnTo>
                  <a:pt x="338" y="154"/>
                </a:lnTo>
                <a:lnTo>
                  <a:pt x="338" y="149"/>
                </a:lnTo>
                <a:lnTo>
                  <a:pt x="338" y="139"/>
                </a:lnTo>
                <a:lnTo>
                  <a:pt x="338" y="135"/>
                </a:lnTo>
                <a:lnTo>
                  <a:pt x="338" y="130"/>
                </a:lnTo>
                <a:lnTo>
                  <a:pt x="338" y="125"/>
                </a:lnTo>
                <a:lnTo>
                  <a:pt x="338" y="120"/>
                </a:lnTo>
                <a:lnTo>
                  <a:pt x="334" y="116"/>
                </a:lnTo>
                <a:lnTo>
                  <a:pt x="329" y="106"/>
                </a:lnTo>
                <a:lnTo>
                  <a:pt x="329" y="101"/>
                </a:lnTo>
                <a:lnTo>
                  <a:pt x="323" y="97"/>
                </a:lnTo>
                <a:lnTo>
                  <a:pt x="323" y="91"/>
                </a:lnTo>
                <a:lnTo>
                  <a:pt x="323" y="87"/>
                </a:lnTo>
                <a:lnTo>
                  <a:pt x="323" y="82"/>
                </a:lnTo>
                <a:lnTo>
                  <a:pt x="323" y="77"/>
                </a:lnTo>
                <a:lnTo>
                  <a:pt x="329" y="72"/>
                </a:lnTo>
                <a:lnTo>
                  <a:pt x="329" y="67"/>
                </a:lnTo>
                <a:lnTo>
                  <a:pt x="334" y="63"/>
                </a:lnTo>
                <a:lnTo>
                  <a:pt x="334" y="57"/>
                </a:lnTo>
                <a:lnTo>
                  <a:pt x="344" y="53"/>
                </a:lnTo>
                <a:lnTo>
                  <a:pt x="353" y="43"/>
                </a:lnTo>
                <a:lnTo>
                  <a:pt x="364" y="38"/>
                </a:lnTo>
                <a:lnTo>
                  <a:pt x="383" y="24"/>
                </a:lnTo>
                <a:lnTo>
                  <a:pt x="403" y="15"/>
                </a:lnTo>
                <a:lnTo>
                  <a:pt x="418" y="9"/>
                </a:lnTo>
                <a:lnTo>
                  <a:pt x="423" y="9"/>
                </a:lnTo>
                <a:lnTo>
                  <a:pt x="423" y="0"/>
                </a:lnTo>
                <a:close/>
              </a:path>
            </a:pathLst>
          </a:custGeom>
          <a:solidFill>
            <a:srgbClr val="005027"/>
          </a:solidFill>
          <a:ln w="9525">
            <a:solidFill>
              <a:schemeClr val="bg1"/>
            </a:solidFill>
            <a:round/>
            <a:headEnd/>
            <a:tailEnd/>
          </a:ln>
        </p:spPr>
        <p:txBody>
          <a:bodyPr/>
          <a:lstStyle/>
          <a:p>
            <a:endParaRPr lang="ro-RO"/>
          </a:p>
        </p:txBody>
      </p:sp>
      <p:sp>
        <p:nvSpPr>
          <p:cNvPr id="12317" name="Freeform 27"/>
          <p:cNvSpPr>
            <a:spLocks/>
          </p:cNvSpPr>
          <p:nvPr/>
        </p:nvSpPr>
        <p:spPr bwMode="auto">
          <a:xfrm>
            <a:off x="1682750" y="1185863"/>
            <a:ext cx="914400" cy="736600"/>
          </a:xfrm>
          <a:custGeom>
            <a:avLst/>
            <a:gdLst>
              <a:gd name="T0" fmla="*/ 2147483647 w 711"/>
              <a:gd name="T1" fmla="*/ 2147483647 h 533"/>
              <a:gd name="T2" fmla="*/ 2147483647 w 711"/>
              <a:gd name="T3" fmla="*/ 2147483647 h 533"/>
              <a:gd name="T4" fmla="*/ 2147483647 w 711"/>
              <a:gd name="T5" fmla="*/ 2147483647 h 533"/>
              <a:gd name="T6" fmla="*/ 2147483647 w 711"/>
              <a:gd name="T7" fmla="*/ 2147483647 h 533"/>
              <a:gd name="T8" fmla="*/ 2147483647 w 711"/>
              <a:gd name="T9" fmla="*/ 2147483647 h 533"/>
              <a:gd name="T10" fmla="*/ 2147483647 w 711"/>
              <a:gd name="T11" fmla="*/ 2147483647 h 533"/>
              <a:gd name="T12" fmla="*/ 2147483647 w 711"/>
              <a:gd name="T13" fmla="*/ 2147483647 h 533"/>
              <a:gd name="T14" fmla="*/ 2147483647 w 711"/>
              <a:gd name="T15" fmla="*/ 2147483647 h 533"/>
              <a:gd name="T16" fmla="*/ 2147483647 w 711"/>
              <a:gd name="T17" fmla="*/ 2147483647 h 533"/>
              <a:gd name="T18" fmla="*/ 2147483647 w 711"/>
              <a:gd name="T19" fmla="*/ 2147483647 h 533"/>
              <a:gd name="T20" fmla="*/ 2147483647 w 711"/>
              <a:gd name="T21" fmla="*/ 2147483647 h 533"/>
              <a:gd name="T22" fmla="*/ 2147483647 w 711"/>
              <a:gd name="T23" fmla="*/ 2147483647 h 533"/>
              <a:gd name="T24" fmla="*/ 2147483647 w 711"/>
              <a:gd name="T25" fmla="*/ 2147483647 h 533"/>
              <a:gd name="T26" fmla="*/ 2147483647 w 711"/>
              <a:gd name="T27" fmla="*/ 2147483647 h 533"/>
              <a:gd name="T28" fmla="*/ 2147483647 w 711"/>
              <a:gd name="T29" fmla="*/ 2147483647 h 533"/>
              <a:gd name="T30" fmla="*/ 2147483647 w 711"/>
              <a:gd name="T31" fmla="*/ 0 h 533"/>
              <a:gd name="T32" fmla="*/ 2147483647 w 711"/>
              <a:gd name="T33" fmla="*/ 2147483647 h 533"/>
              <a:gd name="T34" fmla="*/ 2147483647 w 711"/>
              <a:gd name="T35" fmla="*/ 2147483647 h 533"/>
              <a:gd name="T36" fmla="*/ 2147483647 w 711"/>
              <a:gd name="T37" fmla="*/ 2147483647 h 533"/>
              <a:gd name="T38" fmla="*/ 2147483647 w 711"/>
              <a:gd name="T39" fmla="*/ 2147483647 h 533"/>
              <a:gd name="T40" fmla="*/ 2147483647 w 711"/>
              <a:gd name="T41" fmla="*/ 2147483647 h 533"/>
              <a:gd name="T42" fmla="*/ 2147483647 w 711"/>
              <a:gd name="T43" fmla="*/ 2147483647 h 533"/>
              <a:gd name="T44" fmla="*/ 2147483647 w 711"/>
              <a:gd name="T45" fmla="*/ 2147483647 h 533"/>
              <a:gd name="T46" fmla="*/ 2147483647 w 711"/>
              <a:gd name="T47" fmla="*/ 2147483647 h 533"/>
              <a:gd name="T48" fmla="*/ 2147483647 w 711"/>
              <a:gd name="T49" fmla="*/ 2147483647 h 533"/>
              <a:gd name="T50" fmla="*/ 2147483647 w 711"/>
              <a:gd name="T51" fmla="*/ 2147483647 h 533"/>
              <a:gd name="T52" fmla="*/ 2147483647 w 711"/>
              <a:gd name="T53" fmla="*/ 2147483647 h 533"/>
              <a:gd name="T54" fmla="*/ 2147483647 w 711"/>
              <a:gd name="T55" fmla="*/ 2147483647 h 533"/>
              <a:gd name="T56" fmla="*/ 2147483647 w 711"/>
              <a:gd name="T57" fmla="*/ 2147483647 h 533"/>
              <a:gd name="T58" fmla="*/ 2147483647 w 711"/>
              <a:gd name="T59" fmla="*/ 2147483647 h 533"/>
              <a:gd name="T60" fmla="*/ 2147483647 w 711"/>
              <a:gd name="T61" fmla="*/ 2147483647 h 533"/>
              <a:gd name="T62" fmla="*/ 2147483647 w 711"/>
              <a:gd name="T63" fmla="*/ 2147483647 h 533"/>
              <a:gd name="T64" fmla="*/ 2147483647 w 711"/>
              <a:gd name="T65" fmla="*/ 2147483647 h 533"/>
              <a:gd name="T66" fmla="*/ 2147483647 w 711"/>
              <a:gd name="T67" fmla="*/ 2147483647 h 533"/>
              <a:gd name="T68" fmla="*/ 2147483647 w 711"/>
              <a:gd name="T69" fmla="*/ 2147483647 h 533"/>
              <a:gd name="T70" fmla="*/ 2147483647 w 711"/>
              <a:gd name="T71" fmla="*/ 2147483647 h 533"/>
              <a:gd name="T72" fmla="*/ 2147483647 w 711"/>
              <a:gd name="T73" fmla="*/ 2147483647 h 533"/>
              <a:gd name="T74" fmla="*/ 2147483647 w 711"/>
              <a:gd name="T75" fmla="*/ 2147483647 h 533"/>
              <a:gd name="T76" fmla="*/ 2147483647 w 711"/>
              <a:gd name="T77" fmla="*/ 2147483647 h 533"/>
              <a:gd name="T78" fmla="*/ 2147483647 w 711"/>
              <a:gd name="T79" fmla="*/ 2147483647 h 533"/>
              <a:gd name="T80" fmla="*/ 2147483647 w 711"/>
              <a:gd name="T81" fmla="*/ 2147483647 h 533"/>
              <a:gd name="T82" fmla="*/ 2147483647 w 711"/>
              <a:gd name="T83" fmla="*/ 2147483647 h 533"/>
              <a:gd name="T84" fmla="*/ 2147483647 w 711"/>
              <a:gd name="T85" fmla="*/ 2147483647 h 533"/>
              <a:gd name="T86" fmla="*/ 2147483647 w 711"/>
              <a:gd name="T87" fmla="*/ 2147483647 h 533"/>
              <a:gd name="T88" fmla="*/ 2147483647 w 711"/>
              <a:gd name="T89" fmla="*/ 2147483647 h 533"/>
              <a:gd name="T90" fmla="*/ 2147483647 w 711"/>
              <a:gd name="T91" fmla="*/ 2147483647 h 533"/>
              <a:gd name="T92" fmla="*/ 2147483647 w 711"/>
              <a:gd name="T93" fmla="*/ 2147483647 h 533"/>
              <a:gd name="T94" fmla="*/ 2147483647 w 711"/>
              <a:gd name="T95" fmla="*/ 2147483647 h 533"/>
              <a:gd name="T96" fmla="*/ 2147483647 w 711"/>
              <a:gd name="T97" fmla="*/ 2147483647 h 533"/>
              <a:gd name="T98" fmla="*/ 2147483647 w 711"/>
              <a:gd name="T99" fmla="*/ 2147483647 h 533"/>
              <a:gd name="T100" fmla="*/ 2147483647 w 711"/>
              <a:gd name="T101" fmla="*/ 2147483647 h 533"/>
              <a:gd name="T102" fmla="*/ 2147483647 w 711"/>
              <a:gd name="T103" fmla="*/ 2147483647 h 533"/>
              <a:gd name="T104" fmla="*/ 2147483647 w 711"/>
              <a:gd name="T105" fmla="*/ 2147483647 h 533"/>
              <a:gd name="T106" fmla="*/ 2147483647 w 711"/>
              <a:gd name="T107" fmla="*/ 2147483647 h 53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11"/>
              <a:gd name="T163" fmla="*/ 0 h 533"/>
              <a:gd name="T164" fmla="*/ 711 w 711"/>
              <a:gd name="T165" fmla="*/ 533 h 53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11" h="533">
                <a:moveTo>
                  <a:pt x="0" y="339"/>
                </a:moveTo>
                <a:lnTo>
                  <a:pt x="20" y="295"/>
                </a:lnTo>
                <a:lnTo>
                  <a:pt x="35" y="266"/>
                </a:lnTo>
                <a:lnTo>
                  <a:pt x="44" y="247"/>
                </a:lnTo>
                <a:lnTo>
                  <a:pt x="59" y="238"/>
                </a:lnTo>
                <a:lnTo>
                  <a:pt x="70" y="238"/>
                </a:lnTo>
                <a:lnTo>
                  <a:pt x="79" y="238"/>
                </a:lnTo>
                <a:lnTo>
                  <a:pt x="114" y="251"/>
                </a:lnTo>
                <a:lnTo>
                  <a:pt x="124" y="247"/>
                </a:lnTo>
                <a:lnTo>
                  <a:pt x="124" y="242"/>
                </a:lnTo>
                <a:lnTo>
                  <a:pt x="134" y="213"/>
                </a:lnTo>
                <a:lnTo>
                  <a:pt x="140" y="204"/>
                </a:lnTo>
                <a:lnTo>
                  <a:pt x="144" y="198"/>
                </a:lnTo>
                <a:lnTo>
                  <a:pt x="159" y="204"/>
                </a:lnTo>
                <a:lnTo>
                  <a:pt x="174" y="217"/>
                </a:lnTo>
                <a:lnTo>
                  <a:pt x="189" y="227"/>
                </a:lnTo>
                <a:lnTo>
                  <a:pt x="199" y="232"/>
                </a:lnTo>
                <a:lnTo>
                  <a:pt x="224" y="232"/>
                </a:lnTo>
                <a:lnTo>
                  <a:pt x="234" y="223"/>
                </a:lnTo>
                <a:lnTo>
                  <a:pt x="249" y="208"/>
                </a:lnTo>
                <a:lnTo>
                  <a:pt x="264" y="193"/>
                </a:lnTo>
                <a:lnTo>
                  <a:pt x="284" y="189"/>
                </a:lnTo>
                <a:lnTo>
                  <a:pt x="299" y="189"/>
                </a:lnTo>
                <a:lnTo>
                  <a:pt x="303" y="183"/>
                </a:lnTo>
                <a:lnTo>
                  <a:pt x="308" y="170"/>
                </a:lnTo>
                <a:lnTo>
                  <a:pt x="314" y="149"/>
                </a:lnTo>
                <a:lnTo>
                  <a:pt x="318" y="145"/>
                </a:lnTo>
                <a:lnTo>
                  <a:pt x="334" y="140"/>
                </a:lnTo>
                <a:lnTo>
                  <a:pt x="343" y="136"/>
                </a:lnTo>
                <a:lnTo>
                  <a:pt x="349" y="125"/>
                </a:lnTo>
                <a:lnTo>
                  <a:pt x="353" y="111"/>
                </a:lnTo>
                <a:lnTo>
                  <a:pt x="363" y="106"/>
                </a:lnTo>
                <a:lnTo>
                  <a:pt x="378" y="106"/>
                </a:lnTo>
                <a:lnTo>
                  <a:pt x="384" y="96"/>
                </a:lnTo>
                <a:lnTo>
                  <a:pt x="388" y="72"/>
                </a:lnTo>
                <a:lnTo>
                  <a:pt x="388" y="62"/>
                </a:lnTo>
                <a:lnTo>
                  <a:pt x="393" y="57"/>
                </a:lnTo>
                <a:lnTo>
                  <a:pt x="404" y="62"/>
                </a:lnTo>
                <a:lnTo>
                  <a:pt x="423" y="77"/>
                </a:lnTo>
                <a:lnTo>
                  <a:pt x="432" y="81"/>
                </a:lnTo>
                <a:lnTo>
                  <a:pt x="443" y="77"/>
                </a:lnTo>
                <a:lnTo>
                  <a:pt x="453" y="72"/>
                </a:lnTo>
                <a:lnTo>
                  <a:pt x="458" y="62"/>
                </a:lnTo>
                <a:lnTo>
                  <a:pt x="473" y="38"/>
                </a:lnTo>
                <a:lnTo>
                  <a:pt x="478" y="23"/>
                </a:lnTo>
                <a:lnTo>
                  <a:pt x="487" y="9"/>
                </a:lnTo>
                <a:lnTo>
                  <a:pt x="493" y="4"/>
                </a:lnTo>
                <a:lnTo>
                  <a:pt x="498" y="0"/>
                </a:lnTo>
                <a:lnTo>
                  <a:pt x="513" y="0"/>
                </a:lnTo>
                <a:lnTo>
                  <a:pt x="528" y="0"/>
                </a:lnTo>
                <a:lnTo>
                  <a:pt x="543" y="4"/>
                </a:lnTo>
                <a:lnTo>
                  <a:pt x="552" y="15"/>
                </a:lnTo>
                <a:lnTo>
                  <a:pt x="557" y="34"/>
                </a:lnTo>
                <a:lnTo>
                  <a:pt x="567" y="43"/>
                </a:lnTo>
                <a:lnTo>
                  <a:pt x="582" y="47"/>
                </a:lnTo>
                <a:lnTo>
                  <a:pt x="602" y="57"/>
                </a:lnTo>
                <a:lnTo>
                  <a:pt x="617" y="72"/>
                </a:lnTo>
                <a:lnTo>
                  <a:pt x="622" y="77"/>
                </a:lnTo>
                <a:lnTo>
                  <a:pt x="637" y="81"/>
                </a:lnTo>
                <a:lnTo>
                  <a:pt x="647" y="81"/>
                </a:lnTo>
                <a:lnTo>
                  <a:pt x="652" y="81"/>
                </a:lnTo>
                <a:lnTo>
                  <a:pt x="657" y="96"/>
                </a:lnTo>
                <a:lnTo>
                  <a:pt x="661" y="102"/>
                </a:lnTo>
                <a:lnTo>
                  <a:pt x="667" y="106"/>
                </a:lnTo>
                <a:lnTo>
                  <a:pt x="672" y="111"/>
                </a:lnTo>
                <a:lnTo>
                  <a:pt x="677" y="121"/>
                </a:lnTo>
                <a:lnTo>
                  <a:pt x="687" y="136"/>
                </a:lnTo>
                <a:lnTo>
                  <a:pt x="696" y="140"/>
                </a:lnTo>
                <a:lnTo>
                  <a:pt x="707" y="149"/>
                </a:lnTo>
                <a:lnTo>
                  <a:pt x="711" y="159"/>
                </a:lnTo>
                <a:lnTo>
                  <a:pt x="707" y="174"/>
                </a:lnTo>
                <a:lnTo>
                  <a:pt x="696" y="179"/>
                </a:lnTo>
                <a:lnTo>
                  <a:pt x="682" y="189"/>
                </a:lnTo>
                <a:lnTo>
                  <a:pt x="677" y="198"/>
                </a:lnTo>
                <a:lnTo>
                  <a:pt x="667" y="208"/>
                </a:lnTo>
                <a:lnTo>
                  <a:pt x="657" y="217"/>
                </a:lnTo>
                <a:lnTo>
                  <a:pt x="637" y="227"/>
                </a:lnTo>
                <a:lnTo>
                  <a:pt x="613" y="232"/>
                </a:lnTo>
                <a:lnTo>
                  <a:pt x="592" y="232"/>
                </a:lnTo>
                <a:lnTo>
                  <a:pt x="572" y="232"/>
                </a:lnTo>
                <a:lnTo>
                  <a:pt x="557" y="232"/>
                </a:lnTo>
                <a:lnTo>
                  <a:pt x="543" y="227"/>
                </a:lnTo>
                <a:lnTo>
                  <a:pt x="532" y="223"/>
                </a:lnTo>
                <a:lnTo>
                  <a:pt x="522" y="217"/>
                </a:lnTo>
                <a:lnTo>
                  <a:pt x="513" y="223"/>
                </a:lnTo>
                <a:lnTo>
                  <a:pt x="508" y="232"/>
                </a:lnTo>
                <a:lnTo>
                  <a:pt x="502" y="257"/>
                </a:lnTo>
                <a:lnTo>
                  <a:pt x="508" y="266"/>
                </a:lnTo>
                <a:lnTo>
                  <a:pt x="517" y="272"/>
                </a:lnTo>
                <a:lnTo>
                  <a:pt x="543" y="276"/>
                </a:lnTo>
                <a:lnTo>
                  <a:pt x="557" y="281"/>
                </a:lnTo>
                <a:lnTo>
                  <a:pt x="572" y="285"/>
                </a:lnTo>
                <a:lnTo>
                  <a:pt x="578" y="291"/>
                </a:lnTo>
                <a:lnTo>
                  <a:pt x="582" y="295"/>
                </a:lnTo>
                <a:lnTo>
                  <a:pt x="587" y="295"/>
                </a:lnTo>
                <a:lnTo>
                  <a:pt x="592" y="300"/>
                </a:lnTo>
                <a:lnTo>
                  <a:pt x="587" y="310"/>
                </a:lnTo>
                <a:lnTo>
                  <a:pt x="578" y="315"/>
                </a:lnTo>
                <a:lnTo>
                  <a:pt x="563" y="325"/>
                </a:lnTo>
                <a:lnTo>
                  <a:pt x="547" y="334"/>
                </a:lnTo>
                <a:lnTo>
                  <a:pt x="537" y="339"/>
                </a:lnTo>
                <a:lnTo>
                  <a:pt x="532" y="349"/>
                </a:lnTo>
                <a:lnTo>
                  <a:pt x="532" y="359"/>
                </a:lnTo>
                <a:lnTo>
                  <a:pt x="537" y="359"/>
                </a:lnTo>
                <a:lnTo>
                  <a:pt x="508" y="383"/>
                </a:lnTo>
                <a:lnTo>
                  <a:pt x="502" y="383"/>
                </a:lnTo>
                <a:lnTo>
                  <a:pt x="498" y="383"/>
                </a:lnTo>
                <a:lnTo>
                  <a:pt x="482" y="368"/>
                </a:lnTo>
                <a:lnTo>
                  <a:pt x="467" y="353"/>
                </a:lnTo>
                <a:lnTo>
                  <a:pt x="463" y="349"/>
                </a:lnTo>
                <a:lnTo>
                  <a:pt x="463" y="344"/>
                </a:lnTo>
                <a:lnTo>
                  <a:pt x="408" y="397"/>
                </a:lnTo>
                <a:lnTo>
                  <a:pt x="408" y="402"/>
                </a:lnTo>
                <a:lnTo>
                  <a:pt x="408" y="417"/>
                </a:lnTo>
                <a:lnTo>
                  <a:pt x="408" y="427"/>
                </a:lnTo>
                <a:lnTo>
                  <a:pt x="393" y="436"/>
                </a:lnTo>
                <a:lnTo>
                  <a:pt x="384" y="436"/>
                </a:lnTo>
                <a:lnTo>
                  <a:pt x="378" y="436"/>
                </a:lnTo>
                <a:lnTo>
                  <a:pt x="373" y="441"/>
                </a:lnTo>
                <a:lnTo>
                  <a:pt x="373" y="455"/>
                </a:lnTo>
                <a:lnTo>
                  <a:pt x="384" y="470"/>
                </a:lnTo>
                <a:lnTo>
                  <a:pt x="393" y="480"/>
                </a:lnTo>
                <a:lnTo>
                  <a:pt x="408" y="475"/>
                </a:lnTo>
                <a:lnTo>
                  <a:pt x="423" y="475"/>
                </a:lnTo>
                <a:lnTo>
                  <a:pt x="432" y="480"/>
                </a:lnTo>
                <a:lnTo>
                  <a:pt x="438" y="489"/>
                </a:lnTo>
                <a:lnTo>
                  <a:pt x="438" y="499"/>
                </a:lnTo>
                <a:lnTo>
                  <a:pt x="423" y="514"/>
                </a:lnTo>
                <a:lnTo>
                  <a:pt x="413" y="519"/>
                </a:lnTo>
                <a:lnTo>
                  <a:pt x="393" y="519"/>
                </a:lnTo>
                <a:lnTo>
                  <a:pt x="378" y="519"/>
                </a:lnTo>
                <a:lnTo>
                  <a:pt x="373" y="519"/>
                </a:lnTo>
                <a:lnTo>
                  <a:pt x="363" y="514"/>
                </a:lnTo>
                <a:lnTo>
                  <a:pt x="343" y="499"/>
                </a:lnTo>
                <a:lnTo>
                  <a:pt x="323" y="485"/>
                </a:lnTo>
                <a:lnTo>
                  <a:pt x="308" y="480"/>
                </a:lnTo>
                <a:lnTo>
                  <a:pt x="293" y="480"/>
                </a:lnTo>
                <a:lnTo>
                  <a:pt x="269" y="480"/>
                </a:lnTo>
                <a:lnTo>
                  <a:pt x="253" y="485"/>
                </a:lnTo>
                <a:lnTo>
                  <a:pt x="238" y="489"/>
                </a:lnTo>
                <a:lnTo>
                  <a:pt x="209" y="509"/>
                </a:lnTo>
                <a:lnTo>
                  <a:pt x="189" y="523"/>
                </a:lnTo>
                <a:lnTo>
                  <a:pt x="184" y="533"/>
                </a:lnTo>
                <a:lnTo>
                  <a:pt x="179" y="533"/>
                </a:lnTo>
                <a:lnTo>
                  <a:pt x="179" y="514"/>
                </a:lnTo>
                <a:lnTo>
                  <a:pt x="174" y="504"/>
                </a:lnTo>
                <a:lnTo>
                  <a:pt x="164" y="495"/>
                </a:lnTo>
                <a:lnTo>
                  <a:pt x="144" y="480"/>
                </a:lnTo>
                <a:lnTo>
                  <a:pt x="120" y="470"/>
                </a:lnTo>
                <a:lnTo>
                  <a:pt x="99" y="465"/>
                </a:lnTo>
                <a:lnTo>
                  <a:pt x="85" y="461"/>
                </a:lnTo>
                <a:lnTo>
                  <a:pt x="74" y="461"/>
                </a:lnTo>
                <a:lnTo>
                  <a:pt x="64" y="461"/>
                </a:lnTo>
                <a:lnTo>
                  <a:pt x="59" y="451"/>
                </a:lnTo>
                <a:lnTo>
                  <a:pt x="59" y="436"/>
                </a:lnTo>
                <a:lnTo>
                  <a:pt x="59" y="417"/>
                </a:lnTo>
                <a:lnTo>
                  <a:pt x="50" y="402"/>
                </a:lnTo>
                <a:lnTo>
                  <a:pt x="35" y="383"/>
                </a:lnTo>
                <a:lnTo>
                  <a:pt x="24" y="368"/>
                </a:lnTo>
                <a:lnTo>
                  <a:pt x="15" y="349"/>
                </a:lnTo>
                <a:lnTo>
                  <a:pt x="9" y="334"/>
                </a:lnTo>
                <a:lnTo>
                  <a:pt x="5" y="329"/>
                </a:lnTo>
                <a:lnTo>
                  <a:pt x="5" y="339"/>
                </a:lnTo>
                <a:lnTo>
                  <a:pt x="0" y="339"/>
                </a:lnTo>
                <a:close/>
              </a:path>
            </a:pathLst>
          </a:custGeom>
          <a:solidFill>
            <a:srgbClr val="005027"/>
          </a:solidFill>
          <a:ln w="9525">
            <a:solidFill>
              <a:schemeClr val="bg1"/>
            </a:solidFill>
            <a:round/>
            <a:headEnd/>
            <a:tailEnd/>
          </a:ln>
        </p:spPr>
        <p:txBody>
          <a:bodyPr/>
          <a:lstStyle/>
          <a:p>
            <a:endParaRPr lang="ro-RO"/>
          </a:p>
        </p:txBody>
      </p:sp>
      <p:sp>
        <p:nvSpPr>
          <p:cNvPr id="12318" name="Freeform 28"/>
          <p:cNvSpPr>
            <a:spLocks/>
          </p:cNvSpPr>
          <p:nvPr/>
        </p:nvSpPr>
        <p:spPr bwMode="auto">
          <a:xfrm>
            <a:off x="2166938" y="1284288"/>
            <a:ext cx="1339850" cy="652462"/>
          </a:xfrm>
          <a:custGeom>
            <a:avLst/>
            <a:gdLst>
              <a:gd name="T0" fmla="*/ 2147483647 w 1042"/>
              <a:gd name="T1" fmla="*/ 2147483647 h 472"/>
              <a:gd name="T2" fmla="*/ 2147483647 w 1042"/>
              <a:gd name="T3" fmla="*/ 0 h 472"/>
              <a:gd name="T4" fmla="*/ 2147483647 w 1042"/>
              <a:gd name="T5" fmla="*/ 2147483647 h 472"/>
              <a:gd name="T6" fmla="*/ 2147483647 w 1042"/>
              <a:gd name="T7" fmla="*/ 2147483647 h 472"/>
              <a:gd name="T8" fmla="*/ 2147483647 w 1042"/>
              <a:gd name="T9" fmla="*/ 2147483647 h 472"/>
              <a:gd name="T10" fmla="*/ 2147483647 w 1042"/>
              <a:gd name="T11" fmla="*/ 2147483647 h 472"/>
              <a:gd name="T12" fmla="*/ 2147483647 w 1042"/>
              <a:gd name="T13" fmla="*/ 2147483647 h 472"/>
              <a:gd name="T14" fmla="*/ 2147483647 w 1042"/>
              <a:gd name="T15" fmla="*/ 2147483647 h 472"/>
              <a:gd name="T16" fmla="*/ 2147483647 w 1042"/>
              <a:gd name="T17" fmla="*/ 2147483647 h 472"/>
              <a:gd name="T18" fmla="*/ 2147483647 w 1042"/>
              <a:gd name="T19" fmla="*/ 2147483647 h 472"/>
              <a:gd name="T20" fmla="*/ 2147483647 w 1042"/>
              <a:gd name="T21" fmla="*/ 2147483647 h 472"/>
              <a:gd name="T22" fmla="*/ 2147483647 w 1042"/>
              <a:gd name="T23" fmla="*/ 2147483647 h 472"/>
              <a:gd name="T24" fmla="*/ 2147483647 w 1042"/>
              <a:gd name="T25" fmla="*/ 2147483647 h 472"/>
              <a:gd name="T26" fmla="*/ 2147483647 w 1042"/>
              <a:gd name="T27" fmla="*/ 2147483647 h 472"/>
              <a:gd name="T28" fmla="*/ 2147483647 w 1042"/>
              <a:gd name="T29" fmla="*/ 2147483647 h 472"/>
              <a:gd name="T30" fmla="*/ 2147483647 w 1042"/>
              <a:gd name="T31" fmla="*/ 2147483647 h 472"/>
              <a:gd name="T32" fmla="*/ 2147483647 w 1042"/>
              <a:gd name="T33" fmla="*/ 2147483647 h 472"/>
              <a:gd name="T34" fmla="*/ 2147483647 w 1042"/>
              <a:gd name="T35" fmla="*/ 2147483647 h 472"/>
              <a:gd name="T36" fmla="*/ 2147483647 w 1042"/>
              <a:gd name="T37" fmla="*/ 2147483647 h 472"/>
              <a:gd name="T38" fmla="*/ 2147483647 w 1042"/>
              <a:gd name="T39" fmla="*/ 2147483647 h 472"/>
              <a:gd name="T40" fmla="*/ 2147483647 w 1042"/>
              <a:gd name="T41" fmla="*/ 2147483647 h 472"/>
              <a:gd name="T42" fmla="*/ 2147483647 w 1042"/>
              <a:gd name="T43" fmla="*/ 2147483647 h 472"/>
              <a:gd name="T44" fmla="*/ 2147483647 w 1042"/>
              <a:gd name="T45" fmla="*/ 2147483647 h 472"/>
              <a:gd name="T46" fmla="*/ 2147483647 w 1042"/>
              <a:gd name="T47" fmla="*/ 2147483647 h 472"/>
              <a:gd name="T48" fmla="*/ 2147483647 w 1042"/>
              <a:gd name="T49" fmla="*/ 2147483647 h 472"/>
              <a:gd name="T50" fmla="*/ 2147483647 w 1042"/>
              <a:gd name="T51" fmla="*/ 2147483647 h 472"/>
              <a:gd name="T52" fmla="*/ 2147483647 w 1042"/>
              <a:gd name="T53" fmla="*/ 2147483647 h 472"/>
              <a:gd name="T54" fmla="*/ 2147483647 w 1042"/>
              <a:gd name="T55" fmla="*/ 2147483647 h 472"/>
              <a:gd name="T56" fmla="*/ 2147483647 w 1042"/>
              <a:gd name="T57" fmla="*/ 2147483647 h 472"/>
              <a:gd name="T58" fmla="*/ 2147483647 w 1042"/>
              <a:gd name="T59" fmla="*/ 2147483647 h 472"/>
              <a:gd name="T60" fmla="*/ 2147483647 w 1042"/>
              <a:gd name="T61" fmla="*/ 2147483647 h 472"/>
              <a:gd name="T62" fmla="*/ 2147483647 w 1042"/>
              <a:gd name="T63" fmla="*/ 2147483647 h 472"/>
              <a:gd name="T64" fmla="*/ 2147483647 w 1042"/>
              <a:gd name="T65" fmla="*/ 2147483647 h 472"/>
              <a:gd name="T66" fmla="*/ 2147483647 w 1042"/>
              <a:gd name="T67" fmla="*/ 2147483647 h 472"/>
              <a:gd name="T68" fmla="*/ 2147483647 w 1042"/>
              <a:gd name="T69" fmla="*/ 2147483647 h 472"/>
              <a:gd name="T70" fmla="*/ 2147483647 w 1042"/>
              <a:gd name="T71" fmla="*/ 2147483647 h 472"/>
              <a:gd name="T72" fmla="*/ 2147483647 w 1042"/>
              <a:gd name="T73" fmla="*/ 2147483647 h 472"/>
              <a:gd name="T74" fmla="*/ 2147483647 w 1042"/>
              <a:gd name="T75" fmla="*/ 2147483647 h 472"/>
              <a:gd name="T76" fmla="*/ 2147483647 w 1042"/>
              <a:gd name="T77" fmla="*/ 2147483647 h 472"/>
              <a:gd name="T78" fmla="*/ 2147483647 w 1042"/>
              <a:gd name="T79" fmla="*/ 2147483647 h 472"/>
              <a:gd name="T80" fmla="*/ 2147483647 w 1042"/>
              <a:gd name="T81" fmla="*/ 2147483647 h 472"/>
              <a:gd name="T82" fmla="*/ 2147483647 w 1042"/>
              <a:gd name="T83" fmla="*/ 2147483647 h 472"/>
              <a:gd name="T84" fmla="*/ 2147483647 w 1042"/>
              <a:gd name="T85" fmla="*/ 2147483647 h 472"/>
              <a:gd name="T86" fmla="*/ 2147483647 w 1042"/>
              <a:gd name="T87" fmla="*/ 2147483647 h 472"/>
              <a:gd name="T88" fmla="*/ 2147483647 w 1042"/>
              <a:gd name="T89" fmla="*/ 2147483647 h 472"/>
              <a:gd name="T90" fmla="*/ 2147483647 w 1042"/>
              <a:gd name="T91" fmla="*/ 2147483647 h 472"/>
              <a:gd name="T92" fmla="*/ 2147483647 w 1042"/>
              <a:gd name="T93" fmla="*/ 2147483647 h 472"/>
              <a:gd name="T94" fmla="*/ 2147483647 w 1042"/>
              <a:gd name="T95" fmla="*/ 2147483647 h 472"/>
              <a:gd name="T96" fmla="*/ 2147483647 w 1042"/>
              <a:gd name="T97" fmla="*/ 2147483647 h 472"/>
              <a:gd name="T98" fmla="*/ 2147483647 w 1042"/>
              <a:gd name="T99" fmla="*/ 2147483647 h 472"/>
              <a:gd name="T100" fmla="*/ 2147483647 w 1042"/>
              <a:gd name="T101" fmla="*/ 2147483647 h 472"/>
              <a:gd name="T102" fmla="*/ 2147483647 w 1042"/>
              <a:gd name="T103" fmla="*/ 2147483647 h 472"/>
              <a:gd name="T104" fmla="*/ 2147483647 w 1042"/>
              <a:gd name="T105" fmla="*/ 2147483647 h 472"/>
              <a:gd name="T106" fmla="*/ 2147483647 w 1042"/>
              <a:gd name="T107" fmla="*/ 2147483647 h 472"/>
              <a:gd name="T108" fmla="*/ 2147483647 w 1042"/>
              <a:gd name="T109" fmla="*/ 2147483647 h 472"/>
              <a:gd name="T110" fmla="*/ 2147483647 w 1042"/>
              <a:gd name="T111" fmla="*/ 2147483647 h 472"/>
              <a:gd name="T112" fmla="*/ 2147483647 w 1042"/>
              <a:gd name="T113" fmla="*/ 2147483647 h 472"/>
              <a:gd name="T114" fmla="*/ 2147483647 w 1042"/>
              <a:gd name="T115" fmla="*/ 2147483647 h 472"/>
              <a:gd name="T116" fmla="*/ 2147483647 w 1042"/>
              <a:gd name="T117" fmla="*/ 2147483647 h 472"/>
              <a:gd name="T118" fmla="*/ 2147483647 w 1042"/>
              <a:gd name="T119" fmla="*/ 2147483647 h 472"/>
              <a:gd name="T120" fmla="*/ 2147483647 w 1042"/>
              <a:gd name="T121" fmla="*/ 2147483647 h 472"/>
              <a:gd name="T122" fmla="*/ 2147483647 w 1042"/>
              <a:gd name="T123" fmla="*/ 2147483647 h 472"/>
              <a:gd name="T124" fmla="*/ 2147483647 w 1042"/>
              <a:gd name="T125" fmla="*/ 2147483647 h 4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42"/>
              <a:gd name="T190" fmla="*/ 0 h 472"/>
              <a:gd name="T191" fmla="*/ 1042 w 1042"/>
              <a:gd name="T192" fmla="*/ 472 h 47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42" h="472">
                <a:moveTo>
                  <a:pt x="293" y="34"/>
                </a:moveTo>
                <a:lnTo>
                  <a:pt x="303" y="29"/>
                </a:lnTo>
                <a:lnTo>
                  <a:pt x="308" y="15"/>
                </a:lnTo>
                <a:lnTo>
                  <a:pt x="318" y="5"/>
                </a:lnTo>
                <a:lnTo>
                  <a:pt x="328" y="0"/>
                </a:lnTo>
                <a:lnTo>
                  <a:pt x="333" y="0"/>
                </a:lnTo>
                <a:lnTo>
                  <a:pt x="342" y="0"/>
                </a:lnTo>
                <a:lnTo>
                  <a:pt x="363" y="5"/>
                </a:lnTo>
                <a:lnTo>
                  <a:pt x="382" y="5"/>
                </a:lnTo>
                <a:lnTo>
                  <a:pt x="422" y="9"/>
                </a:lnTo>
                <a:lnTo>
                  <a:pt x="432" y="15"/>
                </a:lnTo>
                <a:lnTo>
                  <a:pt x="442" y="15"/>
                </a:lnTo>
                <a:lnTo>
                  <a:pt x="446" y="29"/>
                </a:lnTo>
                <a:lnTo>
                  <a:pt x="452" y="48"/>
                </a:lnTo>
                <a:lnTo>
                  <a:pt x="461" y="57"/>
                </a:lnTo>
                <a:lnTo>
                  <a:pt x="472" y="63"/>
                </a:lnTo>
                <a:lnTo>
                  <a:pt x="487" y="63"/>
                </a:lnTo>
                <a:lnTo>
                  <a:pt x="507" y="53"/>
                </a:lnTo>
                <a:lnTo>
                  <a:pt x="526" y="38"/>
                </a:lnTo>
                <a:lnTo>
                  <a:pt x="537" y="34"/>
                </a:lnTo>
                <a:lnTo>
                  <a:pt x="546" y="34"/>
                </a:lnTo>
                <a:lnTo>
                  <a:pt x="556" y="38"/>
                </a:lnTo>
                <a:lnTo>
                  <a:pt x="570" y="48"/>
                </a:lnTo>
                <a:lnTo>
                  <a:pt x="596" y="67"/>
                </a:lnTo>
                <a:lnTo>
                  <a:pt x="611" y="72"/>
                </a:lnTo>
                <a:lnTo>
                  <a:pt x="630" y="76"/>
                </a:lnTo>
                <a:lnTo>
                  <a:pt x="655" y="76"/>
                </a:lnTo>
                <a:lnTo>
                  <a:pt x="680" y="76"/>
                </a:lnTo>
                <a:lnTo>
                  <a:pt x="709" y="67"/>
                </a:lnTo>
                <a:lnTo>
                  <a:pt x="739" y="57"/>
                </a:lnTo>
                <a:lnTo>
                  <a:pt x="774" y="38"/>
                </a:lnTo>
                <a:lnTo>
                  <a:pt x="794" y="34"/>
                </a:lnTo>
                <a:lnTo>
                  <a:pt x="814" y="38"/>
                </a:lnTo>
                <a:lnTo>
                  <a:pt x="839" y="53"/>
                </a:lnTo>
                <a:lnTo>
                  <a:pt x="854" y="67"/>
                </a:lnTo>
                <a:lnTo>
                  <a:pt x="859" y="87"/>
                </a:lnTo>
                <a:lnTo>
                  <a:pt x="864" y="106"/>
                </a:lnTo>
                <a:lnTo>
                  <a:pt x="893" y="130"/>
                </a:lnTo>
                <a:lnTo>
                  <a:pt x="924" y="144"/>
                </a:lnTo>
                <a:lnTo>
                  <a:pt x="959" y="159"/>
                </a:lnTo>
                <a:lnTo>
                  <a:pt x="963" y="169"/>
                </a:lnTo>
                <a:lnTo>
                  <a:pt x="968" y="178"/>
                </a:lnTo>
                <a:lnTo>
                  <a:pt x="968" y="202"/>
                </a:lnTo>
                <a:lnTo>
                  <a:pt x="973" y="212"/>
                </a:lnTo>
                <a:lnTo>
                  <a:pt x="983" y="222"/>
                </a:lnTo>
                <a:lnTo>
                  <a:pt x="993" y="222"/>
                </a:lnTo>
                <a:lnTo>
                  <a:pt x="1018" y="217"/>
                </a:lnTo>
                <a:lnTo>
                  <a:pt x="1018" y="222"/>
                </a:lnTo>
                <a:lnTo>
                  <a:pt x="1033" y="236"/>
                </a:lnTo>
                <a:lnTo>
                  <a:pt x="1042" y="245"/>
                </a:lnTo>
                <a:lnTo>
                  <a:pt x="1042" y="255"/>
                </a:lnTo>
                <a:lnTo>
                  <a:pt x="1033" y="260"/>
                </a:lnTo>
                <a:lnTo>
                  <a:pt x="1022" y="264"/>
                </a:lnTo>
                <a:lnTo>
                  <a:pt x="1013" y="264"/>
                </a:lnTo>
                <a:lnTo>
                  <a:pt x="1007" y="270"/>
                </a:lnTo>
                <a:lnTo>
                  <a:pt x="1002" y="275"/>
                </a:lnTo>
                <a:lnTo>
                  <a:pt x="993" y="285"/>
                </a:lnTo>
                <a:lnTo>
                  <a:pt x="987" y="294"/>
                </a:lnTo>
                <a:lnTo>
                  <a:pt x="983" y="294"/>
                </a:lnTo>
                <a:lnTo>
                  <a:pt x="978" y="304"/>
                </a:lnTo>
                <a:lnTo>
                  <a:pt x="963" y="308"/>
                </a:lnTo>
                <a:lnTo>
                  <a:pt x="943" y="308"/>
                </a:lnTo>
                <a:lnTo>
                  <a:pt x="918" y="308"/>
                </a:lnTo>
                <a:lnTo>
                  <a:pt x="893" y="313"/>
                </a:lnTo>
                <a:lnTo>
                  <a:pt x="874" y="313"/>
                </a:lnTo>
                <a:lnTo>
                  <a:pt x="859" y="313"/>
                </a:lnTo>
                <a:lnTo>
                  <a:pt x="833" y="313"/>
                </a:lnTo>
                <a:lnTo>
                  <a:pt x="814" y="313"/>
                </a:lnTo>
                <a:lnTo>
                  <a:pt x="804" y="308"/>
                </a:lnTo>
                <a:lnTo>
                  <a:pt x="794" y="304"/>
                </a:lnTo>
                <a:lnTo>
                  <a:pt x="789" y="304"/>
                </a:lnTo>
                <a:lnTo>
                  <a:pt x="774" y="298"/>
                </a:lnTo>
                <a:lnTo>
                  <a:pt x="755" y="294"/>
                </a:lnTo>
                <a:lnTo>
                  <a:pt x="744" y="298"/>
                </a:lnTo>
                <a:lnTo>
                  <a:pt x="730" y="304"/>
                </a:lnTo>
                <a:lnTo>
                  <a:pt x="720" y="308"/>
                </a:lnTo>
                <a:lnTo>
                  <a:pt x="705" y="308"/>
                </a:lnTo>
                <a:lnTo>
                  <a:pt x="696" y="308"/>
                </a:lnTo>
                <a:lnTo>
                  <a:pt x="685" y="308"/>
                </a:lnTo>
                <a:lnTo>
                  <a:pt x="675" y="308"/>
                </a:lnTo>
                <a:lnTo>
                  <a:pt x="670" y="313"/>
                </a:lnTo>
                <a:lnTo>
                  <a:pt x="665" y="323"/>
                </a:lnTo>
                <a:lnTo>
                  <a:pt x="661" y="337"/>
                </a:lnTo>
                <a:lnTo>
                  <a:pt x="661" y="342"/>
                </a:lnTo>
                <a:lnTo>
                  <a:pt x="655" y="347"/>
                </a:lnTo>
                <a:lnTo>
                  <a:pt x="640" y="352"/>
                </a:lnTo>
                <a:lnTo>
                  <a:pt x="620" y="357"/>
                </a:lnTo>
                <a:lnTo>
                  <a:pt x="605" y="366"/>
                </a:lnTo>
                <a:lnTo>
                  <a:pt x="600" y="376"/>
                </a:lnTo>
                <a:lnTo>
                  <a:pt x="600" y="380"/>
                </a:lnTo>
                <a:lnTo>
                  <a:pt x="596" y="386"/>
                </a:lnTo>
                <a:lnTo>
                  <a:pt x="591" y="405"/>
                </a:lnTo>
                <a:lnTo>
                  <a:pt x="576" y="420"/>
                </a:lnTo>
                <a:lnTo>
                  <a:pt x="561" y="433"/>
                </a:lnTo>
                <a:lnTo>
                  <a:pt x="546" y="448"/>
                </a:lnTo>
                <a:lnTo>
                  <a:pt x="531" y="458"/>
                </a:lnTo>
                <a:lnTo>
                  <a:pt x="511" y="463"/>
                </a:lnTo>
                <a:lnTo>
                  <a:pt x="476" y="463"/>
                </a:lnTo>
                <a:lnTo>
                  <a:pt x="461" y="463"/>
                </a:lnTo>
                <a:lnTo>
                  <a:pt x="446" y="458"/>
                </a:lnTo>
                <a:lnTo>
                  <a:pt x="437" y="458"/>
                </a:lnTo>
                <a:lnTo>
                  <a:pt x="442" y="453"/>
                </a:lnTo>
                <a:lnTo>
                  <a:pt x="437" y="458"/>
                </a:lnTo>
                <a:lnTo>
                  <a:pt x="432" y="463"/>
                </a:lnTo>
                <a:lnTo>
                  <a:pt x="417" y="467"/>
                </a:lnTo>
                <a:lnTo>
                  <a:pt x="398" y="472"/>
                </a:lnTo>
                <a:lnTo>
                  <a:pt x="377" y="472"/>
                </a:lnTo>
                <a:lnTo>
                  <a:pt x="363" y="467"/>
                </a:lnTo>
                <a:lnTo>
                  <a:pt x="348" y="453"/>
                </a:lnTo>
                <a:lnTo>
                  <a:pt x="342" y="443"/>
                </a:lnTo>
                <a:lnTo>
                  <a:pt x="337" y="433"/>
                </a:lnTo>
                <a:lnTo>
                  <a:pt x="333" y="429"/>
                </a:lnTo>
                <a:lnTo>
                  <a:pt x="322" y="429"/>
                </a:lnTo>
                <a:lnTo>
                  <a:pt x="303" y="433"/>
                </a:lnTo>
                <a:lnTo>
                  <a:pt x="293" y="433"/>
                </a:lnTo>
                <a:lnTo>
                  <a:pt x="274" y="433"/>
                </a:lnTo>
                <a:lnTo>
                  <a:pt x="233" y="429"/>
                </a:lnTo>
                <a:lnTo>
                  <a:pt x="198" y="420"/>
                </a:lnTo>
                <a:lnTo>
                  <a:pt x="183" y="414"/>
                </a:lnTo>
                <a:lnTo>
                  <a:pt x="174" y="410"/>
                </a:lnTo>
                <a:lnTo>
                  <a:pt x="163" y="405"/>
                </a:lnTo>
                <a:lnTo>
                  <a:pt x="154" y="399"/>
                </a:lnTo>
                <a:lnTo>
                  <a:pt x="139" y="399"/>
                </a:lnTo>
                <a:lnTo>
                  <a:pt x="124" y="390"/>
                </a:lnTo>
                <a:lnTo>
                  <a:pt x="100" y="386"/>
                </a:lnTo>
                <a:lnTo>
                  <a:pt x="80" y="390"/>
                </a:lnTo>
                <a:lnTo>
                  <a:pt x="65" y="399"/>
                </a:lnTo>
                <a:lnTo>
                  <a:pt x="59" y="405"/>
                </a:lnTo>
                <a:lnTo>
                  <a:pt x="50" y="395"/>
                </a:lnTo>
                <a:lnTo>
                  <a:pt x="35" y="399"/>
                </a:lnTo>
                <a:lnTo>
                  <a:pt x="20" y="405"/>
                </a:lnTo>
                <a:lnTo>
                  <a:pt x="10" y="395"/>
                </a:lnTo>
                <a:lnTo>
                  <a:pt x="0" y="380"/>
                </a:lnTo>
                <a:lnTo>
                  <a:pt x="0" y="366"/>
                </a:lnTo>
                <a:lnTo>
                  <a:pt x="5" y="361"/>
                </a:lnTo>
                <a:lnTo>
                  <a:pt x="10" y="361"/>
                </a:lnTo>
                <a:lnTo>
                  <a:pt x="20" y="361"/>
                </a:lnTo>
                <a:lnTo>
                  <a:pt x="35" y="352"/>
                </a:lnTo>
                <a:lnTo>
                  <a:pt x="35" y="342"/>
                </a:lnTo>
                <a:lnTo>
                  <a:pt x="35" y="327"/>
                </a:lnTo>
                <a:lnTo>
                  <a:pt x="35" y="323"/>
                </a:lnTo>
                <a:lnTo>
                  <a:pt x="89" y="270"/>
                </a:lnTo>
                <a:lnTo>
                  <a:pt x="89" y="275"/>
                </a:lnTo>
                <a:lnTo>
                  <a:pt x="94" y="279"/>
                </a:lnTo>
                <a:lnTo>
                  <a:pt x="109" y="294"/>
                </a:lnTo>
                <a:lnTo>
                  <a:pt x="124" y="308"/>
                </a:lnTo>
                <a:lnTo>
                  <a:pt x="129" y="308"/>
                </a:lnTo>
                <a:lnTo>
                  <a:pt x="135" y="308"/>
                </a:lnTo>
                <a:lnTo>
                  <a:pt x="163" y="285"/>
                </a:lnTo>
                <a:lnTo>
                  <a:pt x="159" y="285"/>
                </a:lnTo>
                <a:lnTo>
                  <a:pt x="159" y="275"/>
                </a:lnTo>
                <a:lnTo>
                  <a:pt x="163" y="264"/>
                </a:lnTo>
                <a:lnTo>
                  <a:pt x="174" y="260"/>
                </a:lnTo>
                <a:lnTo>
                  <a:pt x="189" y="251"/>
                </a:lnTo>
                <a:lnTo>
                  <a:pt x="204" y="241"/>
                </a:lnTo>
                <a:lnTo>
                  <a:pt x="213" y="236"/>
                </a:lnTo>
                <a:lnTo>
                  <a:pt x="218" y="226"/>
                </a:lnTo>
                <a:lnTo>
                  <a:pt x="213" y="222"/>
                </a:lnTo>
                <a:lnTo>
                  <a:pt x="209" y="222"/>
                </a:lnTo>
                <a:lnTo>
                  <a:pt x="204" y="217"/>
                </a:lnTo>
                <a:lnTo>
                  <a:pt x="198" y="212"/>
                </a:lnTo>
                <a:lnTo>
                  <a:pt x="183" y="207"/>
                </a:lnTo>
                <a:lnTo>
                  <a:pt x="169" y="202"/>
                </a:lnTo>
                <a:lnTo>
                  <a:pt x="144" y="198"/>
                </a:lnTo>
                <a:lnTo>
                  <a:pt x="135" y="192"/>
                </a:lnTo>
                <a:lnTo>
                  <a:pt x="129" y="183"/>
                </a:lnTo>
                <a:lnTo>
                  <a:pt x="135" y="159"/>
                </a:lnTo>
                <a:lnTo>
                  <a:pt x="139" y="150"/>
                </a:lnTo>
                <a:lnTo>
                  <a:pt x="148" y="144"/>
                </a:lnTo>
                <a:lnTo>
                  <a:pt x="159" y="150"/>
                </a:lnTo>
                <a:lnTo>
                  <a:pt x="169" y="154"/>
                </a:lnTo>
                <a:lnTo>
                  <a:pt x="183" y="159"/>
                </a:lnTo>
                <a:lnTo>
                  <a:pt x="198" y="159"/>
                </a:lnTo>
                <a:lnTo>
                  <a:pt x="218" y="159"/>
                </a:lnTo>
                <a:lnTo>
                  <a:pt x="239" y="159"/>
                </a:lnTo>
                <a:lnTo>
                  <a:pt x="263" y="154"/>
                </a:lnTo>
                <a:lnTo>
                  <a:pt x="283" y="144"/>
                </a:lnTo>
                <a:lnTo>
                  <a:pt x="293" y="135"/>
                </a:lnTo>
                <a:lnTo>
                  <a:pt x="303" y="125"/>
                </a:lnTo>
                <a:lnTo>
                  <a:pt x="308" y="116"/>
                </a:lnTo>
                <a:lnTo>
                  <a:pt x="322" y="106"/>
                </a:lnTo>
                <a:lnTo>
                  <a:pt x="333" y="101"/>
                </a:lnTo>
                <a:lnTo>
                  <a:pt x="337" y="87"/>
                </a:lnTo>
                <a:lnTo>
                  <a:pt x="333" y="76"/>
                </a:lnTo>
                <a:lnTo>
                  <a:pt x="322" y="67"/>
                </a:lnTo>
                <a:lnTo>
                  <a:pt x="313" y="63"/>
                </a:lnTo>
                <a:lnTo>
                  <a:pt x="303" y="48"/>
                </a:lnTo>
                <a:lnTo>
                  <a:pt x="298" y="38"/>
                </a:lnTo>
                <a:lnTo>
                  <a:pt x="293" y="34"/>
                </a:lnTo>
                <a:close/>
              </a:path>
            </a:pathLst>
          </a:custGeom>
          <a:solidFill>
            <a:srgbClr val="005027"/>
          </a:solidFill>
          <a:ln w="9525">
            <a:solidFill>
              <a:schemeClr val="bg1"/>
            </a:solidFill>
            <a:round/>
            <a:headEnd/>
            <a:tailEnd/>
          </a:ln>
        </p:spPr>
        <p:txBody>
          <a:bodyPr/>
          <a:lstStyle/>
          <a:p>
            <a:endParaRPr lang="ro-RO"/>
          </a:p>
        </p:txBody>
      </p:sp>
      <p:sp>
        <p:nvSpPr>
          <p:cNvPr id="12319" name="Freeform 29"/>
          <p:cNvSpPr>
            <a:spLocks/>
          </p:cNvSpPr>
          <p:nvPr/>
        </p:nvSpPr>
        <p:spPr bwMode="auto">
          <a:xfrm>
            <a:off x="3435350" y="1333500"/>
            <a:ext cx="1130300" cy="892175"/>
          </a:xfrm>
          <a:custGeom>
            <a:avLst/>
            <a:gdLst>
              <a:gd name="T0" fmla="*/ 2147483647 w 879"/>
              <a:gd name="T1" fmla="*/ 2147483647 h 646"/>
              <a:gd name="T2" fmla="*/ 2147483647 w 879"/>
              <a:gd name="T3" fmla="*/ 2147483647 h 646"/>
              <a:gd name="T4" fmla="*/ 2147483647 w 879"/>
              <a:gd name="T5" fmla="*/ 2147483647 h 646"/>
              <a:gd name="T6" fmla="*/ 2147483647 w 879"/>
              <a:gd name="T7" fmla="*/ 2147483647 h 646"/>
              <a:gd name="T8" fmla="*/ 2147483647 w 879"/>
              <a:gd name="T9" fmla="*/ 2147483647 h 646"/>
              <a:gd name="T10" fmla="*/ 2147483647 w 879"/>
              <a:gd name="T11" fmla="*/ 2147483647 h 646"/>
              <a:gd name="T12" fmla="*/ 2147483647 w 879"/>
              <a:gd name="T13" fmla="*/ 2147483647 h 646"/>
              <a:gd name="T14" fmla="*/ 2147483647 w 879"/>
              <a:gd name="T15" fmla="*/ 2147483647 h 646"/>
              <a:gd name="T16" fmla="*/ 2147483647 w 879"/>
              <a:gd name="T17" fmla="*/ 2147483647 h 646"/>
              <a:gd name="T18" fmla="*/ 2147483647 w 879"/>
              <a:gd name="T19" fmla="*/ 2147483647 h 646"/>
              <a:gd name="T20" fmla="*/ 2147483647 w 879"/>
              <a:gd name="T21" fmla="*/ 2147483647 h 646"/>
              <a:gd name="T22" fmla="*/ 2147483647 w 879"/>
              <a:gd name="T23" fmla="*/ 2147483647 h 646"/>
              <a:gd name="T24" fmla="*/ 2147483647 w 879"/>
              <a:gd name="T25" fmla="*/ 2147483647 h 646"/>
              <a:gd name="T26" fmla="*/ 2147483647 w 879"/>
              <a:gd name="T27" fmla="*/ 2147483647 h 646"/>
              <a:gd name="T28" fmla="*/ 2147483647 w 879"/>
              <a:gd name="T29" fmla="*/ 2147483647 h 646"/>
              <a:gd name="T30" fmla="*/ 2147483647 w 879"/>
              <a:gd name="T31" fmla="*/ 2147483647 h 646"/>
              <a:gd name="T32" fmla="*/ 2147483647 w 879"/>
              <a:gd name="T33" fmla="*/ 2147483647 h 646"/>
              <a:gd name="T34" fmla="*/ 2147483647 w 879"/>
              <a:gd name="T35" fmla="*/ 2147483647 h 646"/>
              <a:gd name="T36" fmla="*/ 2147483647 w 879"/>
              <a:gd name="T37" fmla="*/ 2147483647 h 646"/>
              <a:gd name="T38" fmla="*/ 2147483647 w 879"/>
              <a:gd name="T39" fmla="*/ 2147483647 h 646"/>
              <a:gd name="T40" fmla="*/ 2147483647 w 879"/>
              <a:gd name="T41" fmla="*/ 2147483647 h 646"/>
              <a:gd name="T42" fmla="*/ 2147483647 w 879"/>
              <a:gd name="T43" fmla="*/ 2147483647 h 646"/>
              <a:gd name="T44" fmla="*/ 2147483647 w 879"/>
              <a:gd name="T45" fmla="*/ 2147483647 h 646"/>
              <a:gd name="T46" fmla="*/ 2147483647 w 879"/>
              <a:gd name="T47" fmla="*/ 2147483647 h 646"/>
              <a:gd name="T48" fmla="*/ 2147483647 w 879"/>
              <a:gd name="T49" fmla="*/ 2147483647 h 646"/>
              <a:gd name="T50" fmla="*/ 2147483647 w 879"/>
              <a:gd name="T51" fmla="*/ 2147483647 h 646"/>
              <a:gd name="T52" fmla="*/ 2147483647 w 879"/>
              <a:gd name="T53" fmla="*/ 2147483647 h 646"/>
              <a:gd name="T54" fmla="*/ 2147483647 w 879"/>
              <a:gd name="T55" fmla="*/ 2147483647 h 646"/>
              <a:gd name="T56" fmla="*/ 2147483647 w 879"/>
              <a:gd name="T57" fmla="*/ 2147483647 h 646"/>
              <a:gd name="T58" fmla="*/ 2147483647 w 879"/>
              <a:gd name="T59" fmla="*/ 2147483647 h 646"/>
              <a:gd name="T60" fmla="*/ 2147483647 w 879"/>
              <a:gd name="T61" fmla="*/ 2147483647 h 646"/>
              <a:gd name="T62" fmla="*/ 2147483647 w 879"/>
              <a:gd name="T63" fmla="*/ 2147483647 h 646"/>
              <a:gd name="T64" fmla="*/ 2147483647 w 879"/>
              <a:gd name="T65" fmla="*/ 2147483647 h 646"/>
              <a:gd name="T66" fmla="*/ 2147483647 w 879"/>
              <a:gd name="T67" fmla="*/ 2147483647 h 646"/>
              <a:gd name="T68" fmla="*/ 2147483647 w 879"/>
              <a:gd name="T69" fmla="*/ 2147483647 h 646"/>
              <a:gd name="T70" fmla="*/ 2147483647 w 879"/>
              <a:gd name="T71" fmla="*/ 2147483647 h 646"/>
              <a:gd name="T72" fmla="*/ 2147483647 w 879"/>
              <a:gd name="T73" fmla="*/ 2147483647 h 646"/>
              <a:gd name="T74" fmla="*/ 2147483647 w 879"/>
              <a:gd name="T75" fmla="*/ 2147483647 h 646"/>
              <a:gd name="T76" fmla="*/ 2147483647 w 879"/>
              <a:gd name="T77" fmla="*/ 2147483647 h 646"/>
              <a:gd name="T78" fmla="*/ 2147483647 w 879"/>
              <a:gd name="T79" fmla="*/ 2147483647 h 646"/>
              <a:gd name="T80" fmla="*/ 2147483647 w 879"/>
              <a:gd name="T81" fmla="*/ 2147483647 h 646"/>
              <a:gd name="T82" fmla="*/ 2147483647 w 879"/>
              <a:gd name="T83" fmla="*/ 2147483647 h 646"/>
              <a:gd name="T84" fmla="*/ 2147483647 w 879"/>
              <a:gd name="T85" fmla="*/ 2147483647 h 646"/>
              <a:gd name="T86" fmla="*/ 2147483647 w 879"/>
              <a:gd name="T87" fmla="*/ 2147483647 h 646"/>
              <a:gd name="T88" fmla="*/ 2147483647 w 879"/>
              <a:gd name="T89" fmla="*/ 2147483647 h 646"/>
              <a:gd name="T90" fmla="*/ 2147483647 w 879"/>
              <a:gd name="T91" fmla="*/ 2147483647 h 646"/>
              <a:gd name="T92" fmla="*/ 2147483647 w 879"/>
              <a:gd name="T93" fmla="*/ 2147483647 h 646"/>
              <a:gd name="T94" fmla="*/ 0 w 879"/>
              <a:gd name="T95" fmla="*/ 2147483647 h 646"/>
              <a:gd name="T96" fmla="*/ 2147483647 w 879"/>
              <a:gd name="T97" fmla="*/ 2147483647 h 646"/>
              <a:gd name="T98" fmla="*/ 2147483647 w 879"/>
              <a:gd name="T99" fmla="*/ 2147483647 h 646"/>
              <a:gd name="T100" fmla="*/ 2147483647 w 879"/>
              <a:gd name="T101" fmla="*/ 2147483647 h 646"/>
              <a:gd name="T102" fmla="*/ 2147483647 w 879"/>
              <a:gd name="T103" fmla="*/ 2147483647 h 646"/>
              <a:gd name="T104" fmla="*/ 2147483647 w 879"/>
              <a:gd name="T105" fmla="*/ 2147483647 h 646"/>
              <a:gd name="T106" fmla="*/ 2147483647 w 879"/>
              <a:gd name="T107" fmla="*/ 2147483647 h 646"/>
              <a:gd name="T108" fmla="*/ 2147483647 w 879"/>
              <a:gd name="T109" fmla="*/ 2147483647 h 646"/>
              <a:gd name="T110" fmla="*/ 2147483647 w 879"/>
              <a:gd name="T111" fmla="*/ 2147483647 h 646"/>
              <a:gd name="T112" fmla="*/ 2147483647 w 879"/>
              <a:gd name="T113" fmla="*/ 2147483647 h 646"/>
              <a:gd name="T114" fmla="*/ 2147483647 w 879"/>
              <a:gd name="T115" fmla="*/ 2147483647 h 646"/>
              <a:gd name="T116" fmla="*/ 2147483647 w 879"/>
              <a:gd name="T117" fmla="*/ 0 h 6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79"/>
              <a:gd name="T178" fmla="*/ 0 h 646"/>
              <a:gd name="T179" fmla="*/ 879 w 879"/>
              <a:gd name="T180" fmla="*/ 646 h 6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79" h="646">
                <a:moveTo>
                  <a:pt x="581" y="0"/>
                </a:moveTo>
                <a:lnTo>
                  <a:pt x="626" y="43"/>
                </a:lnTo>
                <a:lnTo>
                  <a:pt x="631" y="58"/>
                </a:lnTo>
                <a:lnTo>
                  <a:pt x="641" y="64"/>
                </a:lnTo>
                <a:lnTo>
                  <a:pt x="651" y="64"/>
                </a:lnTo>
                <a:lnTo>
                  <a:pt x="656" y="64"/>
                </a:lnTo>
                <a:lnTo>
                  <a:pt x="661" y="68"/>
                </a:lnTo>
                <a:lnTo>
                  <a:pt x="670" y="77"/>
                </a:lnTo>
                <a:lnTo>
                  <a:pt x="686" y="87"/>
                </a:lnTo>
                <a:lnTo>
                  <a:pt x="691" y="102"/>
                </a:lnTo>
                <a:lnTo>
                  <a:pt x="701" y="116"/>
                </a:lnTo>
                <a:lnTo>
                  <a:pt x="716" y="121"/>
                </a:lnTo>
                <a:lnTo>
                  <a:pt x="726" y="131"/>
                </a:lnTo>
                <a:lnTo>
                  <a:pt x="736" y="140"/>
                </a:lnTo>
                <a:lnTo>
                  <a:pt x="755" y="154"/>
                </a:lnTo>
                <a:lnTo>
                  <a:pt x="770" y="169"/>
                </a:lnTo>
                <a:lnTo>
                  <a:pt x="781" y="184"/>
                </a:lnTo>
                <a:lnTo>
                  <a:pt x="795" y="203"/>
                </a:lnTo>
                <a:lnTo>
                  <a:pt x="800" y="231"/>
                </a:lnTo>
                <a:lnTo>
                  <a:pt x="805" y="251"/>
                </a:lnTo>
                <a:lnTo>
                  <a:pt x="805" y="260"/>
                </a:lnTo>
                <a:lnTo>
                  <a:pt x="820" y="289"/>
                </a:lnTo>
                <a:lnTo>
                  <a:pt x="820" y="294"/>
                </a:lnTo>
                <a:lnTo>
                  <a:pt x="820" y="304"/>
                </a:lnTo>
                <a:lnTo>
                  <a:pt x="825" y="323"/>
                </a:lnTo>
                <a:lnTo>
                  <a:pt x="829" y="347"/>
                </a:lnTo>
                <a:lnTo>
                  <a:pt x="840" y="376"/>
                </a:lnTo>
                <a:lnTo>
                  <a:pt x="850" y="391"/>
                </a:lnTo>
                <a:lnTo>
                  <a:pt x="859" y="400"/>
                </a:lnTo>
                <a:lnTo>
                  <a:pt x="859" y="405"/>
                </a:lnTo>
                <a:lnTo>
                  <a:pt x="864" y="410"/>
                </a:lnTo>
                <a:lnTo>
                  <a:pt x="875" y="433"/>
                </a:lnTo>
                <a:lnTo>
                  <a:pt x="879" y="439"/>
                </a:lnTo>
                <a:lnTo>
                  <a:pt x="875" y="443"/>
                </a:lnTo>
                <a:lnTo>
                  <a:pt x="864" y="443"/>
                </a:lnTo>
                <a:lnTo>
                  <a:pt x="844" y="433"/>
                </a:lnTo>
                <a:lnTo>
                  <a:pt x="820" y="424"/>
                </a:lnTo>
                <a:lnTo>
                  <a:pt x="805" y="414"/>
                </a:lnTo>
                <a:lnTo>
                  <a:pt x="795" y="414"/>
                </a:lnTo>
                <a:lnTo>
                  <a:pt x="795" y="429"/>
                </a:lnTo>
                <a:lnTo>
                  <a:pt x="805" y="448"/>
                </a:lnTo>
                <a:lnTo>
                  <a:pt x="810" y="467"/>
                </a:lnTo>
                <a:lnTo>
                  <a:pt x="805" y="477"/>
                </a:lnTo>
                <a:lnTo>
                  <a:pt x="800" y="487"/>
                </a:lnTo>
                <a:lnTo>
                  <a:pt x="800" y="492"/>
                </a:lnTo>
                <a:lnTo>
                  <a:pt x="795" y="482"/>
                </a:lnTo>
                <a:lnTo>
                  <a:pt x="785" y="477"/>
                </a:lnTo>
                <a:lnTo>
                  <a:pt x="766" y="467"/>
                </a:lnTo>
                <a:lnTo>
                  <a:pt x="740" y="463"/>
                </a:lnTo>
                <a:lnTo>
                  <a:pt x="726" y="463"/>
                </a:lnTo>
                <a:lnTo>
                  <a:pt x="711" y="473"/>
                </a:lnTo>
                <a:lnTo>
                  <a:pt x="696" y="487"/>
                </a:lnTo>
                <a:lnTo>
                  <a:pt x="691" y="492"/>
                </a:lnTo>
                <a:lnTo>
                  <a:pt x="681" y="497"/>
                </a:lnTo>
                <a:lnTo>
                  <a:pt x="666" y="497"/>
                </a:lnTo>
                <a:lnTo>
                  <a:pt x="641" y="487"/>
                </a:lnTo>
                <a:lnTo>
                  <a:pt x="622" y="487"/>
                </a:lnTo>
                <a:lnTo>
                  <a:pt x="611" y="487"/>
                </a:lnTo>
                <a:lnTo>
                  <a:pt x="607" y="487"/>
                </a:lnTo>
                <a:lnTo>
                  <a:pt x="601" y="492"/>
                </a:lnTo>
                <a:lnTo>
                  <a:pt x="596" y="497"/>
                </a:lnTo>
                <a:lnTo>
                  <a:pt x="592" y="501"/>
                </a:lnTo>
                <a:lnTo>
                  <a:pt x="581" y="501"/>
                </a:lnTo>
                <a:lnTo>
                  <a:pt x="561" y="501"/>
                </a:lnTo>
                <a:lnTo>
                  <a:pt x="546" y="501"/>
                </a:lnTo>
                <a:lnTo>
                  <a:pt x="526" y="501"/>
                </a:lnTo>
                <a:lnTo>
                  <a:pt x="512" y="501"/>
                </a:lnTo>
                <a:lnTo>
                  <a:pt x="502" y="507"/>
                </a:lnTo>
                <a:lnTo>
                  <a:pt x="492" y="507"/>
                </a:lnTo>
                <a:lnTo>
                  <a:pt x="487" y="511"/>
                </a:lnTo>
                <a:lnTo>
                  <a:pt x="487" y="507"/>
                </a:lnTo>
                <a:lnTo>
                  <a:pt x="477" y="497"/>
                </a:lnTo>
                <a:lnTo>
                  <a:pt x="463" y="492"/>
                </a:lnTo>
                <a:lnTo>
                  <a:pt x="448" y="482"/>
                </a:lnTo>
                <a:lnTo>
                  <a:pt x="433" y="477"/>
                </a:lnTo>
                <a:lnTo>
                  <a:pt x="422" y="477"/>
                </a:lnTo>
                <a:lnTo>
                  <a:pt x="418" y="477"/>
                </a:lnTo>
                <a:lnTo>
                  <a:pt x="418" y="482"/>
                </a:lnTo>
                <a:lnTo>
                  <a:pt x="428" y="492"/>
                </a:lnTo>
                <a:lnTo>
                  <a:pt x="437" y="507"/>
                </a:lnTo>
                <a:lnTo>
                  <a:pt x="442" y="520"/>
                </a:lnTo>
                <a:lnTo>
                  <a:pt x="433" y="530"/>
                </a:lnTo>
                <a:lnTo>
                  <a:pt x="422" y="540"/>
                </a:lnTo>
                <a:lnTo>
                  <a:pt x="413" y="545"/>
                </a:lnTo>
                <a:lnTo>
                  <a:pt x="398" y="574"/>
                </a:lnTo>
                <a:lnTo>
                  <a:pt x="372" y="602"/>
                </a:lnTo>
                <a:lnTo>
                  <a:pt x="368" y="608"/>
                </a:lnTo>
                <a:lnTo>
                  <a:pt x="368" y="617"/>
                </a:lnTo>
                <a:lnTo>
                  <a:pt x="368" y="621"/>
                </a:lnTo>
                <a:lnTo>
                  <a:pt x="363" y="631"/>
                </a:lnTo>
                <a:lnTo>
                  <a:pt x="358" y="636"/>
                </a:lnTo>
                <a:lnTo>
                  <a:pt x="343" y="641"/>
                </a:lnTo>
                <a:lnTo>
                  <a:pt x="328" y="646"/>
                </a:lnTo>
                <a:lnTo>
                  <a:pt x="313" y="646"/>
                </a:lnTo>
                <a:lnTo>
                  <a:pt x="298" y="636"/>
                </a:lnTo>
                <a:lnTo>
                  <a:pt x="293" y="627"/>
                </a:lnTo>
                <a:lnTo>
                  <a:pt x="283" y="617"/>
                </a:lnTo>
                <a:lnTo>
                  <a:pt x="269" y="608"/>
                </a:lnTo>
                <a:lnTo>
                  <a:pt x="259" y="598"/>
                </a:lnTo>
                <a:lnTo>
                  <a:pt x="243" y="583"/>
                </a:lnTo>
                <a:lnTo>
                  <a:pt x="229" y="578"/>
                </a:lnTo>
                <a:lnTo>
                  <a:pt x="213" y="574"/>
                </a:lnTo>
                <a:lnTo>
                  <a:pt x="194" y="574"/>
                </a:lnTo>
                <a:lnTo>
                  <a:pt x="179" y="578"/>
                </a:lnTo>
                <a:lnTo>
                  <a:pt x="174" y="587"/>
                </a:lnTo>
                <a:lnTo>
                  <a:pt x="169" y="602"/>
                </a:lnTo>
                <a:lnTo>
                  <a:pt x="159" y="621"/>
                </a:lnTo>
                <a:lnTo>
                  <a:pt x="150" y="631"/>
                </a:lnTo>
                <a:lnTo>
                  <a:pt x="139" y="627"/>
                </a:lnTo>
                <a:lnTo>
                  <a:pt x="135" y="621"/>
                </a:lnTo>
                <a:lnTo>
                  <a:pt x="120" y="617"/>
                </a:lnTo>
                <a:lnTo>
                  <a:pt x="85" y="617"/>
                </a:lnTo>
                <a:lnTo>
                  <a:pt x="70" y="612"/>
                </a:lnTo>
                <a:lnTo>
                  <a:pt x="60" y="602"/>
                </a:lnTo>
                <a:lnTo>
                  <a:pt x="45" y="583"/>
                </a:lnTo>
                <a:lnTo>
                  <a:pt x="45" y="574"/>
                </a:lnTo>
                <a:lnTo>
                  <a:pt x="50" y="559"/>
                </a:lnTo>
                <a:lnTo>
                  <a:pt x="50" y="545"/>
                </a:lnTo>
                <a:lnTo>
                  <a:pt x="45" y="526"/>
                </a:lnTo>
                <a:lnTo>
                  <a:pt x="35" y="482"/>
                </a:lnTo>
                <a:lnTo>
                  <a:pt x="35" y="463"/>
                </a:lnTo>
                <a:lnTo>
                  <a:pt x="45" y="448"/>
                </a:lnTo>
                <a:lnTo>
                  <a:pt x="54" y="439"/>
                </a:lnTo>
                <a:lnTo>
                  <a:pt x="54" y="429"/>
                </a:lnTo>
                <a:lnTo>
                  <a:pt x="45" y="395"/>
                </a:lnTo>
                <a:lnTo>
                  <a:pt x="40" y="386"/>
                </a:lnTo>
                <a:lnTo>
                  <a:pt x="40" y="381"/>
                </a:lnTo>
                <a:lnTo>
                  <a:pt x="45" y="381"/>
                </a:lnTo>
                <a:lnTo>
                  <a:pt x="65" y="381"/>
                </a:lnTo>
                <a:lnTo>
                  <a:pt x="74" y="381"/>
                </a:lnTo>
                <a:lnTo>
                  <a:pt x="74" y="376"/>
                </a:lnTo>
                <a:lnTo>
                  <a:pt x="74" y="372"/>
                </a:lnTo>
                <a:lnTo>
                  <a:pt x="65" y="362"/>
                </a:lnTo>
                <a:lnTo>
                  <a:pt x="60" y="357"/>
                </a:lnTo>
                <a:lnTo>
                  <a:pt x="65" y="347"/>
                </a:lnTo>
                <a:lnTo>
                  <a:pt x="70" y="332"/>
                </a:lnTo>
                <a:lnTo>
                  <a:pt x="74" y="323"/>
                </a:lnTo>
                <a:lnTo>
                  <a:pt x="74" y="313"/>
                </a:lnTo>
                <a:lnTo>
                  <a:pt x="65" y="304"/>
                </a:lnTo>
                <a:lnTo>
                  <a:pt x="50" y="294"/>
                </a:lnTo>
                <a:lnTo>
                  <a:pt x="30" y="285"/>
                </a:lnTo>
                <a:lnTo>
                  <a:pt x="15" y="275"/>
                </a:lnTo>
                <a:lnTo>
                  <a:pt x="6" y="265"/>
                </a:lnTo>
                <a:lnTo>
                  <a:pt x="0" y="260"/>
                </a:lnTo>
                <a:lnTo>
                  <a:pt x="6" y="251"/>
                </a:lnTo>
                <a:lnTo>
                  <a:pt x="15" y="241"/>
                </a:lnTo>
                <a:lnTo>
                  <a:pt x="20" y="237"/>
                </a:lnTo>
                <a:lnTo>
                  <a:pt x="26" y="231"/>
                </a:lnTo>
                <a:lnTo>
                  <a:pt x="35" y="231"/>
                </a:lnTo>
                <a:lnTo>
                  <a:pt x="45" y="227"/>
                </a:lnTo>
                <a:lnTo>
                  <a:pt x="54" y="222"/>
                </a:lnTo>
                <a:lnTo>
                  <a:pt x="54" y="212"/>
                </a:lnTo>
                <a:lnTo>
                  <a:pt x="45" y="203"/>
                </a:lnTo>
                <a:lnTo>
                  <a:pt x="30" y="188"/>
                </a:lnTo>
                <a:lnTo>
                  <a:pt x="30" y="184"/>
                </a:lnTo>
                <a:lnTo>
                  <a:pt x="54" y="178"/>
                </a:lnTo>
                <a:lnTo>
                  <a:pt x="80" y="169"/>
                </a:lnTo>
                <a:lnTo>
                  <a:pt x="100" y="154"/>
                </a:lnTo>
                <a:lnTo>
                  <a:pt x="115" y="140"/>
                </a:lnTo>
                <a:lnTo>
                  <a:pt x="144" y="106"/>
                </a:lnTo>
                <a:lnTo>
                  <a:pt x="169" y="72"/>
                </a:lnTo>
                <a:lnTo>
                  <a:pt x="184" y="58"/>
                </a:lnTo>
                <a:lnTo>
                  <a:pt x="204" y="49"/>
                </a:lnTo>
                <a:lnTo>
                  <a:pt x="229" y="39"/>
                </a:lnTo>
                <a:lnTo>
                  <a:pt x="259" y="34"/>
                </a:lnTo>
                <a:lnTo>
                  <a:pt x="298" y="30"/>
                </a:lnTo>
                <a:lnTo>
                  <a:pt x="353" y="30"/>
                </a:lnTo>
                <a:lnTo>
                  <a:pt x="378" y="30"/>
                </a:lnTo>
                <a:lnTo>
                  <a:pt x="407" y="24"/>
                </a:lnTo>
                <a:lnTo>
                  <a:pt x="428" y="20"/>
                </a:lnTo>
                <a:lnTo>
                  <a:pt x="433" y="15"/>
                </a:lnTo>
                <a:lnTo>
                  <a:pt x="437" y="15"/>
                </a:lnTo>
                <a:lnTo>
                  <a:pt x="452" y="10"/>
                </a:lnTo>
                <a:lnTo>
                  <a:pt x="487" y="5"/>
                </a:lnTo>
                <a:lnTo>
                  <a:pt x="531" y="0"/>
                </a:lnTo>
                <a:lnTo>
                  <a:pt x="572" y="0"/>
                </a:lnTo>
                <a:lnTo>
                  <a:pt x="581" y="0"/>
                </a:lnTo>
                <a:close/>
              </a:path>
            </a:pathLst>
          </a:custGeom>
          <a:solidFill>
            <a:srgbClr val="005027"/>
          </a:solidFill>
          <a:ln w="9525">
            <a:solidFill>
              <a:schemeClr val="bg1"/>
            </a:solidFill>
            <a:round/>
            <a:headEnd/>
            <a:tailEnd/>
          </a:ln>
        </p:spPr>
        <p:txBody>
          <a:bodyPr/>
          <a:lstStyle/>
          <a:p>
            <a:endParaRPr lang="ro-RO"/>
          </a:p>
        </p:txBody>
      </p:sp>
      <p:sp>
        <p:nvSpPr>
          <p:cNvPr id="12320" name="Freeform 30"/>
          <p:cNvSpPr>
            <a:spLocks/>
          </p:cNvSpPr>
          <p:nvPr/>
        </p:nvSpPr>
        <p:spPr bwMode="auto">
          <a:xfrm>
            <a:off x="4167188" y="1052513"/>
            <a:ext cx="862012" cy="849312"/>
          </a:xfrm>
          <a:custGeom>
            <a:avLst/>
            <a:gdLst>
              <a:gd name="T0" fmla="*/ 2147483647 w 671"/>
              <a:gd name="T1" fmla="*/ 2147483647 h 615"/>
              <a:gd name="T2" fmla="*/ 2147483647 w 671"/>
              <a:gd name="T3" fmla="*/ 2147483647 h 615"/>
              <a:gd name="T4" fmla="*/ 2147483647 w 671"/>
              <a:gd name="T5" fmla="*/ 2147483647 h 615"/>
              <a:gd name="T6" fmla="*/ 2147483647 w 671"/>
              <a:gd name="T7" fmla="*/ 2147483647 h 615"/>
              <a:gd name="T8" fmla="*/ 2147483647 w 671"/>
              <a:gd name="T9" fmla="*/ 2147483647 h 615"/>
              <a:gd name="T10" fmla="*/ 2147483647 w 671"/>
              <a:gd name="T11" fmla="*/ 2147483647 h 615"/>
              <a:gd name="T12" fmla="*/ 2147483647 w 671"/>
              <a:gd name="T13" fmla="*/ 2147483647 h 615"/>
              <a:gd name="T14" fmla="*/ 2147483647 w 671"/>
              <a:gd name="T15" fmla="*/ 2147483647 h 615"/>
              <a:gd name="T16" fmla="*/ 2147483647 w 671"/>
              <a:gd name="T17" fmla="*/ 2147483647 h 615"/>
              <a:gd name="T18" fmla="*/ 2147483647 w 671"/>
              <a:gd name="T19" fmla="*/ 2147483647 h 615"/>
              <a:gd name="T20" fmla="*/ 2147483647 w 671"/>
              <a:gd name="T21" fmla="*/ 2147483647 h 615"/>
              <a:gd name="T22" fmla="*/ 2147483647 w 671"/>
              <a:gd name="T23" fmla="*/ 2147483647 h 615"/>
              <a:gd name="T24" fmla="*/ 2147483647 w 671"/>
              <a:gd name="T25" fmla="*/ 2147483647 h 615"/>
              <a:gd name="T26" fmla="*/ 2147483647 w 671"/>
              <a:gd name="T27" fmla="*/ 2147483647 h 615"/>
              <a:gd name="T28" fmla="*/ 2147483647 w 671"/>
              <a:gd name="T29" fmla="*/ 2147483647 h 615"/>
              <a:gd name="T30" fmla="*/ 2147483647 w 671"/>
              <a:gd name="T31" fmla="*/ 2147483647 h 615"/>
              <a:gd name="T32" fmla="*/ 2147483647 w 671"/>
              <a:gd name="T33" fmla="*/ 2147483647 h 615"/>
              <a:gd name="T34" fmla="*/ 2147483647 w 671"/>
              <a:gd name="T35" fmla="*/ 2147483647 h 615"/>
              <a:gd name="T36" fmla="*/ 2147483647 w 671"/>
              <a:gd name="T37" fmla="*/ 2147483647 h 615"/>
              <a:gd name="T38" fmla="*/ 2147483647 w 671"/>
              <a:gd name="T39" fmla="*/ 2147483647 h 615"/>
              <a:gd name="T40" fmla="*/ 2147483647 w 671"/>
              <a:gd name="T41" fmla="*/ 2147483647 h 615"/>
              <a:gd name="T42" fmla="*/ 2147483647 w 671"/>
              <a:gd name="T43" fmla="*/ 2147483647 h 615"/>
              <a:gd name="T44" fmla="*/ 0 w 671"/>
              <a:gd name="T45" fmla="*/ 2147483647 h 615"/>
              <a:gd name="T46" fmla="*/ 2147483647 w 671"/>
              <a:gd name="T47" fmla="*/ 2147483647 h 615"/>
              <a:gd name="T48" fmla="*/ 2147483647 w 671"/>
              <a:gd name="T49" fmla="*/ 2147483647 h 615"/>
              <a:gd name="T50" fmla="*/ 2147483647 w 671"/>
              <a:gd name="T51" fmla="*/ 2147483647 h 615"/>
              <a:gd name="T52" fmla="*/ 2147483647 w 671"/>
              <a:gd name="T53" fmla="*/ 2147483647 h 615"/>
              <a:gd name="T54" fmla="*/ 2147483647 w 671"/>
              <a:gd name="T55" fmla="*/ 2147483647 h 615"/>
              <a:gd name="T56" fmla="*/ 2147483647 w 671"/>
              <a:gd name="T57" fmla="*/ 2147483647 h 615"/>
              <a:gd name="T58" fmla="*/ 2147483647 w 671"/>
              <a:gd name="T59" fmla="*/ 0 h 615"/>
              <a:gd name="T60" fmla="*/ 2147483647 w 671"/>
              <a:gd name="T61" fmla="*/ 2147483647 h 615"/>
              <a:gd name="T62" fmla="*/ 2147483647 w 671"/>
              <a:gd name="T63" fmla="*/ 2147483647 h 615"/>
              <a:gd name="T64" fmla="*/ 2147483647 w 671"/>
              <a:gd name="T65" fmla="*/ 2147483647 h 615"/>
              <a:gd name="T66" fmla="*/ 2147483647 w 671"/>
              <a:gd name="T67" fmla="*/ 2147483647 h 615"/>
              <a:gd name="T68" fmla="*/ 2147483647 w 671"/>
              <a:gd name="T69" fmla="*/ 2147483647 h 615"/>
              <a:gd name="T70" fmla="*/ 2147483647 w 671"/>
              <a:gd name="T71" fmla="*/ 2147483647 h 615"/>
              <a:gd name="T72" fmla="*/ 2147483647 w 671"/>
              <a:gd name="T73" fmla="*/ 2147483647 h 615"/>
              <a:gd name="T74" fmla="*/ 2147483647 w 671"/>
              <a:gd name="T75" fmla="*/ 2147483647 h 615"/>
              <a:gd name="T76" fmla="*/ 2147483647 w 671"/>
              <a:gd name="T77" fmla="*/ 2147483647 h 615"/>
              <a:gd name="T78" fmla="*/ 2147483647 w 671"/>
              <a:gd name="T79" fmla="*/ 2147483647 h 615"/>
              <a:gd name="T80" fmla="*/ 2147483647 w 671"/>
              <a:gd name="T81" fmla="*/ 2147483647 h 615"/>
              <a:gd name="T82" fmla="*/ 2147483647 w 671"/>
              <a:gd name="T83" fmla="*/ 2147483647 h 615"/>
              <a:gd name="T84" fmla="*/ 2147483647 w 671"/>
              <a:gd name="T85" fmla="*/ 2147483647 h 615"/>
              <a:gd name="T86" fmla="*/ 2147483647 w 671"/>
              <a:gd name="T87" fmla="*/ 2147483647 h 6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71"/>
              <a:gd name="T133" fmla="*/ 0 h 615"/>
              <a:gd name="T134" fmla="*/ 671 w 671"/>
              <a:gd name="T135" fmla="*/ 615 h 6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71" h="615">
                <a:moveTo>
                  <a:pt x="671" y="479"/>
                </a:moveTo>
                <a:lnTo>
                  <a:pt x="671" y="479"/>
                </a:lnTo>
                <a:lnTo>
                  <a:pt x="661" y="484"/>
                </a:lnTo>
                <a:lnTo>
                  <a:pt x="646" y="490"/>
                </a:lnTo>
                <a:lnTo>
                  <a:pt x="626" y="490"/>
                </a:lnTo>
                <a:lnTo>
                  <a:pt x="606" y="494"/>
                </a:lnTo>
                <a:lnTo>
                  <a:pt x="597" y="509"/>
                </a:lnTo>
                <a:lnTo>
                  <a:pt x="591" y="518"/>
                </a:lnTo>
                <a:lnTo>
                  <a:pt x="591" y="524"/>
                </a:lnTo>
                <a:lnTo>
                  <a:pt x="567" y="513"/>
                </a:lnTo>
                <a:lnTo>
                  <a:pt x="547" y="509"/>
                </a:lnTo>
                <a:lnTo>
                  <a:pt x="537" y="509"/>
                </a:lnTo>
                <a:lnTo>
                  <a:pt x="527" y="513"/>
                </a:lnTo>
                <a:lnTo>
                  <a:pt x="521" y="518"/>
                </a:lnTo>
                <a:lnTo>
                  <a:pt x="527" y="528"/>
                </a:lnTo>
                <a:lnTo>
                  <a:pt x="527" y="533"/>
                </a:lnTo>
                <a:lnTo>
                  <a:pt x="527" y="543"/>
                </a:lnTo>
                <a:lnTo>
                  <a:pt x="521" y="566"/>
                </a:lnTo>
                <a:lnTo>
                  <a:pt x="512" y="571"/>
                </a:lnTo>
                <a:lnTo>
                  <a:pt x="502" y="577"/>
                </a:lnTo>
                <a:lnTo>
                  <a:pt x="492" y="577"/>
                </a:lnTo>
                <a:lnTo>
                  <a:pt x="482" y="571"/>
                </a:lnTo>
                <a:lnTo>
                  <a:pt x="473" y="562"/>
                </a:lnTo>
                <a:lnTo>
                  <a:pt x="467" y="562"/>
                </a:lnTo>
                <a:lnTo>
                  <a:pt x="452" y="562"/>
                </a:lnTo>
                <a:lnTo>
                  <a:pt x="432" y="562"/>
                </a:lnTo>
                <a:lnTo>
                  <a:pt x="417" y="558"/>
                </a:lnTo>
                <a:lnTo>
                  <a:pt x="393" y="552"/>
                </a:lnTo>
                <a:lnTo>
                  <a:pt x="368" y="543"/>
                </a:lnTo>
                <a:lnTo>
                  <a:pt x="349" y="543"/>
                </a:lnTo>
                <a:lnTo>
                  <a:pt x="333" y="543"/>
                </a:lnTo>
                <a:lnTo>
                  <a:pt x="323" y="547"/>
                </a:lnTo>
                <a:lnTo>
                  <a:pt x="314" y="566"/>
                </a:lnTo>
                <a:lnTo>
                  <a:pt x="323" y="596"/>
                </a:lnTo>
                <a:lnTo>
                  <a:pt x="328" y="605"/>
                </a:lnTo>
                <a:lnTo>
                  <a:pt x="328" y="615"/>
                </a:lnTo>
                <a:lnTo>
                  <a:pt x="314" y="615"/>
                </a:lnTo>
                <a:lnTo>
                  <a:pt x="299" y="611"/>
                </a:lnTo>
                <a:lnTo>
                  <a:pt x="293" y="605"/>
                </a:lnTo>
                <a:lnTo>
                  <a:pt x="288" y="605"/>
                </a:lnTo>
                <a:lnTo>
                  <a:pt x="279" y="596"/>
                </a:lnTo>
                <a:lnTo>
                  <a:pt x="268" y="581"/>
                </a:lnTo>
                <a:lnTo>
                  <a:pt x="258" y="552"/>
                </a:lnTo>
                <a:lnTo>
                  <a:pt x="253" y="528"/>
                </a:lnTo>
                <a:lnTo>
                  <a:pt x="248" y="509"/>
                </a:lnTo>
                <a:lnTo>
                  <a:pt x="248" y="499"/>
                </a:lnTo>
                <a:lnTo>
                  <a:pt x="248" y="494"/>
                </a:lnTo>
                <a:lnTo>
                  <a:pt x="234" y="465"/>
                </a:lnTo>
                <a:lnTo>
                  <a:pt x="234" y="456"/>
                </a:lnTo>
                <a:lnTo>
                  <a:pt x="229" y="436"/>
                </a:lnTo>
                <a:lnTo>
                  <a:pt x="223" y="407"/>
                </a:lnTo>
                <a:lnTo>
                  <a:pt x="209" y="388"/>
                </a:lnTo>
                <a:lnTo>
                  <a:pt x="199" y="373"/>
                </a:lnTo>
                <a:lnTo>
                  <a:pt x="184" y="359"/>
                </a:lnTo>
                <a:lnTo>
                  <a:pt x="164" y="344"/>
                </a:lnTo>
                <a:lnTo>
                  <a:pt x="154" y="335"/>
                </a:lnTo>
                <a:lnTo>
                  <a:pt x="144" y="325"/>
                </a:lnTo>
                <a:lnTo>
                  <a:pt x="129" y="320"/>
                </a:lnTo>
                <a:lnTo>
                  <a:pt x="120" y="305"/>
                </a:lnTo>
                <a:lnTo>
                  <a:pt x="114" y="291"/>
                </a:lnTo>
                <a:lnTo>
                  <a:pt x="99" y="281"/>
                </a:lnTo>
                <a:lnTo>
                  <a:pt x="90" y="272"/>
                </a:lnTo>
                <a:lnTo>
                  <a:pt x="85" y="267"/>
                </a:lnTo>
                <a:lnTo>
                  <a:pt x="79" y="267"/>
                </a:lnTo>
                <a:lnTo>
                  <a:pt x="70" y="267"/>
                </a:lnTo>
                <a:lnTo>
                  <a:pt x="59" y="261"/>
                </a:lnTo>
                <a:lnTo>
                  <a:pt x="55" y="247"/>
                </a:lnTo>
                <a:lnTo>
                  <a:pt x="10" y="204"/>
                </a:lnTo>
                <a:lnTo>
                  <a:pt x="0" y="204"/>
                </a:lnTo>
                <a:lnTo>
                  <a:pt x="20" y="204"/>
                </a:lnTo>
                <a:lnTo>
                  <a:pt x="35" y="204"/>
                </a:lnTo>
                <a:lnTo>
                  <a:pt x="55" y="194"/>
                </a:lnTo>
                <a:lnTo>
                  <a:pt x="64" y="179"/>
                </a:lnTo>
                <a:lnTo>
                  <a:pt x="74" y="160"/>
                </a:lnTo>
                <a:lnTo>
                  <a:pt x="85" y="145"/>
                </a:lnTo>
                <a:lnTo>
                  <a:pt x="94" y="121"/>
                </a:lnTo>
                <a:lnTo>
                  <a:pt x="129" y="73"/>
                </a:lnTo>
                <a:lnTo>
                  <a:pt x="149" y="49"/>
                </a:lnTo>
                <a:lnTo>
                  <a:pt x="174" y="34"/>
                </a:lnTo>
                <a:lnTo>
                  <a:pt x="194" y="24"/>
                </a:lnTo>
                <a:lnTo>
                  <a:pt x="218" y="30"/>
                </a:lnTo>
                <a:lnTo>
                  <a:pt x="229" y="34"/>
                </a:lnTo>
                <a:lnTo>
                  <a:pt x="234" y="34"/>
                </a:lnTo>
                <a:lnTo>
                  <a:pt x="244" y="24"/>
                </a:lnTo>
                <a:lnTo>
                  <a:pt x="253" y="15"/>
                </a:lnTo>
                <a:lnTo>
                  <a:pt x="264" y="15"/>
                </a:lnTo>
                <a:lnTo>
                  <a:pt x="273" y="19"/>
                </a:lnTo>
                <a:lnTo>
                  <a:pt x="279" y="19"/>
                </a:lnTo>
                <a:lnTo>
                  <a:pt x="283" y="10"/>
                </a:lnTo>
                <a:lnTo>
                  <a:pt x="293" y="0"/>
                </a:lnTo>
                <a:lnTo>
                  <a:pt x="299" y="0"/>
                </a:lnTo>
                <a:lnTo>
                  <a:pt x="308" y="10"/>
                </a:lnTo>
                <a:lnTo>
                  <a:pt x="314" y="15"/>
                </a:lnTo>
                <a:lnTo>
                  <a:pt x="318" y="15"/>
                </a:lnTo>
                <a:lnTo>
                  <a:pt x="338" y="10"/>
                </a:lnTo>
                <a:lnTo>
                  <a:pt x="358" y="5"/>
                </a:lnTo>
                <a:lnTo>
                  <a:pt x="373" y="10"/>
                </a:lnTo>
                <a:lnTo>
                  <a:pt x="388" y="19"/>
                </a:lnTo>
                <a:lnTo>
                  <a:pt x="403" y="44"/>
                </a:lnTo>
                <a:lnTo>
                  <a:pt x="412" y="49"/>
                </a:lnTo>
                <a:lnTo>
                  <a:pt x="417" y="49"/>
                </a:lnTo>
                <a:lnTo>
                  <a:pt x="423" y="39"/>
                </a:lnTo>
                <a:lnTo>
                  <a:pt x="432" y="39"/>
                </a:lnTo>
                <a:lnTo>
                  <a:pt x="438" y="39"/>
                </a:lnTo>
                <a:lnTo>
                  <a:pt x="443" y="44"/>
                </a:lnTo>
                <a:lnTo>
                  <a:pt x="447" y="68"/>
                </a:lnTo>
                <a:lnTo>
                  <a:pt x="447" y="92"/>
                </a:lnTo>
                <a:lnTo>
                  <a:pt x="452" y="92"/>
                </a:lnTo>
                <a:lnTo>
                  <a:pt x="467" y="87"/>
                </a:lnTo>
                <a:lnTo>
                  <a:pt x="477" y="92"/>
                </a:lnTo>
                <a:lnTo>
                  <a:pt x="482" y="98"/>
                </a:lnTo>
                <a:lnTo>
                  <a:pt x="482" y="106"/>
                </a:lnTo>
                <a:lnTo>
                  <a:pt x="482" y="126"/>
                </a:lnTo>
                <a:lnTo>
                  <a:pt x="482" y="140"/>
                </a:lnTo>
                <a:lnTo>
                  <a:pt x="492" y="151"/>
                </a:lnTo>
                <a:lnTo>
                  <a:pt x="512" y="174"/>
                </a:lnTo>
                <a:lnTo>
                  <a:pt x="537" y="194"/>
                </a:lnTo>
                <a:lnTo>
                  <a:pt x="556" y="213"/>
                </a:lnTo>
                <a:lnTo>
                  <a:pt x="582" y="276"/>
                </a:lnTo>
                <a:lnTo>
                  <a:pt x="597" y="339"/>
                </a:lnTo>
                <a:lnTo>
                  <a:pt x="601" y="349"/>
                </a:lnTo>
                <a:lnTo>
                  <a:pt x="606" y="359"/>
                </a:lnTo>
                <a:lnTo>
                  <a:pt x="612" y="363"/>
                </a:lnTo>
                <a:lnTo>
                  <a:pt x="617" y="373"/>
                </a:lnTo>
                <a:lnTo>
                  <a:pt x="617" y="382"/>
                </a:lnTo>
                <a:lnTo>
                  <a:pt x="612" y="388"/>
                </a:lnTo>
                <a:lnTo>
                  <a:pt x="606" y="388"/>
                </a:lnTo>
                <a:lnTo>
                  <a:pt x="601" y="388"/>
                </a:lnTo>
                <a:lnTo>
                  <a:pt x="606" y="407"/>
                </a:lnTo>
                <a:lnTo>
                  <a:pt x="621" y="431"/>
                </a:lnTo>
                <a:lnTo>
                  <a:pt x="661" y="475"/>
                </a:lnTo>
                <a:lnTo>
                  <a:pt x="671" y="479"/>
                </a:lnTo>
                <a:close/>
              </a:path>
            </a:pathLst>
          </a:custGeom>
          <a:solidFill>
            <a:srgbClr val="005027"/>
          </a:solidFill>
          <a:ln w="9525">
            <a:solidFill>
              <a:schemeClr val="bg1"/>
            </a:solidFill>
            <a:round/>
            <a:headEnd/>
            <a:tailEnd/>
          </a:ln>
        </p:spPr>
        <p:txBody>
          <a:bodyPr/>
          <a:lstStyle/>
          <a:p>
            <a:endParaRPr lang="ro-RO"/>
          </a:p>
        </p:txBody>
      </p:sp>
      <p:sp>
        <p:nvSpPr>
          <p:cNvPr id="12321" name="Freeform 31"/>
          <p:cNvSpPr>
            <a:spLocks/>
          </p:cNvSpPr>
          <p:nvPr/>
        </p:nvSpPr>
        <p:spPr bwMode="auto">
          <a:xfrm>
            <a:off x="4454525" y="1706563"/>
            <a:ext cx="1058863" cy="757237"/>
          </a:xfrm>
          <a:custGeom>
            <a:avLst/>
            <a:gdLst>
              <a:gd name="T0" fmla="*/ 2147483647 w 823"/>
              <a:gd name="T1" fmla="*/ 2147483647 h 549"/>
              <a:gd name="T2" fmla="*/ 2147483647 w 823"/>
              <a:gd name="T3" fmla="*/ 2147483647 h 549"/>
              <a:gd name="T4" fmla="*/ 2147483647 w 823"/>
              <a:gd name="T5" fmla="*/ 2147483647 h 549"/>
              <a:gd name="T6" fmla="*/ 2147483647 w 823"/>
              <a:gd name="T7" fmla="*/ 2147483647 h 549"/>
              <a:gd name="T8" fmla="*/ 2147483647 w 823"/>
              <a:gd name="T9" fmla="*/ 2147483647 h 549"/>
              <a:gd name="T10" fmla="*/ 2147483647 w 823"/>
              <a:gd name="T11" fmla="*/ 2147483647 h 549"/>
              <a:gd name="T12" fmla="*/ 2147483647 w 823"/>
              <a:gd name="T13" fmla="*/ 2147483647 h 549"/>
              <a:gd name="T14" fmla="*/ 2147483647 w 823"/>
              <a:gd name="T15" fmla="*/ 2147483647 h 549"/>
              <a:gd name="T16" fmla="*/ 2147483647 w 823"/>
              <a:gd name="T17" fmla="*/ 2147483647 h 549"/>
              <a:gd name="T18" fmla="*/ 2147483647 w 823"/>
              <a:gd name="T19" fmla="*/ 2147483647 h 549"/>
              <a:gd name="T20" fmla="*/ 2147483647 w 823"/>
              <a:gd name="T21" fmla="*/ 2147483647 h 549"/>
              <a:gd name="T22" fmla="*/ 2147483647 w 823"/>
              <a:gd name="T23" fmla="*/ 2147483647 h 549"/>
              <a:gd name="T24" fmla="*/ 2147483647 w 823"/>
              <a:gd name="T25" fmla="*/ 2147483647 h 549"/>
              <a:gd name="T26" fmla="*/ 2147483647 w 823"/>
              <a:gd name="T27" fmla="*/ 2147483647 h 549"/>
              <a:gd name="T28" fmla="*/ 2147483647 w 823"/>
              <a:gd name="T29" fmla="*/ 2147483647 h 549"/>
              <a:gd name="T30" fmla="*/ 2147483647 w 823"/>
              <a:gd name="T31" fmla="*/ 2147483647 h 549"/>
              <a:gd name="T32" fmla="*/ 2147483647 w 823"/>
              <a:gd name="T33" fmla="*/ 2147483647 h 549"/>
              <a:gd name="T34" fmla="*/ 2147483647 w 823"/>
              <a:gd name="T35" fmla="*/ 2147483647 h 549"/>
              <a:gd name="T36" fmla="*/ 2147483647 w 823"/>
              <a:gd name="T37" fmla="*/ 2147483647 h 549"/>
              <a:gd name="T38" fmla="*/ 2147483647 w 823"/>
              <a:gd name="T39" fmla="*/ 2147483647 h 549"/>
              <a:gd name="T40" fmla="*/ 2147483647 w 823"/>
              <a:gd name="T41" fmla="*/ 2147483647 h 549"/>
              <a:gd name="T42" fmla="*/ 2147483647 w 823"/>
              <a:gd name="T43" fmla="*/ 2147483647 h 549"/>
              <a:gd name="T44" fmla="*/ 2147483647 w 823"/>
              <a:gd name="T45" fmla="*/ 2147483647 h 549"/>
              <a:gd name="T46" fmla="*/ 2147483647 w 823"/>
              <a:gd name="T47" fmla="*/ 2147483647 h 549"/>
              <a:gd name="T48" fmla="*/ 2147483647 w 823"/>
              <a:gd name="T49" fmla="*/ 2147483647 h 549"/>
              <a:gd name="T50" fmla="*/ 2147483647 w 823"/>
              <a:gd name="T51" fmla="*/ 2147483647 h 549"/>
              <a:gd name="T52" fmla="*/ 2147483647 w 823"/>
              <a:gd name="T53" fmla="*/ 2147483647 h 549"/>
              <a:gd name="T54" fmla="*/ 2147483647 w 823"/>
              <a:gd name="T55" fmla="*/ 2147483647 h 549"/>
              <a:gd name="T56" fmla="*/ 2147483647 w 823"/>
              <a:gd name="T57" fmla="*/ 2147483647 h 549"/>
              <a:gd name="T58" fmla="*/ 2147483647 w 823"/>
              <a:gd name="T59" fmla="*/ 2147483647 h 549"/>
              <a:gd name="T60" fmla="*/ 2147483647 w 823"/>
              <a:gd name="T61" fmla="*/ 2147483647 h 549"/>
              <a:gd name="T62" fmla="*/ 2147483647 w 823"/>
              <a:gd name="T63" fmla="*/ 2147483647 h 549"/>
              <a:gd name="T64" fmla="*/ 2147483647 w 823"/>
              <a:gd name="T65" fmla="*/ 2147483647 h 549"/>
              <a:gd name="T66" fmla="*/ 2147483647 w 823"/>
              <a:gd name="T67" fmla="*/ 2147483647 h 549"/>
              <a:gd name="T68" fmla="*/ 2147483647 w 823"/>
              <a:gd name="T69" fmla="*/ 2147483647 h 549"/>
              <a:gd name="T70" fmla="*/ 2147483647 w 823"/>
              <a:gd name="T71" fmla="*/ 2147483647 h 549"/>
              <a:gd name="T72" fmla="*/ 2147483647 w 823"/>
              <a:gd name="T73" fmla="*/ 2147483647 h 549"/>
              <a:gd name="T74" fmla="*/ 2147483647 w 823"/>
              <a:gd name="T75" fmla="*/ 2147483647 h 549"/>
              <a:gd name="T76" fmla="*/ 2147483647 w 823"/>
              <a:gd name="T77" fmla="*/ 2147483647 h 549"/>
              <a:gd name="T78" fmla="*/ 2147483647 w 823"/>
              <a:gd name="T79" fmla="*/ 2147483647 h 549"/>
              <a:gd name="T80" fmla="*/ 2147483647 w 823"/>
              <a:gd name="T81" fmla="*/ 2147483647 h 549"/>
              <a:gd name="T82" fmla="*/ 2147483647 w 823"/>
              <a:gd name="T83" fmla="*/ 2147483647 h 549"/>
              <a:gd name="T84" fmla="*/ 2147483647 w 823"/>
              <a:gd name="T85" fmla="*/ 2147483647 h 549"/>
              <a:gd name="T86" fmla="*/ 2147483647 w 823"/>
              <a:gd name="T87" fmla="*/ 2147483647 h 549"/>
              <a:gd name="T88" fmla="*/ 2147483647 w 823"/>
              <a:gd name="T89" fmla="*/ 2147483647 h 549"/>
              <a:gd name="T90" fmla="*/ 2147483647 w 823"/>
              <a:gd name="T91" fmla="*/ 2147483647 h 549"/>
              <a:gd name="T92" fmla="*/ 2147483647 w 823"/>
              <a:gd name="T93" fmla="*/ 2147483647 h 549"/>
              <a:gd name="T94" fmla="*/ 2147483647 w 823"/>
              <a:gd name="T95" fmla="*/ 0 h 54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23"/>
              <a:gd name="T145" fmla="*/ 0 h 549"/>
              <a:gd name="T146" fmla="*/ 823 w 823"/>
              <a:gd name="T147" fmla="*/ 549 h 54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23" h="549">
                <a:moveTo>
                  <a:pt x="439" y="0"/>
                </a:moveTo>
                <a:lnTo>
                  <a:pt x="449" y="9"/>
                </a:lnTo>
                <a:lnTo>
                  <a:pt x="459" y="15"/>
                </a:lnTo>
                <a:lnTo>
                  <a:pt x="469" y="24"/>
                </a:lnTo>
                <a:lnTo>
                  <a:pt x="474" y="34"/>
                </a:lnTo>
                <a:lnTo>
                  <a:pt x="480" y="53"/>
                </a:lnTo>
                <a:lnTo>
                  <a:pt x="484" y="68"/>
                </a:lnTo>
                <a:lnTo>
                  <a:pt x="489" y="72"/>
                </a:lnTo>
                <a:lnTo>
                  <a:pt x="499" y="83"/>
                </a:lnTo>
                <a:lnTo>
                  <a:pt x="504" y="77"/>
                </a:lnTo>
                <a:lnTo>
                  <a:pt x="509" y="83"/>
                </a:lnTo>
                <a:lnTo>
                  <a:pt x="519" y="92"/>
                </a:lnTo>
                <a:lnTo>
                  <a:pt x="534" y="111"/>
                </a:lnTo>
                <a:lnTo>
                  <a:pt x="534" y="121"/>
                </a:lnTo>
                <a:lnTo>
                  <a:pt x="534" y="130"/>
                </a:lnTo>
                <a:lnTo>
                  <a:pt x="539" y="136"/>
                </a:lnTo>
                <a:lnTo>
                  <a:pt x="539" y="140"/>
                </a:lnTo>
                <a:lnTo>
                  <a:pt x="539" y="151"/>
                </a:lnTo>
                <a:lnTo>
                  <a:pt x="550" y="174"/>
                </a:lnTo>
                <a:lnTo>
                  <a:pt x="569" y="194"/>
                </a:lnTo>
                <a:lnTo>
                  <a:pt x="594" y="208"/>
                </a:lnTo>
                <a:lnTo>
                  <a:pt x="614" y="208"/>
                </a:lnTo>
                <a:lnTo>
                  <a:pt x="624" y="213"/>
                </a:lnTo>
                <a:lnTo>
                  <a:pt x="629" y="219"/>
                </a:lnTo>
                <a:lnTo>
                  <a:pt x="633" y="238"/>
                </a:lnTo>
                <a:lnTo>
                  <a:pt x="644" y="257"/>
                </a:lnTo>
                <a:lnTo>
                  <a:pt x="653" y="272"/>
                </a:lnTo>
                <a:lnTo>
                  <a:pt x="649" y="291"/>
                </a:lnTo>
                <a:lnTo>
                  <a:pt x="649" y="301"/>
                </a:lnTo>
                <a:lnTo>
                  <a:pt x="653" y="306"/>
                </a:lnTo>
                <a:lnTo>
                  <a:pt x="659" y="315"/>
                </a:lnTo>
                <a:lnTo>
                  <a:pt x="688" y="349"/>
                </a:lnTo>
                <a:lnTo>
                  <a:pt x="719" y="379"/>
                </a:lnTo>
                <a:lnTo>
                  <a:pt x="749" y="398"/>
                </a:lnTo>
                <a:lnTo>
                  <a:pt x="788" y="402"/>
                </a:lnTo>
                <a:lnTo>
                  <a:pt x="799" y="427"/>
                </a:lnTo>
                <a:lnTo>
                  <a:pt x="803" y="442"/>
                </a:lnTo>
                <a:lnTo>
                  <a:pt x="814" y="456"/>
                </a:lnTo>
                <a:lnTo>
                  <a:pt x="819" y="470"/>
                </a:lnTo>
                <a:lnTo>
                  <a:pt x="823" y="485"/>
                </a:lnTo>
                <a:lnTo>
                  <a:pt x="823" y="500"/>
                </a:lnTo>
                <a:lnTo>
                  <a:pt x="823" y="509"/>
                </a:lnTo>
                <a:lnTo>
                  <a:pt x="823" y="524"/>
                </a:lnTo>
                <a:lnTo>
                  <a:pt x="819" y="530"/>
                </a:lnTo>
                <a:lnTo>
                  <a:pt x="803" y="534"/>
                </a:lnTo>
                <a:lnTo>
                  <a:pt x="788" y="538"/>
                </a:lnTo>
                <a:lnTo>
                  <a:pt x="779" y="534"/>
                </a:lnTo>
                <a:lnTo>
                  <a:pt x="764" y="515"/>
                </a:lnTo>
                <a:lnTo>
                  <a:pt x="753" y="509"/>
                </a:lnTo>
                <a:lnTo>
                  <a:pt x="744" y="509"/>
                </a:lnTo>
                <a:lnTo>
                  <a:pt x="738" y="519"/>
                </a:lnTo>
                <a:lnTo>
                  <a:pt x="729" y="538"/>
                </a:lnTo>
                <a:lnTo>
                  <a:pt x="723" y="543"/>
                </a:lnTo>
                <a:lnTo>
                  <a:pt x="719" y="549"/>
                </a:lnTo>
                <a:lnTo>
                  <a:pt x="703" y="543"/>
                </a:lnTo>
                <a:lnTo>
                  <a:pt x="694" y="530"/>
                </a:lnTo>
                <a:lnTo>
                  <a:pt x="679" y="500"/>
                </a:lnTo>
                <a:lnTo>
                  <a:pt x="674" y="476"/>
                </a:lnTo>
                <a:lnTo>
                  <a:pt x="668" y="466"/>
                </a:lnTo>
                <a:lnTo>
                  <a:pt x="664" y="466"/>
                </a:lnTo>
                <a:lnTo>
                  <a:pt x="653" y="470"/>
                </a:lnTo>
                <a:lnTo>
                  <a:pt x="644" y="490"/>
                </a:lnTo>
                <a:lnTo>
                  <a:pt x="639" y="496"/>
                </a:lnTo>
                <a:lnTo>
                  <a:pt x="639" y="500"/>
                </a:lnTo>
                <a:lnTo>
                  <a:pt x="633" y="490"/>
                </a:lnTo>
                <a:lnTo>
                  <a:pt x="624" y="476"/>
                </a:lnTo>
                <a:lnTo>
                  <a:pt x="604" y="451"/>
                </a:lnTo>
                <a:lnTo>
                  <a:pt x="594" y="436"/>
                </a:lnTo>
                <a:lnTo>
                  <a:pt x="584" y="432"/>
                </a:lnTo>
                <a:lnTo>
                  <a:pt x="574" y="432"/>
                </a:lnTo>
                <a:lnTo>
                  <a:pt x="569" y="436"/>
                </a:lnTo>
                <a:lnTo>
                  <a:pt x="563" y="447"/>
                </a:lnTo>
                <a:lnTo>
                  <a:pt x="563" y="462"/>
                </a:lnTo>
                <a:lnTo>
                  <a:pt x="569" y="476"/>
                </a:lnTo>
                <a:lnTo>
                  <a:pt x="569" y="485"/>
                </a:lnTo>
                <a:lnTo>
                  <a:pt x="559" y="485"/>
                </a:lnTo>
                <a:lnTo>
                  <a:pt x="534" y="485"/>
                </a:lnTo>
                <a:lnTo>
                  <a:pt x="529" y="485"/>
                </a:lnTo>
                <a:lnTo>
                  <a:pt x="519" y="496"/>
                </a:lnTo>
                <a:lnTo>
                  <a:pt x="509" y="504"/>
                </a:lnTo>
                <a:lnTo>
                  <a:pt x="494" y="504"/>
                </a:lnTo>
                <a:lnTo>
                  <a:pt x="474" y="500"/>
                </a:lnTo>
                <a:lnTo>
                  <a:pt x="459" y="485"/>
                </a:lnTo>
                <a:lnTo>
                  <a:pt x="445" y="481"/>
                </a:lnTo>
                <a:lnTo>
                  <a:pt x="439" y="481"/>
                </a:lnTo>
                <a:lnTo>
                  <a:pt x="429" y="485"/>
                </a:lnTo>
                <a:lnTo>
                  <a:pt x="419" y="496"/>
                </a:lnTo>
                <a:lnTo>
                  <a:pt x="410" y="509"/>
                </a:lnTo>
                <a:lnTo>
                  <a:pt x="395" y="515"/>
                </a:lnTo>
                <a:lnTo>
                  <a:pt x="380" y="515"/>
                </a:lnTo>
                <a:lnTo>
                  <a:pt x="360" y="515"/>
                </a:lnTo>
                <a:lnTo>
                  <a:pt x="340" y="504"/>
                </a:lnTo>
                <a:lnTo>
                  <a:pt x="329" y="490"/>
                </a:lnTo>
                <a:lnTo>
                  <a:pt x="325" y="470"/>
                </a:lnTo>
                <a:lnTo>
                  <a:pt x="334" y="456"/>
                </a:lnTo>
                <a:lnTo>
                  <a:pt x="355" y="451"/>
                </a:lnTo>
                <a:lnTo>
                  <a:pt x="369" y="447"/>
                </a:lnTo>
                <a:lnTo>
                  <a:pt x="380" y="436"/>
                </a:lnTo>
                <a:lnTo>
                  <a:pt x="375" y="422"/>
                </a:lnTo>
                <a:lnTo>
                  <a:pt x="364" y="413"/>
                </a:lnTo>
                <a:lnTo>
                  <a:pt x="349" y="402"/>
                </a:lnTo>
                <a:lnTo>
                  <a:pt x="340" y="388"/>
                </a:lnTo>
                <a:lnTo>
                  <a:pt x="325" y="359"/>
                </a:lnTo>
                <a:lnTo>
                  <a:pt x="314" y="354"/>
                </a:lnTo>
                <a:lnTo>
                  <a:pt x="299" y="349"/>
                </a:lnTo>
                <a:lnTo>
                  <a:pt x="290" y="359"/>
                </a:lnTo>
                <a:lnTo>
                  <a:pt x="285" y="369"/>
                </a:lnTo>
                <a:lnTo>
                  <a:pt x="279" y="383"/>
                </a:lnTo>
                <a:lnTo>
                  <a:pt x="270" y="398"/>
                </a:lnTo>
                <a:lnTo>
                  <a:pt x="264" y="402"/>
                </a:lnTo>
                <a:lnTo>
                  <a:pt x="260" y="398"/>
                </a:lnTo>
                <a:lnTo>
                  <a:pt x="255" y="388"/>
                </a:lnTo>
                <a:lnTo>
                  <a:pt x="250" y="374"/>
                </a:lnTo>
                <a:lnTo>
                  <a:pt x="240" y="374"/>
                </a:lnTo>
                <a:lnTo>
                  <a:pt x="229" y="383"/>
                </a:lnTo>
                <a:lnTo>
                  <a:pt x="215" y="398"/>
                </a:lnTo>
                <a:lnTo>
                  <a:pt x="200" y="408"/>
                </a:lnTo>
                <a:lnTo>
                  <a:pt x="190" y="408"/>
                </a:lnTo>
                <a:lnTo>
                  <a:pt x="174" y="393"/>
                </a:lnTo>
                <a:lnTo>
                  <a:pt x="165" y="383"/>
                </a:lnTo>
                <a:lnTo>
                  <a:pt x="155" y="369"/>
                </a:lnTo>
                <a:lnTo>
                  <a:pt x="150" y="359"/>
                </a:lnTo>
                <a:lnTo>
                  <a:pt x="130" y="354"/>
                </a:lnTo>
                <a:lnTo>
                  <a:pt x="115" y="359"/>
                </a:lnTo>
                <a:lnTo>
                  <a:pt x="111" y="359"/>
                </a:lnTo>
                <a:lnTo>
                  <a:pt x="85" y="359"/>
                </a:lnTo>
                <a:lnTo>
                  <a:pt x="70" y="354"/>
                </a:lnTo>
                <a:lnTo>
                  <a:pt x="60" y="345"/>
                </a:lnTo>
                <a:lnTo>
                  <a:pt x="56" y="335"/>
                </a:lnTo>
                <a:lnTo>
                  <a:pt x="56" y="315"/>
                </a:lnTo>
                <a:lnTo>
                  <a:pt x="56" y="296"/>
                </a:lnTo>
                <a:lnTo>
                  <a:pt x="56" y="286"/>
                </a:lnTo>
                <a:lnTo>
                  <a:pt x="50" y="272"/>
                </a:lnTo>
                <a:lnTo>
                  <a:pt x="30" y="247"/>
                </a:lnTo>
                <a:lnTo>
                  <a:pt x="15" y="232"/>
                </a:lnTo>
                <a:lnTo>
                  <a:pt x="10" y="223"/>
                </a:lnTo>
                <a:lnTo>
                  <a:pt x="6" y="223"/>
                </a:lnTo>
                <a:lnTo>
                  <a:pt x="6" y="219"/>
                </a:lnTo>
                <a:lnTo>
                  <a:pt x="10" y="208"/>
                </a:lnTo>
                <a:lnTo>
                  <a:pt x="15" y="198"/>
                </a:lnTo>
                <a:lnTo>
                  <a:pt x="10" y="179"/>
                </a:lnTo>
                <a:lnTo>
                  <a:pt x="0" y="160"/>
                </a:lnTo>
                <a:lnTo>
                  <a:pt x="0" y="145"/>
                </a:lnTo>
                <a:lnTo>
                  <a:pt x="10" y="145"/>
                </a:lnTo>
                <a:lnTo>
                  <a:pt x="25" y="155"/>
                </a:lnTo>
                <a:lnTo>
                  <a:pt x="50" y="164"/>
                </a:lnTo>
                <a:lnTo>
                  <a:pt x="70" y="174"/>
                </a:lnTo>
                <a:lnTo>
                  <a:pt x="80" y="174"/>
                </a:lnTo>
                <a:lnTo>
                  <a:pt x="85" y="170"/>
                </a:lnTo>
                <a:lnTo>
                  <a:pt x="80" y="164"/>
                </a:lnTo>
                <a:lnTo>
                  <a:pt x="70" y="140"/>
                </a:lnTo>
                <a:lnTo>
                  <a:pt x="65" y="136"/>
                </a:lnTo>
                <a:lnTo>
                  <a:pt x="65" y="130"/>
                </a:lnTo>
                <a:lnTo>
                  <a:pt x="70" y="130"/>
                </a:lnTo>
                <a:lnTo>
                  <a:pt x="76" y="136"/>
                </a:lnTo>
                <a:lnTo>
                  <a:pt x="91" y="140"/>
                </a:lnTo>
                <a:lnTo>
                  <a:pt x="105" y="140"/>
                </a:lnTo>
                <a:lnTo>
                  <a:pt x="105" y="130"/>
                </a:lnTo>
                <a:lnTo>
                  <a:pt x="100" y="121"/>
                </a:lnTo>
                <a:lnTo>
                  <a:pt x="91" y="92"/>
                </a:lnTo>
                <a:lnTo>
                  <a:pt x="100" y="72"/>
                </a:lnTo>
                <a:lnTo>
                  <a:pt x="111" y="68"/>
                </a:lnTo>
                <a:lnTo>
                  <a:pt x="125" y="68"/>
                </a:lnTo>
                <a:lnTo>
                  <a:pt x="145" y="68"/>
                </a:lnTo>
                <a:lnTo>
                  <a:pt x="170" y="77"/>
                </a:lnTo>
                <a:lnTo>
                  <a:pt x="194" y="83"/>
                </a:lnTo>
                <a:lnTo>
                  <a:pt x="209" y="87"/>
                </a:lnTo>
                <a:lnTo>
                  <a:pt x="229" y="87"/>
                </a:lnTo>
                <a:lnTo>
                  <a:pt x="244" y="87"/>
                </a:lnTo>
                <a:lnTo>
                  <a:pt x="250" y="87"/>
                </a:lnTo>
                <a:lnTo>
                  <a:pt x="260" y="96"/>
                </a:lnTo>
                <a:lnTo>
                  <a:pt x="270" y="102"/>
                </a:lnTo>
                <a:lnTo>
                  <a:pt x="279" y="102"/>
                </a:lnTo>
                <a:lnTo>
                  <a:pt x="290" y="96"/>
                </a:lnTo>
                <a:lnTo>
                  <a:pt x="299" y="92"/>
                </a:lnTo>
                <a:lnTo>
                  <a:pt x="305" y="68"/>
                </a:lnTo>
                <a:lnTo>
                  <a:pt x="305" y="58"/>
                </a:lnTo>
                <a:lnTo>
                  <a:pt x="305" y="53"/>
                </a:lnTo>
                <a:lnTo>
                  <a:pt x="299" y="43"/>
                </a:lnTo>
                <a:lnTo>
                  <a:pt x="305" y="38"/>
                </a:lnTo>
                <a:lnTo>
                  <a:pt x="314" y="34"/>
                </a:lnTo>
                <a:lnTo>
                  <a:pt x="325" y="34"/>
                </a:lnTo>
                <a:lnTo>
                  <a:pt x="345" y="38"/>
                </a:lnTo>
                <a:lnTo>
                  <a:pt x="369" y="49"/>
                </a:lnTo>
                <a:lnTo>
                  <a:pt x="369" y="43"/>
                </a:lnTo>
                <a:lnTo>
                  <a:pt x="375" y="34"/>
                </a:lnTo>
                <a:lnTo>
                  <a:pt x="384" y="19"/>
                </a:lnTo>
                <a:lnTo>
                  <a:pt x="404" y="15"/>
                </a:lnTo>
                <a:lnTo>
                  <a:pt x="424" y="15"/>
                </a:lnTo>
                <a:lnTo>
                  <a:pt x="439" y="9"/>
                </a:lnTo>
                <a:lnTo>
                  <a:pt x="449" y="4"/>
                </a:lnTo>
                <a:lnTo>
                  <a:pt x="439" y="0"/>
                </a:lnTo>
                <a:close/>
              </a:path>
            </a:pathLst>
          </a:custGeom>
          <a:solidFill>
            <a:srgbClr val="005027"/>
          </a:solidFill>
          <a:ln w="9525">
            <a:solidFill>
              <a:schemeClr val="bg1"/>
            </a:solidFill>
            <a:round/>
            <a:headEnd/>
            <a:tailEnd/>
          </a:ln>
        </p:spPr>
        <p:txBody>
          <a:bodyPr/>
          <a:lstStyle/>
          <a:p>
            <a:endParaRPr lang="ro-RO"/>
          </a:p>
        </p:txBody>
      </p:sp>
      <p:sp>
        <p:nvSpPr>
          <p:cNvPr id="12322" name="Freeform 32"/>
          <p:cNvSpPr>
            <a:spLocks/>
          </p:cNvSpPr>
          <p:nvPr/>
        </p:nvSpPr>
        <p:spPr bwMode="auto">
          <a:xfrm>
            <a:off x="4891088" y="2301875"/>
            <a:ext cx="725487" cy="962025"/>
          </a:xfrm>
          <a:custGeom>
            <a:avLst/>
            <a:gdLst>
              <a:gd name="T0" fmla="*/ 2147483647 w 564"/>
              <a:gd name="T1" fmla="*/ 2147483647 h 696"/>
              <a:gd name="T2" fmla="*/ 2147483647 w 564"/>
              <a:gd name="T3" fmla="*/ 2147483647 h 696"/>
              <a:gd name="T4" fmla="*/ 2147483647 w 564"/>
              <a:gd name="T5" fmla="*/ 2147483647 h 696"/>
              <a:gd name="T6" fmla="*/ 2147483647 w 564"/>
              <a:gd name="T7" fmla="*/ 2147483647 h 696"/>
              <a:gd name="T8" fmla="*/ 2147483647 w 564"/>
              <a:gd name="T9" fmla="*/ 2147483647 h 696"/>
              <a:gd name="T10" fmla="*/ 2147483647 w 564"/>
              <a:gd name="T11" fmla="*/ 2147483647 h 696"/>
              <a:gd name="T12" fmla="*/ 2147483647 w 564"/>
              <a:gd name="T13" fmla="*/ 2147483647 h 696"/>
              <a:gd name="T14" fmla="*/ 2147483647 w 564"/>
              <a:gd name="T15" fmla="*/ 2147483647 h 696"/>
              <a:gd name="T16" fmla="*/ 2147483647 w 564"/>
              <a:gd name="T17" fmla="*/ 2147483647 h 696"/>
              <a:gd name="T18" fmla="*/ 2147483647 w 564"/>
              <a:gd name="T19" fmla="*/ 2147483647 h 696"/>
              <a:gd name="T20" fmla="*/ 2147483647 w 564"/>
              <a:gd name="T21" fmla="*/ 2147483647 h 696"/>
              <a:gd name="T22" fmla="*/ 2147483647 w 564"/>
              <a:gd name="T23" fmla="*/ 2147483647 h 696"/>
              <a:gd name="T24" fmla="*/ 2147483647 w 564"/>
              <a:gd name="T25" fmla="*/ 2147483647 h 696"/>
              <a:gd name="T26" fmla="*/ 2147483647 w 564"/>
              <a:gd name="T27" fmla="*/ 2147483647 h 696"/>
              <a:gd name="T28" fmla="*/ 2147483647 w 564"/>
              <a:gd name="T29" fmla="*/ 2147483647 h 696"/>
              <a:gd name="T30" fmla="*/ 2147483647 w 564"/>
              <a:gd name="T31" fmla="*/ 2147483647 h 696"/>
              <a:gd name="T32" fmla="*/ 2147483647 w 564"/>
              <a:gd name="T33" fmla="*/ 2147483647 h 696"/>
              <a:gd name="T34" fmla="*/ 2147483647 w 564"/>
              <a:gd name="T35" fmla="*/ 2147483647 h 696"/>
              <a:gd name="T36" fmla="*/ 2147483647 w 564"/>
              <a:gd name="T37" fmla="*/ 2147483647 h 696"/>
              <a:gd name="T38" fmla="*/ 2147483647 w 564"/>
              <a:gd name="T39" fmla="*/ 2147483647 h 696"/>
              <a:gd name="T40" fmla="*/ 2147483647 w 564"/>
              <a:gd name="T41" fmla="*/ 2147483647 h 696"/>
              <a:gd name="T42" fmla="*/ 2147483647 w 564"/>
              <a:gd name="T43" fmla="*/ 2147483647 h 696"/>
              <a:gd name="T44" fmla="*/ 2147483647 w 564"/>
              <a:gd name="T45" fmla="*/ 2147483647 h 696"/>
              <a:gd name="T46" fmla="*/ 2147483647 w 564"/>
              <a:gd name="T47" fmla="*/ 2147483647 h 696"/>
              <a:gd name="T48" fmla="*/ 2147483647 w 564"/>
              <a:gd name="T49" fmla="*/ 2147483647 h 696"/>
              <a:gd name="T50" fmla="*/ 2147483647 w 564"/>
              <a:gd name="T51" fmla="*/ 2147483647 h 696"/>
              <a:gd name="T52" fmla="*/ 2147483647 w 564"/>
              <a:gd name="T53" fmla="*/ 2147483647 h 696"/>
              <a:gd name="T54" fmla="*/ 2147483647 w 564"/>
              <a:gd name="T55" fmla="*/ 2147483647 h 696"/>
              <a:gd name="T56" fmla="*/ 2147483647 w 564"/>
              <a:gd name="T57" fmla="*/ 2147483647 h 696"/>
              <a:gd name="T58" fmla="*/ 2147483647 w 564"/>
              <a:gd name="T59" fmla="*/ 2147483647 h 696"/>
              <a:gd name="T60" fmla="*/ 2147483647 w 564"/>
              <a:gd name="T61" fmla="*/ 2147483647 h 696"/>
              <a:gd name="T62" fmla="*/ 2147483647 w 564"/>
              <a:gd name="T63" fmla="*/ 2147483647 h 696"/>
              <a:gd name="T64" fmla="*/ 2147483647 w 564"/>
              <a:gd name="T65" fmla="*/ 2147483647 h 696"/>
              <a:gd name="T66" fmla="*/ 2147483647 w 564"/>
              <a:gd name="T67" fmla="*/ 2147483647 h 696"/>
              <a:gd name="T68" fmla="*/ 2147483647 w 564"/>
              <a:gd name="T69" fmla="*/ 2147483647 h 696"/>
              <a:gd name="T70" fmla="*/ 2147483647 w 564"/>
              <a:gd name="T71" fmla="*/ 2147483647 h 696"/>
              <a:gd name="T72" fmla="*/ 2147483647 w 564"/>
              <a:gd name="T73" fmla="*/ 2147483647 h 696"/>
              <a:gd name="T74" fmla="*/ 2147483647 w 564"/>
              <a:gd name="T75" fmla="*/ 2147483647 h 696"/>
              <a:gd name="T76" fmla="*/ 2147483647 w 564"/>
              <a:gd name="T77" fmla="*/ 2147483647 h 696"/>
              <a:gd name="T78" fmla="*/ 2147483647 w 564"/>
              <a:gd name="T79" fmla="*/ 2147483647 h 696"/>
              <a:gd name="T80" fmla="*/ 2147483647 w 564"/>
              <a:gd name="T81" fmla="*/ 2147483647 h 696"/>
              <a:gd name="T82" fmla="*/ 2147483647 w 564"/>
              <a:gd name="T83" fmla="*/ 2147483647 h 696"/>
              <a:gd name="T84" fmla="*/ 2147483647 w 564"/>
              <a:gd name="T85" fmla="*/ 2147483647 h 696"/>
              <a:gd name="T86" fmla="*/ 2147483647 w 564"/>
              <a:gd name="T87" fmla="*/ 0 h 696"/>
              <a:gd name="T88" fmla="*/ 2147483647 w 564"/>
              <a:gd name="T89" fmla="*/ 2147483647 h 696"/>
              <a:gd name="T90" fmla="*/ 2147483647 w 564"/>
              <a:gd name="T91" fmla="*/ 2147483647 h 696"/>
              <a:gd name="T92" fmla="*/ 2147483647 w 564"/>
              <a:gd name="T93" fmla="*/ 2147483647 h 696"/>
              <a:gd name="T94" fmla="*/ 2147483647 w 564"/>
              <a:gd name="T95" fmla="*/ 2147483647 h 696"/>
              <a:gd name="T96" fmla="*/ 2147483647 w 564"/>
              <a:gd name="T97" fmla="*/ 2147483647 h 696"/>
              <a:gd name="T98" fmla="*/ 2147483647 w 564"/>
              <a:gd name="T99" fmla="*/ 2147483647 h 696"/>
              <a:gd name="T100" fmla="*/ 2147483647 w 564"/>
              <a:gd name="T101" fmla="*/ 2147483647 h 696"/>
              <a:gd name="T102" fmla="*/ 2147483647 w 564"/>
              <a:gd name="T103" fmla="*/ 2147483647 h 6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64"/>
              <a:gd name="T157" fmla="*/ 0 h 696"/>
              <a:gd name="T158" fmla="*/ 564 w 564"/>
              <a:gd name="T159" fmla="*/ 696 h 6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64" h="696">
                <a:moveTo>
                  <a:pt x="480" y="91"/>
                </a:moveTo>
                <a:lnTo>
                  <a:pt x="485" y="110"/>
                </a:lnTo>
                <a:lnTo>
                  <a:pt x="495" y="124"/>
                </a:lnTo>
                <a:lnTo>
                  <a:pt x="506" y="143"/>
                </a:lnTo>
                <a:lnTo>
                  <a:pt x="510" y="164"/>
                </a:lnTo>
                <a:lnTo>
                  <a:pt x="520" y="192"/>
                </a:lnTo>
                <a:lnTo>
                  <a:pt x="539" y="211"/>
                </a:lnTo>
                <a:lnTo>
                  <a:pt x="549" y="225"/>
                </a:lnTo>
                <a:lnTo>
                  <a:pt x="554" y="235"/>
                </a:lnTo>
                <a:lnTo>
                  <a:pt x="549" y="250"/>
                </a:lnTo>
                <a:lnTo>
                  <a:pt x="560" y="254"/>
                </a:lnTo>
                <a:lnTo>
                  <a:pt x="560" y="265"/>
                </a:lnTo>
                <a:lnTo>
                  <a:pt x="554" y="278"/>
                </a:lnTo>
                <a:lnTo>
                  <a:pt x="549" y="293"/>
                </a:lnTo>
                <a:lnTo>
                  <a:pt x="545" y="307"/>
                </a:lnTo>
                <a:lnTo>
                  <a:pt x="539" y="317"/>
                </a:lnTo>
                <a:lnTo>
                  <a:pt x="545" y="336"/>
                </a:lnTo>
                <a:lnTo>
                  <a:pt x="554" y="351"/>
                </a:lnTo>
                <a:lnTo>
                  <a:pt x="560" y="364"/>
                </a:lnTo>
                <a:lnTo>
                  <a:pt x="564" y="384"/>
                </a:lnTo>
                <a:lnTo>
                  <a:pt x="564" y="398"/>
                </a:lnTo>
                <a:lnTo>
                  <a:pt x="560" y="412"/>
                </a:lnTo>
                <a:lnTo>
                  <a:pt x="549" y="422"/>
                </a:lnTo>
                <a:lnTo>
                  <a:pt x="539" y="431"/>
                </a:lnTo>
                <a:lnTo>
                  <a:pt x="534" y="437"/>
                </a:lnTo>
                <a:lnTo>
                  <a:pt x="534" y="452"/>
                </a:lnTo>
                <a:lnTo>
                  <a:pt x="534" y="475"/>
                </a:lnTo>
                <a:lnTo>
                  <a:pt x="525" y="494"/>
                </a:lnTo>
                <a:lnTo>
                  <a:pt x="515" y="509"/>
                </a:lnTo>
                <a:lnTo>
                  <a:pt x="506" y="528"/>
                </a:lnTo>
                <a:lnTo>
                  <a:pt x="500" y="543"/>
                </a:lnTo>
                <a:lnTo>
                  <a:pt x="506" y="557"/>
                </a:lnTo>
                <a:lnTo>
                  <a:pt x="510" y="572"/>
                </a:lnTo>
                <a:lnTo>
                  <a:pt x="510" y="586"/>
                </a:lnTo>
                <a:lnTo>
                  <a:pt x="510" y="610"/>
                </a:lnTo>
                <a:lnTo>
                  <a:pt x="506" y="629"/>
                </a:lnTo>
                <a:lnTo>
                  <a:pt x="500" y="629"/>
                </a:lnTo>
                <a:lnTo>
                  <a:pt x="491" y="629"/>
                </a:lnTo>
                <a:lnTo>
                  <a:pt x="475" y="629"/>
                </a:lnTo>
                <a:lnTo>
                  <a:pt x="460" y="629"/>
                </a:lnTo>
                <a:lnTo>
                  <a:pt x="446" y="629"/>
                </a:lnTo>
                <a:lnTo>
                  <a:pt x="441" y="625"/>
                </a:lnTo>
                <a:lnTo>
                  <a:pt x="430" y="620"/>
                </a:lnTo>
                <a:lnTo>
                  <a:pt x="426" y="614"/>
                </a:lnTo>
                <a:lnTo>
                  <a:pt x="415" y="595"/>
                </a:lnTo>
                <a:lnTo>
                  <a:pt x="406" y="586"/>
                </a:lnTo>
                <a:lnTo>
                  <a:pt x="396" y="586"/>
                </a:lnTo>
                <a:lnTo>
                  <a:pt x="381" y="586"/>
                </a:lnTo>
                <a:lnTo>
                  <a:pt x="367" y="600"/>
                </a:lnTo>
                <a:lnTo>
                  <a:pt x="361" y="614"/>
                </a:lnTo>
                <a:lnTo>
                  <a:pt x="356" y="625"/>
                </a:lnTo>
                <a:lnTo>
                  <a:pt x="346" y="629"/>
                </a:lnTo>
                <a:lnTo>
                  <a:pt x="326" y="629"/>
                </a:lnTo>
                <a:lnTo>
                  <a:pt x="302" y="625"/>
                </a:lnTo>
                <a:lnTo>
                  <a:pt x="287" y="620"/>
                </a:lnTo>
                <a:lnTo>
                  <a:pt x="263" y="614"/>
                </a:lnTo>
                <a:lnTo>
                  <a:pt x="248" y="614"/>
                </a:lnTo>
                <a:lnTo>
                  <a:pt x="243" y="620"/>
                </a:lnTo>
                <a:lnTo>
                  <a:pt x="237" y="629"/>
                </a:lnTo>
                <a:lnTo>
                  <a:pt x="237" y="639"/>
                </a:lnTo>
                <a:lnTo>
                  <a:pt x="243" y="644"/>
                </a:lnTo>
                <a:lnTo>
                  <a:pt x="243" y="667"/>
                </a:lnTo>
                <a:lnTo>
                  <a:pt x="243" y="682"/>
                </a:lnTo>
                <a:lnTo>
                  <a:pt x="228" y="692"/>
                </a:lnTo>
                <a:lnTo>
                  <a:pt x="218" y="696"/>
                </a:lnTo>
                <a:lnTo>
                  <a:pt x="213" y="692"/>
                </a:lnTo>
                <a:lnTo>
                  <a:pt x="209" y="677"/>
                </a:lnTo>
                <a:lnTo>
                  <a:pt x="198" y="644"/>
                </a:lnTo>
                <a:lnTo>
                  <a:pt x="193" y="625"/>
                </a:lnTo>
                <a:lnTo>
                  <a:pt x="188" y="614"/>
                </a:lnTo>
                <a:lnTo>
                  <a:pt x="183" y="614"/>
                </a:lnTo>
                <a:lnTo>
                  <a:pt x="174" y="620"/>
                </a:lnTo>
                <a:lnTo>
                  <a:pt x="178" y="576"/>
                </a:lnTo>
                <a:lnTo>
                  <a:pt x="183" y="572"/>
                </a:lnTo>
                <a:lnTo>
                  <a:pt x="188" y="562"/>
                </a:lnTo>
                <a:lnTo>
                  <a:pt x="188" y="547"/>
                </a:lnTo>
                <a:lnTo>
                  <a:pt x="188" y="528"/>
                </a:lnTo>
                <a:lnTo>
                  <a:pt x="183" y="504"/>
                </a:lnTo>
                <a:lnTo>
                  <a:pt x="174" y="475"/>
                </a:lnTo>
                <a:lnTo>
                  <a:pt x="163" y="442"/>
                </a:lnTo>
                <a:lnTo>
                  <a:pt x="153" y="418"/>
                </a:lnTo>
                <a:lnTo>
                  <a:pt x="148" y="393"/>
                </a:lnTo>
                <a:lnTo>
                  <a:pt x="139" y="379"/>
                </a:lnTo>
                <a:lnTo>
                  <a:pt x="133" y="360"/>
                </a:lnTo>
                <a:lnTo>
                  <a:pt x="129" y="355"/>
                </a:lnTo>
                <a:lnTo>
                  <a:pt x="124" y="345"/>
                </a:lnTo>
                <a:lnTo>
                  <a:pt x="118" y="326"/>
                </a:lnTo>
                <a:lnTo>
                  <a:pt x="104" y="303"/>
                </a:lnTo>
                <a:lnTo>
                  <a:pt x="94" y="284"/>
                </a:lnTo>
                <a:lnTo>
                  <a:pt x="79" y="274"/>
                </a:lnTo>
                <a:lnTo>
                  <a:pt x="74" y="265"/>
                </a:lnTo>
                <a:lnTo>
                  <a:pt x="64" y="259"/>
                </a:lnTo>
                <a:lnTo>
                  <a:pt x="64" y="254"/>
                </a:lnTo>
                <a:lnTo>
                  <a:pt x="70" y="250"/>
                </a:lnTo>
                <a:lnTo>
                  <a:pt x="79" y="240"/>
                </a:lnTo>
                <a:lnTo>
                  <a:pt x="84" y="235"/>
                </a:lnTo>
                <a:lnTo>
                  <a:pt x="79" y="225"/>
                </a:lnTo>
                <a:lnTo>
                  <a:pt x="70" y="202"/>
                </a:lnTo>
                <a:lnTo>
                  <a:pt x="50" y="177"/>
                </a:lnTo>
                <a:lnTo>
                  <a:pt x="44" y="173"/>
                </a:lnTo>
                <a:lnTo>
                  <a:pt x="40" y="168"/>
                </a:lnTo>
                <a:lnTo>
                  <a:pt x="35" y="168"/>
                </a:lnTo>
                <a:lnTo>
                  <a:pt x="20" y="168"/>
                </a:lnTo>
                <a:lnTo>
                  <a:pt x="29" y="149"/>
                </a:lnTo>
                <a:lnTo>
                  <a:pt x="35" y="130"/>
                </a:lnTo>
                <a:lnTo>
                  <a:pt x="29" y="110"/>
                </a:lnTo>
                <a:lnTo>
                  <a:pt x="25" y="101"/>
                </a:lnTo>
                <a:lnTo>
                  <a:pt x="10" y="76"/>
                </a:lnTo>
                <a:lnTo>
                  <a:pt x="5" y="72"/>
                </a:lnTo>
                <a:lnTo>
                  <a:pt x="0" y="72"/>
                </a:lnTo>
                <a:lnTo>
                  <a:pt x="25" y="82"/>
                </a:lnTo>
                <a:lnTo>
                  <a:pt x="44" y="82"/>
                </a:lnTo>
                <a:lnTo>
                  <a:pt x="70" y="76"/>
                </a:lnTo>
                <a:lnTo>
                  <a:pt x="79" y="63"/>
                </a:lnTo>
                <a:lnTo>
                  <a:pt x="89" y="52"/>
                </a:lnTo>
                <a:lnTo>
                  <a:pt x="99" y="48"/>
                </a:lnTo>
                <a:lnTo>
                  <a:pt x="104" y="48"/>
                </a:lnTo>
                <a:lnTo>
                  <a:pt x="118" y="52"/>
                </a:lnTo>
                <a:lnTo>
                  <a:pt x="133" y="67"/>
                </a:lnTo>
                <a:lnTo>
                  <a:pt x="153" y="72"/>
                </a:lnTo>
                <a:lnTo>
                  <a:pt x="168" y="72"/>
                </a:lnTo>
                <a:lnTo>
                  <a:pt x="178" y="63"/>
                </a:lnTo>
                <a:lnTo>
                  <a:pt x="188" y="52"/>
                </a:lnTo>
                <a:lnTo>
                  <a:pt x="193" y="52"/>
                </a:lnTo>
                <a:lnTo>
                  <a:pt x="218" y="52"/>
                </a:lnTo>
                <a:lnTo>
                  <a:pt x="228" y="52"/>
                </a:lnTo>
                <a:lnTo>
                  <a:pt x="228" y="44"/>
                </a:lnTo>
                <a:lnTo>
                  <a:pt x="222" y="29"/>
                </a:lnTo>
                <a:lnTo>
                  <a:pt x="222" y="14"/>
                </a:lnTo>
                <a:lnTo>
                  <a:pt x="228" y="4"/>
                </a:lnTo>
                <a:lnTo>
                  <a:pt x="233" y="0"/>
                </a:lnTo>
                <a:lnTo>
                  <a:pt x="243" y="0"/>
                </a:lnTo>
                <a:lnTo>
                  <a:pt x="252" y="4"/>
                </a:lnTo>
                <a:lnTo>
                  <a:pt x="263" y="19"/>
                </a:lnTo>
                <a:lnTo>
                  <a:pt x="282" y="44"/>
                </a:lnTo>
                <a:lnTo>
                  <a:pt x="292" y="57"/>
                </a:lnTo>
                <a:lnTo>
                  <a:pt x="298" y="67"/>
                </a:lnTo>
                <a:lnTo>
                  <a:pt x="298" y="63"/>
                </a:lnTo>
                <a:lnTo>
                  <a:pt x="302" y="57"/>
                </a:lnTo>
                <a:lnTo>
                  <a:pt x="311" y="38"/>
                </a:lnTo>
                <a:lnTo>
                  <a:pt x="322" y="33"/>
                </a:lnTo>
                <a:lnTo>
                  <a:pt x="326" y="33"/>
                </a:lnTo>
                <a:lnTo>
                  <a:pt x="332" y="44"/>
                </a:lnTo>
                <a:lnTo>
                  <a:pt x="337" y="67"/>
                </a:lnTo>
                <a:lnTo>
                  <a:pt x="352" y="96"/>
                </a:lnTo>
                <a:lnTo>
                  <a:pt x="361" y="110"/>
                </a:lnTo>
                <a:lnTo>
                  <a:pt x="376" y="115"/>
                </a:lnTo>
                <a:lnTo>
                  <a:pt x="381" y="110"/>
                </a:lnTo>
                <a:lnTo>
                  <a:pt x="386" y="105"/>
                </a:lnTo>
                <a:lnTo>
                  <a:pt x="396" y="86"/>
                </a:lnTo>
                <a:lnTo>
                  <a:pt x="401" y="76"/>
                </a:lnTo>
                <a:lnTo>
                  <a:pt x="411" y="76"/>
                </a:lnTo>
                <a:lnTo>
                  <a:pt x="421" y="82"/>
                </a:lnTo>
                <a:lnTo>
                  <a:pt x="436" y="101"/>
                </a:lnTo>
                <a:lnTo>
                  <a:pt x="446" y="105"/>
                </a:lnTo>
                <a:lnTo>
                  <a:pt x="460" y="101"/>
                </a:lnTo>
                <a:lnTo>
                  <a:pt x="475" y="96"/>
                </a:lnTo>
                <a:lnTo>
                  <a:pt x="480" y="91"/>
                </a:lnTo>
                <a:close/>
              </a:path>
            </a:pathLst>
          </a:custGeom>
          <a:solidFill>
            <a:srgbClr val="005027"/>
          </a:solidFill>
          <a:ln w="9525">
            <a:solidFill>
              <a:schemeClr val="bg1"/>
            </a:solidFill>
            <a:round/>
            <a:headEnd/>
            <a:tailEnd/>
          </a:ln>
        </p:spPr>
        <p:txBody>
          <a:bodyPr/>
          <a:lstStyle/>
          <a:p>
            <a:endParaRPr lang="ro-RO"/>
          </a:p>
        </p:txBody>
      </p:sp>
      <p:sp>
        <p:nvSpPr>
          <p:cNvPr id="12323" name="Freeform 33"/>
          <p:cNvSpPr>
            <a:spLocks/>
          </p:cNvSpPr>
          <p:nvPr/>
        </p:nvSpPr>
        <p:spPr bwMode="auto">
          <a:xfrm>
            <a:off x="2774950" y="1692275"/>
            <a:ext cx="757238" cy="827088"/>
          </a:xfrm>
          <a:custGeom>
            <a:avLst/>
            <a:gdLst>
              <a:gd name="T0" fmla="*/ 2147483647 w 589"/>
              <a:gd name="T1" fmla="*/ 2147483647 h 599"/>
              <a:gd name="T2" fmla="*/ 2147483647 w 589"/>
              <a:gd name="T3" fmla="*/ 2147483647 h 599"/>
              <a:gd name="T4" fmla="*/ 2147483647 w 589"/>
              <a:gd name="T5" fmla="*/ 2147483647 h 599"/>
              <a:gd name="T6" fmla="*/ 2147483647 w 589"/>
              <a:gd name="T7" fmla="*/ 2147483647 h 599"/>
              <a:gd name="T8" fmla="*/ 2147483647 w 589"/>
              <a:gd name="T9" fmla="*/ 2147483647 h 599"/>
              <a:gd name="T10" fmla="*/ 2147483647 w 589"/>
              <a:gd name="T11" fmla="*/ 2147483647 h 599"/>
              <a:gd name="T12" fmla="*/ 2147483647 w 589"/>
              <a:gd name="T13" fmla="*/ 2147483647 h 599"/>
              <a:gd name="T14" fmla="*/ 2147483647 w 589"/>
              <a:gd name="T15" fmla="*/ 2147483647 h 599"/>
              <a:gd name="T16" fmla="*/ 2147483647 w 589"/>
              <a:gd name="T17" fmla="*/ 2147483647 h 599"/>
              <a:gd name="T18" fmla="*/ 2147483647 w 589"/>
              <a:gd name="T19" fmla="*/ 2147483647 h 599"/>
              <a:gd name="T20" fmla="*/ 2147483647 w 589"/>
              <a:gd name="T21" fmla="*/ 2147483647 h 599"/>
              <a:gd name="T22" fmla="*/ 2147483647 w 589"/>
              <a:gd name="T23" fmla="*/ 2147483647 h 599"/>
              <a:gd name="T24" fmla="*/ 2147483647 w 589"/>
              <a:gd name="T25" fmla="*/ 2147483647 h 599"/>
              <a:gd name="T26" fmla="*/ 2147483647 w 589"/>
              <a:gd name="T27" fmla="*/ 2147483647 h 599"/>
              <a:gd name="T28" fmla="*/ 2147483647 w 589"/>
              <a:gd name="T29" fmla="*/ 2147483647 h 599"/>
              <a:gd name="T30" fmla="*/ 2147483647 w 589"/>
              <a:gd name="T31" fmla="*/ 2147483647 h 599"/>
              <a:gd name="T32" fmla="*/ 2147483647 w 589"/>
              <a:gd name="T33" fmla="*/ 2147483647 h 599"/>
              <a:gd name="T34" fmla="*/ 2147483647 w 589"/>
              <a:gd name="T35" fmla="*/ 2147483647 h 599"/>
              <a:gd name="T36" fmla="*/ 2147483647 w 589"/>
              <a:gd name="T37" fmla="*/ 2147483647 h 599"/>
              <a:gd name="T38" fmla="*/ 2147483647 w 589"/>
              <a:gd name="T39" fmla="*/ 2147483647 h 599"/>
              <a:gd name="T40" fmla="*/ 2147483647 w 589"/>
              <a:gd name="T41" fmla="*/ 0 h 599"/>
              <a:gd name="T42" fmla="*/ 2147483647 w 589"/>
              <a:gd name="T43" fmla="*/ 2147483647 h 599"/>
              <a:gd name="T44" fmla="*/ 2147483647 w 589"/>
              <a:gd name="T45" fmla="*/ 2147483647 h 599"/>
              <a:gd name="T46" fmla="*/ 2147483647 w 589"/>
              <a:gd name="T47" fmla="*/ 2147483647 h 599"/>
              <a:gd name="T48" fmla="*/ 2147483647 w 589"/>
              <a:gd name="T49" fmla="*/ 2147483647 h 599"/>
              <a:gd name="T50" fmla="*/ 2147483647 w 589"/>
              <a:gd name="T51" fmla="*/ 2147483647 h 599"/>
              <a:gd name="T52" fmla="*/ 2147483647 w 589"/>
              <a:gd name="T53" fmla="*/ 2147483647 h 599"/>
              <a:gd name="T54" fmla="*/ 2147483647 w 589"/>
              <a:gd name="T55" fmla="*/ 2147483647 h 599"/>
              <a:gd name="T56" fmla="*/ 2147483647 w 589"/>
              <a:gd name="T57" fmla="*/ 2147483647 h 599"/>
              <a:gd name="T58" fmla="*/ 2147483647 w 589"/>
              <a:gd name="T59" fmla="*/ 2147483647 h 599"/>
              <a:gd name="T60" fmla="*/ 2147483647 w 589"/>
              <a:gd name="T61" fmla="*/ 2147483647 h 599"/>
              <a:gd name="T62" fmla="*/ 2147483647 w 589"/>
              <a:gd name="T63" fmla="*/ 2147483647 h 599"/>
              <a:gd name="T64" fmla="*/ 2147483647 w 589"/>
              <a:gd name="T65" fmla="*/ 2147483647 h 599"/>
              <a:gd name="T66" fmla="*/ 2147483647 w 589"/>
              <a:gd name="T67" fmla="*/ 2147483647 h 599"/>
              <a:gd name="T68" fmla="*/ 2147483647 w 589"/>
              <a:gd name="T69" fmla="*/ 2147483647 h 599"/>
              <a:gd name="T70" fmla="*/ 0 w 589"/>
              <a:gd name="T71" fmla="*/ 2147483647 h 599"/>
              <a:gd name="T72" fmla="*/ 2147483647 w 589"/>
              <a:gd name="T73" fmla="*/ 2147483647 h 599"/>
              <a:gd name="T74" fmla="*/ 2147483647 w 589"/>
              <a:gd name="T75" fmla="*/ 2147483647 h 599"/>
              <a:gd name="T76" fmla="*/ 2147483647 w 589"/>
              <a:gd name="T77" fmla="*/ 2147483647 h 599"/>
              <a:gd name="T78" fmla="*/ 2147483647 w 589"/>
              <a:gd name="T79" fmla="*/ 2147483647 h 599"/>
              <a:gd name="T80" fmla="*/ 2147483647 w 589"/>
              <a:gd name="T81" fmla="*/ 2147483647 h 599"/>
              <a:gd name="T82" fmla="*/ 2147483647 w 589"/>
              <a:gd name="T83" fmla="*/ 2147483647 h 599"/>
              <a:gd name="T84" fmla="*/ 2147483647 w 589"/>
              <a:gd name="T85" fmla="*/ 2147483647 h 599"/>
              <a:gd name="T86" fmla="*/ 2147483647 w 589"/>
              <a:gd name="T87" fmla="*/ 2147483647 h 59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89"/>
              <a:gd name="T133" fmla="*/ 0 h 599"/>
              <a:gd name="T134" fmla="*/ 589 w 589"/>
              <a:gd name="T135" fmla="*/ 599 h 59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89" h="599">
                <a:moveTo>
                  <a:pt x="140" y="580"/>
                </a:moveTo>
                <a:lnTo>
                  <a:pt x="160" y="590"/>
                </a:lnTo>
                <a:lnTo>
                  <a:pt x="179" y="595"/>
                </a:lnTo>
                <a:lnTo>
                  <a:pt x="220" y="599"/>
                </a:lnTo>
                <a:lnTo>
                  <a:pt x="260" y="595"/>
                </a:lnTo>
                <a:lnTo>
                  <a:pt x="275" y="595"/>
                </a:lnTo>
                <a:lnTo>
                  <a:pt x="284" y="590"/>
                </a:lnTo>
                <a:lnTo>
                  <a:pt x="300" y="576"/>
                </a:lnTo>
                <a:lnTo>
                  <a:pt x="310" y="551"/>
                </a:lnTo>
                <a:lnTo>
                  <a:pt x="324" y="523"/>
                </a:lnTo>
                <a:lnTo>
                  <a:pt x="335" y="498"/>
                </a:lnTo>
                <a:lnTo>
                  <a:pt x="339" y="484"/>
                </a:lnTo>
                <a:lnTo>
                  <a:pt x="350" y="474"/>
                </a:lnTo>
                <a:lnTo>
                  <a:pt x="359" y="474"/>
                </a:lnTo>
                <a:lnTo>
                  <a:pt x="374" y="489"/>
                </a:lnTo>
                <a:lnTo>
                  <a:pt x="394" y="503"/>
                </a:lnTo>
                <a:lnTo>
                  <a:pt x="405" y="503"/>
                </a:lnTo>
                <a:lnTo>
                  <a:pt x="409" y="489"/>
                </a:lnTo>
                <a:lnTo>
                  <a:pt x="405" y="474"/>
                </a:lnTo>
                <a:lnTo>
                  <a:pt x="400" y="460"/>
                </a:lnTo>
                <a:lnTo>
                  <a:pt x="405" y="450"/>
                </a:lnTo>
                <a:lnTo>
                  <a:pt x="415" y="440"/>
                </a:lnTo>
                <a:lnTo>
                  <a:pt x="429" y="430"/>
                </a:lnTo>
                <a:lnTo>
                  <a:pt x="455" y="411"/>
                </a:lnTo>
                <a:lnTo>
                  <a:pt x="464" y="387"/>
                </a:lnTo>
                <a:lnTo>
                  <a:pt x="470" y="372"/>
                </a:lnTo>
                <a:lnTo>
                  <a:pt x="479" y="358"/>
                </a:lnTo>
                <a:lnTo>
                  <a:pt x="495" y="349"/>
                </a:lnTo>
                <a:lnTo>
                  <a:pt x="520" y="343"/>
                </a:lnTo>
                <a:lnTo>
                  <a:pt x="540" y="338"/>
                </a:lnTo>
                <a:lnTo>
                  <a:pt x="555" y="334"/>
                </a:lnTo>
                <a:lnTo>
                  <a:pt x="560" y="328"/>
                </a:lnTo>
                <a:lnTo>
                  <a:pt x="560" y="324"/>
                </a:lnTo>
                <a:lnTo>
                  <a:pt x="560" y="315"/>
                </a:lnTo>
                <a:lnTo>
                  <a:pt x="565" y="300"/>
                </a:lnTo>
                <a:lnTo>
                  <a:pt x="565" y="285"/>
                </a:lnTo>
                <a:lnTo>
                  <a:pt x="560" y="266"/>
                </a:lnTo>
                <a:lnTo>
                  <a:pt x="550" y="222"/>
                </a:lnTo>
                <a:lnTo>
                  <a:pt x="550" y="203"/>
                </a:lnTo>
                <a:lnTo>
                  <a:pt x="560" y="188"/>
                </a:lnTo>
                <a:lnTo>
                  <a:pt x="569" y="179"/>
                </a:lnTo>
                <a:lnTo>
                  <a:pt x="569" y="169"/>
                </a:lnTo>
                <a:lnTo>
                  <a:pt x="560" y="135"/>
                </a:lnTo>
                <a:lnTo>
                  <a:pt x="555" y="126"/>
                </a:lnTo>
                <a:lnTo>
                  <a:pt x="555" y="121"/>
                </a:lnTo>
                <a:lnTo>
                  <a:pt x="560" y="121"/>
                </a:lnTo>
                <a:lnTo>
                  <a:pt x="580" y="121"/>
                </a:lnTo>
                <a:lnTo>
                  <a:pt x="589" y="121"/>
                </a:lnTo>
                <a:lnTo>
                  <a:pt x="589" y="116"/>
                </a:lnTo>
                <a:lnTo>
                  <a:pt x="589" y="111"/>
                </a:lnTo>
                <a:lnTo>
                  <a:pt x="580" y="101"/>
                </a:lnTo>
                <a:lnTo>
                  <a:pt x="575" y="97"/>
                </a:lnTo>
                <a:lnTo>
                  <a:pt x="580" y="87"/>
                </a:lnTo>
                <a:lnTo>
                  <a:pt x="585" y="72"/>
                </a:lnTo>
                <a:lnTo>
                  <a:pt x="589" y="63"/>
                </a:lnTo>
                <a:lnTo>
                  <a:pt x="589" y="53"/>
                </a:lnTo>
                <a:lnTo>
                  <a:pt x="580" y="44"/>
                </a:lnTo>
                <a:lnTo>
                  <a:pt x="565" y="34"/>
                </a:lnTo>
                <a:lnTo>
                  <a:pt x="545" y="25"/>
                </a:lnTo>
                <a:lnTo>
                  <a:pt x="530" y="14"/>
                </a:lnTo>
                <a:lnTo>
                  <a:pt x="520" y="4"/>
                </a:lnTo>
                <a:lnTo>
                  <a:pt x="514" y="0"/>
                </a:lnTo>
                <a:lnTo>
                  <a:pt x="510" y="0"/>
                </a:lnTo>
                <a:lnTo>
                  <a:pt x="505" y="10"/>
                </a:lnTo>
                <a:lnTo>
                  <a:pt x="490" y="14"/>
                </a:lnTo>
                <a:lnTo>
                  <a:pt x="470" y="14"/>
                </a:lnTo>
                <a:lnTo>
                  <a:pt x="445" y="14"/>
                </a:lnTo>
                <a:lnTo>
                  <a:pt x="420" y="19"/>
                </a:lnTo>
                <a:lnTo>
                  <a:pt x="400" y="19"/>
                </a:lnTo>
                <a:lnTo>
                  <a:pt x="385" y="19"/>
                </a:lnTo>
                <a:lnTo>
                  <a:pt x="359" y="19"/>
                </a:lnTo>
                <a:lnTo>
                  <a:pt x="339" y="19"/>
                </a:lnTo>
                <a:lnTo>
                  <a:pt x="330" y="14"/>
                </a:lnTo>
                <a:lnTo>
                  <a:pt x="319" y="10"/>
                </a:lnTo>
                <a:lnTo>
                  <a:pt x="315" y="10"/>
                </a:lnTo>
                <a:lnTo>
                  <a:pt x="300" y="4"/>
                </a:lnTo>
                <a:lnTo>
                  <a:pt x="280" y="0"/>
                </a:lnTo>
                <a:lnTo>
                  <a:pt x="269" y="4"/>
                </a:lnTo>
                <a:lnTo>
                  <a:pt x="255" y="10"/>
                </a:lnTo>
                <a:lnTo>
                  <a:pt x="245" y="14"/>
                </a:lnTo>
                <a:lnTo>
                  <a:pt x="230" y="14"/>
                </a:lnTo>
                <a:lnTo>
                  <a:pt x="220" y="14"/>
                </a:lnTo>
                <a:lnTo>
                  <a:pt x="210" y="14"/>
                </a:lnTo>
                <a:lnTo>
                  <a:pt x="199" y="14"/>
                </a:lnTo>
                <a:lnTo>
                  <a:pt x="195" y="19"/>
                </a:lnTo>
                <a:lnTo>
                  <a:pt x="190" y="29"/>
                </a:lnTo>
                <a:lnTo>
                  <a:pt x="185" y="44"/>
                </a:lnTo>
                <a:lnTo>
                  <a:pt x="185" y="48"/>
                </a:lnTo>
                <a:lnTo>
                  <a:pt x="179" y="53"/>
                </a:lnTo>
                <a:lnTo>
                  <a:pt x="164" y="58"/>
                </a:lnTo>
                <a:lnTo>
                  <a:pt x="144" y="63"/>
                </a:lnTo>
                <a:lnTo>
                  <a:pt x="129" y="72"/>
                </a:lnTo>
                <a:lnTo>
                  <a:pt x="125" y="82"/>
                </a:lnTo>
                <a:lnTo>
                  <a:pt x="125" y="87"/>
                </a:lnTo>
                <a:lnTo>
                  <a:pt x="120" y="92"/>
                </a:lnTo>
                <a:lnTo>
                  <a:pt x="115" y="111"/>
                </a:lnTo>
                <a:lnTo>
                  <a:pt x="100" y="126"/>
                </a:lnTo>
                <a:lnTo>
                  <a:pt x="85" y="140"/>
                </a:lnTo>
                <a:lnTo>
                  <a:pt x="65" y="155"/>
                </a:lnTo>
                <a:lnTo>
                  <a:pt x="39" y="165"/>
                </a:lnTo>
                <a:lnTo>
                  <a:pt x="45" y="174"/>
                </a:lnTo>
                <a:lnTo>
                  <a:pt x="50" y="188"/>
                </a:lnTo>
                <a:lnTo>
                  <a:pt x="50" y="198"/>
                </a:lnTo>
                <a:lnTo>
                  <a:pt x="50" y="203"/>
                </a:lnTo>
                <a:lnTo>
                  <a:pt x="39" y="208"/>
                </a:lnTo>
                <a:lnTo>
                  <a:pt x="25" y="203"/>
                </a:lnTo>
                <a:lnTo>
                  <a:pt x="10" y="208"/>
                </a:lnTo>
                <a:lnTo>
                  <a:pt x="0" y="222"/>
                </a:lnTo>
                <a:lnTo>
                  <a:pt x="0" y="237"/>
                </a:lnTo>
                <a:lnTo>
                  <a:pt x="0" y="256"/>
                </a:lnTo>
                <a:lnTo>
                  <a:pt x="4" y="285"/>
                </a:lnTo>
                <a:lnTo>
                  <a:pt x="15" y="315"/>
                </a:lnTo>
                <a:lnTo>
                  <a:pt x="20" y="315"/>
                </a:lnTo>
                <a:lnTo>
                  <a:pt x="30" y="315"/>
                </a:lnTo>
                <a:lnTo>
                  <a:pt x="45" y="309"/>
                </a:lnTo>
                <a:lnTo>
                  <a:pt x="50" y="315"/>
                </a:lnTo>
                <a:lnTo>
                  <a:pt x="54" y="324"/>
                </a:lnTo>
                <a:lnTo>
                  <a:pt x="61" y="334"/>
                </a:lnTo>
                <a:lnTo>
                  <a:pt x="70" y="338"/>
                </a:lnTo>
                <a:lnTo>
                  <a:pt x="85" y="349"/>
                </a:lnTo>
                <a:lnTo>
                  <a:pt x="94" y="362"/>
                </a:lnTo>
                <a:lnTo>
                  <a:pt x="100" y="372"/>
                </a:lnTo>
                <a:lnTo>
                  <a:pt x="94" y="392"/>
                </a:lnTo>
                <a:lnTo>
                  <a:pt x="89" y="430"/>
                </a:lnTo>
                <a:lnTo>
                  <a:pt x="94" y="455"/>
                </a:lnTo>
                <a:lnTo>
                  <a:pt x="105" y="474"/>
                </a:lnTo>
                <a:lnTo>
                  <a:pt x="120" y="489"/>
                </a:lnTo>
                <a:lnTo>
                  <a:pt x="129" y="498"/>
                </a:lnTo>
                <a:lnTo>
                  <a:pt x="135" y="517"/>
                </a:lnTo>
                <a:lnTo>
                  <a:pt x="135" y="542"/>
                </a:lnTo>
                <a:lnTo>
                  <a:pt x="125" y="580"/>
                </a:lnTo>
                <a:lnTo>
                  <a:pt x="140" y="580"/>
                </a:lnTo>
                <a:close/>
              </a:path>
            </a:pathLst>
          </a:custGeom>
          <a:solidFill>
            <a:srgbClr val="005027"/>
          </a:solidFill>
          <a:ln w="9525">
            <a:solidFill>
              <a:schemeClr val="bg1"/>
            </a:solidFill>
            <a:round/>
            <a:headEnd/>
            <a:tailEnd/>
          </a:ln>
        </p:spPr>
        <p:txBody>
          <a:bodyPr/>
          <a:lstStyle/>
          <a:p>
            <a:endParaRPr lang="ro-RO"/>
          </a:p>
        </p:txBody>
      </p:sp>
      <p:sp>
        <p:nvSpPr>
          <p:cNvPr id="12324" name="Freeform 34"/>
          <p:cNvSpPr>
            <a:spLocks/>
          </p:cNvSpPr>
          <p:nvPr/>
        </p:nvSpPr>
        <p:spPr bwMode="auto">
          <a:xfrm>
            <a:off x="1852613" y="1817688"/>
            <a:ext cx="850900" cy="596900"/>
          </a:xfrm>
          <a:custGeom>
            <a:avLst/>
            <a:gdLst>
              <a:gd name="T0" fmla="*/ 2147483647 w 661"/>
              <a:gd name="T1" fmla="*/ 2147483647 h 432"/>
              <a:gd name="T2" fmla="*/ 2147483647 w 661"/>
              <a:gd name="T3" fmla="*/ 2147483647 h 432"/>
              <a:gd name="T4" fmla="*/ 2147483647 w 661"/>
              <a:gd name="T5" fmla="*/ 2147483647 h 432"/>
              <a:gd name="T6" fmla="*/ 0 w 661"/>
              <a:gd name="T7" fmla="*/ 2147483647 h 432"/>
              <a:gd name="T8" fmla="*/ 2147483647 w 661"/>
              <a:gd name="T9" fmla="*/ 2147483647 h 432"/>
              <a:gd name="T10" fmla="*/ 2147483647 w 661"/>
              <a:gd name="T11" fmla="*/ 2147483647 h 432"/>
              <a:gd name="T12" fmla="*/ 2147483647 w 661"/>
              <a:gd name="T13" fmla="*/ 2147483647 h 432"/>
              <a:gd name="T14" fmla="*/ 2147483647 w 661"/>
              <a:gd name="T15" fmla="*/ 2147483647 h 432"/>
              <a:gd name="T16" fmla="*/ 2147483647 w 661"/>
              <a:gd name="T17" fmla="*/ 2147483647 h 432"/>
              <a:gd name="T18" fmla="*/ 2147483647 w 661"/>
              <a:gd name="T19" fmla="*/ 2147483647 h 432"/>
              <a:gd name="T20" fmla="*/ 2147483647 w 661"/>
              <a:gd name="T21" fmla="*/ 2147483647 h 432"/>
              <a:gd name="T22" fmla="*/ 2147483647 w 661"/>
              <a:gd name="T23" fmla="*/ 2147483647 h 432"/>
              <a:gd name="T24" fmla="*/ 2147483647 w 661"/>
              <a:gd name="T25" fmla="*/ 2147483647 h 432"/>
              <a:gd name="T26" fmla="*/ 2147483647 w 661"/>
              <a:gd name="T27" fmla="*/ 2147483647 h 432"/>
              <a:gd name="T28" fmla="*/ 2147483647 w 661"/>
              <a:gd name="T29" fmla="*/ 2147483647 h 432"/>
              <a:gd name="T30" fmla="*/ 2147483647 w 661"/>
              <a:gd name="T31" fmla="*/ 2147483647 h 432"/>
              <a:gd name="T32" fmla="*/ 2147483647 w 661"/>
              <a:gd name="T33" fmla="*/ 2147483647 h 432"/>
              <a:gd name="T34" fmla="*/ 2147483647 w 661"/>
              <a:gd name="T35" fmla="*/ 2147483647 h 432"/>
              <a:gd name="T36" fmla="*/ 2147483647 w 661"/>
              <a:gd name="T37" fmla="*/ 2147483647 h 432"/>
              <a:gd name="T38" fmla="*/ 2147483647 w 661"/>
              <a:gd name="T39" fmla="*/ 2147483647 h 432"/>
              <a:gd name="T40" fmla="*/ 2147483647 w 661"/>
              <a:gd name="T41" fmla="*/ 2147483647 h 432"/>
              <a:gd name="T42" fmla="*/ 2147483647 w 661"/>
              <a:gd name="T43" fmla="*/ 2147483647 h 432"/>
              <a:gd name="T44" fmla="*/ 2147483647 w 661"/>
              <a:gd name="T45" fmla="*/ 2147483647 h 432"/>
              <a:gd name="T46" fmla="*/ 2147483647 w 661"/>
              <a:gd name="T47" fmla="*/ 2147483647 h 432"/>
              <a:gd name="T48" fmla="*/ 2147483647 w 661"/>
              <a:gd name="T49" fmla="*/ 2147483647 h 432"/>
              <a:gd name="T50" fmla="*/ 2147483647 w 661"/>
              <a:gd name="T51" fmla="*/ 2147483647 h 432"/>
              <a:gd name="T52" fmla="*/ 2147483647 w 661"/>
              <a:gd name="T53" fmla="*/ 2147483647 h 432"/>
              <a:gd name="T54" fmla="*/ 2147483647 w 661"/>
              <a:gd name="T55" fmla="*/ 2147483647 h 432"/>
              <a:gd name="T56" fmla="*/ 2147483647 w 661"/>
              <a:gd name="T57" fmla="*/ 2147483647 h 432"/>
              <a:gd name="T58" fmla="*/ 2147483647 w 661"/>
              <a:gd name="T59" fmla="*/ 2147483647 h 432"/>
              <a:gd name="T60" fmla="*/ 2147483647 w 661"/>
              <a:gd name="T61" fmla="*/ 2147483647 h 432"/>
              <a:gd name="T62" fmla="*/ 2147483647 w 661"/>
              <a:gd name="T63" fmla="*/ 2147483647 h 432"/>
              <a:gd name="T64" fmla="*/ 2147483647 w 661"/>
              <a:gd name="T65" fmla="*/ 2147483647 h 432"/>
              <a:gd name="T66" fmla="*/ 2147483647 w 661"/>
              <a:gd name="T67" fmla="*/ 2147483647 h 432"/>
              <a:gd name="T68" fmla="*/ 2147483647 w 661"/>
              <a:gd name="T69" fmla="*/ 2147483647 h 432"/>
              <a:gd name="T70" fmla="*/ 2147483647 w 661"/>
              <a:gd name="T71" fmla="*/ 2147483647 h 432"/>
              <a:gd name="T72" fmla="*/ 2147483647 w 661"/>
              <a:gd name="T73" fmla="*/ 2147483647 h 432"/>
              <a:gd name="T74" fmla="*/ 2147483647 w 661"/>
              <a:gd name="T75" fmla="*/ 2147483647 h 432"/>
              <a:gd name="T76" fmla="*/ 2147483647 w 661"/>
              <a:gd name="T77" fmla="*/ 2147483647 h 432"/>
              <a:gd name="T78" fmla="*/ 2147483647 w 661"/>
              <a:gd name="T79" fmla="*/ 2147483647 h 432"/>
              <a:gd name="T80" fmla="*/ 2147483647 w 661"/>
              <a:gd name="T81" fmla="*/ 2147483647 h 432"/>
              <a:gd name="T82" fmla="*/ 2147483647 w 661"/>
              <a:gd name="T83" fmla="*/ 2147483647 h 432"/>
              <a:gd name="T84" fmla="*/ 2147483647 w 661"/>
              <a:gd name="T85" fmla="*/ 2147483647 h 432"/>
              <a:gd name="T86" fmla="*/ 2147483647 w 661"/>
              <a:gd name="T87" fmla="*/ 2147483647 h 432"/>
              <a:gd name="T88" fmla="*/ 2147483647 w 661"/>
              <a:gd name="T89" fmla="*/ 2147483647 h 432"/>
              <a:gd name="T90" fmla="*/ 2147483647 w 661"/>
              <a:gd name="T91" fmla="*/ 2147483647 h 432"/>
              <a:gd name="T92" fmla="*/ 2147483647 w 661"/>
              <a:gd name="T93" fmla="*/ 2147483647 h 4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61"/>
              <a:gd name="T142" fmla="*/ 0 h 432"/>
              <a:gd name="T143" fmla="*/ 661 w 661"/>
              <a:gd name="T144" fmla="*/ 432 h 4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61" h="432">
                <a:moveTo>
                  <a:pt x="40" y="82"/>
                </a:moveTo>
                <a:lnTo>
                  <a:pt x="30" y="87"/>
                </a:lnTo>
                <a:lnTo>
                  <a:pt x="30" y="97"/>
                </a:lnTo>
                <a:lnTo>
                  <a:pt x="30" y="107"/>
                </a:lnTo>
                <a:lnTo>
                  <a:pt x="30" y="111"/>
                </a:lnTo>
                <a:lnTo>
                  <a:pt x="30" y="116"/>
                </a:lnTo>
                <a:lnTo>
                  <a:pt x="26" y="126"/>
                </a:lnTo>
                <a:lnTo>
                  <a:pt x="20" y="136"/>
                </a:lnTo>
                <a:lnTo>
                  <a:pt x="20" y="141"/>
                </a:lnTo>
                <a:lnTo>
                  <a:pt x="5" y="155"/>
                </a:lnTo>
                <a:lnTo>
                  <a:pt x="0" y="165"/>
                </a:lnTo>
                <a:lnTo>
                  <a:pt x="0" y="175"/>
                </a:lnTo>
                <a:lnTo>
                  <a:pt x="0" y="184"/>
                </a:lnTo>
                <a:lnTo>
                  <a:pt x="10" y="203"/>
                </a:lnTo>
                <a:lnTo>
                  <a:pt x="26" y="213"/>
                </a:lnTo>
                <a:lnTo>
                  <a:pt x="30" y="224"/>
                </a:lnTo>
                <a:lnTo>
                  <a:pt x="30" y="237"/>
                </a:lnTo>
                <a:lnTo>
                  <a:pt x="26" y="247"/>
                </a:lnTo>
                <a:lnTo>
                  <a:pt x="26" y="262"/>
                </a:lnTo>
                <a:lnTo>
                  <a:pt x="30" y="267"/>
                </a:lnTo>
                <a:lnTo>
                  <a:pt x="45" y="267"/>
                </a:lnTo>
                <a:lnTo>
                  <a:pt x="65" y="267"/>
                </a:lnTo>
                <a:lnTo>
                  <a:pt x="80" y="271"/>
                </a:lnTo>
                <a:lnTo>
                  <a:pt x="89" y="281"/>
                </a:lnTo>
                <a:lnTo>
                  <a:pt x="95" y="286"/>
                </a:lnTo>
                <a:lnTo>
                  <a:pt x="100" y="292"/>
                </a:lnTo>
                <a:lnTo>
                  <a:pt x="95" y="305"/>
                </a:lnTo>
                <a:lnTo>
                  <a:pt x="100" y="311"/>
                </a:lnTo>
                <a:lnTo>
                  <a:pt x="119" y="326"/>
                </a:lnTo>
                <a:lnTo>
                  <a:pt x="139" y="335"/>
                </a:lnTo>
                <a:lnTo>
                  <a:pt x="159" y="339"/>
                </a:lnTo>
                <a:lnTo>
                  <a:pt x="178" y="339"/>
                </a:lnTo>
                <a:lnTo>
                  <a:pt x="189" y="345"/>
                </a:lnTo>
                <a:lnTo>
                  <a:pt x="198" y="360"/>
                </a:lnTo>
                <a:lnTo>
                  <a:pt x="204" y="373"/>
                </a:lnTo>
                <a:lnTo>
                  <a:pt x="224" y="383"/>
                </a:lnTo>
                <a:lnTo>
                  <a:pt x="248" y="394"/>
                </a:lnTo>
                <a:lnTo>
                  <a:pt x="274" y="398"/>
                </a:lnTo>
                <a:lnTo>
                  <a:pt x="283" y="403"/>
                </a:lnTo>
                <a:lnTo>
                  <a:pt x="293" y="403"/>
                </a:lnTo>
                <a:lnTo>
                  <a:pt x="298" y="417"/>
                </a:lnTo>
                <a:lnTo>
                  <a:pt x="298" y="427"/>
                </a:lnTo>
                <a:lnTo>
                  <a:pt x="303" y="432"/>
                </a:lnTo>
                <a:lnTo>
                  <a:pt x="318" y="432"/>
                </a:lnTo>
                <a:lnTo>
                  <a:pt x="328" y="427"/>
                </a:lnTo>
                <a:lnTo>
                  <a:pt x="337" y="422"/>
                </a:lnTo>
                <a:lnTo>
                  <a:pt x="343" y="422"/>
                </a:lnTo>
                <a:lnTo>
                  <a:pt x="343" y="413"/>
                </a:lnTo>
                <a:lnTo>
                  <a:pt x="348" y="398"/>
                </a:lnTo>
                <a:lnTo>
                  <a:pt x="357" y="373"/>
                </a:lnTo>
                <a:lnTo>
                  <a:pt x="363" y="364"/>
                </a:lnTo>
                <a:lnTo>
                  <a:pt x="367" y="360"/>
                </a:lnTo>
                <a:lnTo>
                  <a:pt x="372" y="364"/>
                </a:lnTo>
                <a:lnTo>
                  <a:pt x="378" y="379"/>
                </a:lnTo>
                <a:lnTo>
                  <a:pt x="387" y="388"/>
                </a:lnTo>
                <a:lnTo>
                  <a:pt x="402" y="394"/>
                </a:lnTo>
                <a:lnTo>
                  <a:pt x="417" y="388"/>
                </a:lnTo>
                <a:lnTo>
                  <a:pt x="433" y="379"/>
                </a:lnTo>
                <a:lnTo>
                  <a:pt x="437" y="369"/>
                </a:lnTo>
                <a:lnTo>
                  <a:pt x="437" y="354"/>
                </a:lnTo>
                <a:lnTo>
                  <a:pt x="442" y="345"/>
                </a:lnTo>
                <a:lnTo>
                  <a:pt x="457" y="335"/>
                </a:lnTo>
                <a:lnTo>
                  <a:pt x="472" y="326"/>
                </a:lnTo>
                <a:lnTo>
                  <a:pt x="482" y="315"/>
                </a:lnTo>
                <a:lnTo>
                  <a:pt x="482" y="305"/>
                </a:lnTo>
                <a:lnTo>
                  <a:pt x="476" y="292"/>
                </a:lnTo>
                <a:lnTo>
                  <a:pt x="472" y="281"/>
                </a:lnTo>
                <a:lnTo>
                  <a:pt x="467" y="271"/>
                </a:lnTo>
                <a:lnTo>
                  <a:pt x="472" y="267"/>
                </a:lnTo>
                <a:lnTo>
                  <a:pt x="482" y="267"/>
                </a:lnTo>
                <a:lnTo>
                  <a:pt x="487" y="271"/>
                </a:lnTo>
                <a:lnTo>
                  <a:pt x="492" y="267"/>
                </a:lnTo>
                <a:lnTo>
                  <a:pt x="492" y="258"/>
                </a:lnTo>
                <a:lnTo>
                  <a:pt x="492" y="237"/>
                </a:lnTo>
                <a:lnTo>
                  <a:pt x="492" y="228"/>
                </a:lnTo>
                <a:lnTo>
                  <a:pt x="496" y="224"/>
                </a:lnTo>
                <a:lnTo>
                  <a:pt x="502" y="218"/>
                </a:lnTo>
                <a:lnTo>
                  <a:pt x="511" y="218"/>
                </a:lnTo>
                <a:lnTo>
                  <a:pt x="522" y="213"/>
                </a:lnTo>
                <a:lnTo>
                  <a:pt x="531" y="203"/>
                </a:lnTo>
                <a:lnTo>
                  <a:pt x="537" y="203"/>
                </a:lnTo>
                <a:lnTo>
                  <a:pt x="546" y="209"/>
                </a:lnTo>
                <a:lnTo>
                  <a:pt x="561" y="203"/>
                </a:lnTo>
                <a:lnTo>
                  <a:pt x="571" y="194"/>
                </a:lnTo>
                <a:lnTo>
                  <a:pt x="576" y="184"/>
                </a:lnTo>
                <a:lnTo>
                  <a:pt x="576" y="160"/>
                </a:lnTo>
                <a:lnTo>
                  <a:pt x="576" y="150"/>
                </a:lnTo>
                <a:lnTo>
                  <a:pt x="581" y="141"/>
                </a:lnTo>
                <a:lnTo>
                  <a:pt x="591" y="141"/>
                </a:lnTo>
                <a:lnTo>
                  <a:pt x="606" y="145"/>
                </a:lnTo>
                <a:lnTo>
                  <a:pt x="620" y="150"/>
                </a:lnTo>
                <a:lnTo>
                  <a:pt x="626" y="150"/>
                </a:lnTo>
                <a:lnTo>
                  <a:pt x="635" y="145"/>
                </a:lnTo>
                <a:lnTo>
                  <a:pt x="646" y="136"/>
                </a:lnTo>
                <a:lnTo>
                  <a:pt x="661" y="126"/>
                </a:lnTo>
                <a:lnTo>
                  <a:pt x="661" y="107"/>
                </a:lnTo>
                <a:lnTo>
                  <a:pt x="661" y="92"/>
                </a:lnTo>
                <a:lnTo>
                  <a:pt x="661" y="82"/>
                </a:lnTo>
                <a:lnTo>
                  <a:pt x="650" y="87"/>
                </a:lnTo>
                <a:lnTo>
                  <a:pt x="641" y="87"/>
                </a:lnTo>
                <a:lnTo>
                  <a:pt x="620" y="87"/>
                </a:lnTo>
                <a:lnTo>
                  <a:pt x="606" y="82"/>
                </a:lnTo>
                <a:lnTo>
                  <a:pt x="591" y="68"/>
                </a:lnTo>
                <a:lnTo>
                  <a:pt x="585" y="58"/>
                </a:lnTo>
                <a:lnTo>
                  <a:pt x="581" y="48"/>
                </a:lnTo>
                <a:lnTo>
                  <a:pt x="576" y="43"/>
                </a:lnTo>
                <a:lnTo>
                  <a:pt x="566" y="43"/>
                </a:lnTo>
                <a:lnTo>
                  <a:pt x="546" y="48"/>
                </a:lnTo>
                <a:lnTo>
                  <a:pt x="537" y="48"/>
                </a:lnTo>
                <a:lnTo>
                  <a:pt x="517" y="48"/>
                </a:lnTo>
                <a:lnTo>
                  <a:pt x="476" y="43"/>
                </a:lnTo>
                <a:lnTo>
                  <a:pt x="442" y="34"/>
                </a:lnTo>
                <a:lnTo>
                  <a:pt x="427" y="29"/>
                </a:lnTo>
                <a:lnTo>
                  <a:pt x="417" y="24"/>
                </a:lnTo>
                <a:lnTo>
                  <a:pt x="407" y="19"/>
                </a:lnTo>
                <a:lnTo>
                  <a:pt x="398" y="14"/>
                </a:lnTo>
                <a:lnTo>
                  <a:pt x="383" y="14"/>
                </a:lnTo>
                <a:lnTo>
                  <a:pt x="367" y="5"/>
                </a:lnTo>
                <a:lnTo>
                  <a:pt x="343" y="0"/>
                </a:lnTo>
                <a:lnTo>
                  <a:pt x="324" y="5"/>
                </a:lnTo>
                <a:lnTo>
                  <a:pt x="308" y="14"/>
                </a:lnTo>
                <a:lnTo>
                  <a:pt x="303" y="19"/>
                </a:lnTo>
                <a:lnTo>
                  <a:pt x="308" y="29"/>
                </a:lnTo>
                <a:lnTo>
                  <a:pt x="308" y="39"/>
                </a:lnTo>
                <a:lnTo>
                  <a:pt x="293" y="53"/>
                </a:lnTo>
                <a:lnTo>
                  <a:pt x="283" y="58"/>
                </a:lnTo>
                <a:lnTo>
                  <a:pt x="263" y="58"/>
                </a:lnTo>
                <a:lnTo>
                  <a:pt x="248" y="58"/>
                </a:lnTo>
                <a:lnTo>
                  <a:pt x="244" y="58"/>
                </a:lnTo>
                <a:lnTo>
                  <a:pt x="233" y="53"/>
                </a:lnTo>
                <a:lnTo>
                  <a:pt x="213" y="39"/>
                </a:lnTo>
                <a:lnTo>
                  <a:pt x="194" y="24"/>
                </a:lnTo>
                <a:lnTo>
                  <a:pt x="178" y="19"/>
                </a:lnTo>
                <a:lnTo>
                  <a:pt x="164" y="19"/>
                </a:lnTo>
                <a:lnTo>
                  <a:pt x="139" y="19"/>
                </a:lnTo>
                <a:lnTo>
                  <a:pt x="124" y="24"/>
                </a:lnTo>
                <a:lnTo>
                  <a:pt x="109" y="29"/>
                </a:lnTo>
                <a:lnTo>
                  <a:pt x="80" y="48"/>
                </a:lnTo>
                <a:lnTo>
                  <a:pt x="60" y="63"/>
                </a:lnTo>
                <a:lnTo>
                  <a:pt x="55" y="73"/>
                </a:lnTo>
                <a:lnTo>
                  <a:pt x="50" y="73"/>
                </a:lnTo>
                <a:lnTo>
                  <a:pt x="40" y="82"/>
                </a:lnTo>
                <a:close/>
              </a:path>
            </a:pathLst>
          </a:custGeom>
          <a:solidFill>
            <a:srgbClr val="005027"/>
          </a:solidFill>
          <a:ln w="9525">
            <a:solidFill>
              <a:schemeClr val="bg1"/>
            </a:solidFill>
            <a:round/>
            <a:headEnd/>
            <a:tailEnd/>
          </a:ln>
        </p:spPr>
        <p:txBody>
          <a:bodyPr/>
          <a:lstStyle/>
          <a:p>
            <a:endParaRPr lang="ro-RO"/>
          </a:p>
        </p:txBody>
      </p:sp>
      <p:sp>
        <p:nvSpPr>
          <p:cNvPr id="12325" name="Freeform 35"/>
          <p:cNvSpPr>
            <a:spLocks/>
          </p:cNvSpPr>
          <p:nvPr/>
        </p:nvSpPr>
        <p:spPr bwMode="auto">
          <a:xfrm>
            <a:off x="4035425" y="4506913"/>
            <a:ext cx="412750" cy="546100"/>
          </a:xfrm>
          <a:custGeom>
            <a:avLst/>
            <a:gdLst>
              <a:gd name="T0" fmla="*/ 2147483647 w 321"/>
              <a:gd name="T1" fmla="*/ 2147483647 h 396"/>
              <a:gd name="T2" fmla="*/ 2147483647 w 321"/>
              <a:gd name="T3" fmla="*/ 2147483647 h 396"/>
              <a:gd name="T4" fmla="*/ 2147483647 w 321"/>
              <a:gd name="T5" fmla="*/ 2147483647 h 396"/>
              <a:gd name="T6" fmla="*/ 2147483647 w 321"/>
              <a:gd name="T7" fmla="*/ 2147483647 h 396"/>
              <a:gd name="T8" fmla="*/ 2147483647 w 321"/>
              <a:gd name="T9" fmla="*/ 2147483647 h 396"/>
              <a:gd name="T10" fmla="*/ 2147483647 w 321"/>
              <a:gd name="T11" fmla="*/ 2147483647 h 396"/>
              <a:gd name="T12" fmla="*/ 2147483647 w 321"/>
              <a:gd name="T13" fmla="*/ 2147483647 h 396"/>
              <a:gd name="T14" fmla="*/ 2147483647 w 321"/>
              <a:gd name="T15" fmla="*/ 2147483647 h 396"/>
              <a:gd name="T16" fmla="*/ 2147483647 w 321"/>
              <a:gd name="T17" fmla="*/ 2147483647 h 396"/>
              <a:gd name="T18" fmla="*/ 2147483647 w 321"/>
              <a:gd name="T19" fmla="*/ 2147483647 h 396"/>
              <a:gd name="T20" fmla="*/ 2147483647 w 321"/>
              <a:gd name="T21" fmla="*/ 2147483647 h 396"/>
              <a:gd name="T22" fmla="*/ 2147483647 w 321"/>
              <a:gd name="T23" fmla="*/ 2147483647 h 396"/>
              <a:gd name="T24" fmla="*/ 2147483647 w 321"/>
              <a:gd name="T25" fmla="*/ 2147483647 h 396"/>
              <a:gd name="T26" fmla="*/ 2147483647 w 321"/>
              <a:gd name="T27" fmla="*/ 2147483647 h 396"/>
              <a:gd name="T28" fmla="*/ 2147483647 w 321"/>
              <a:gd name="T29" fmla="*/ 2147483647 h 396"/>
              <a:gd name="T30" fmla="*/ 2147483647 w 321"/>
              <a:gd name="T31" fmla="*/ 2147483647 h 396"/>
              <a:gd name="T32" fmla="*/ 2147483647 w 321"/>
              <a:gd name="T33" fmla="*/ 2147483647 h 396"/>
              <a:gd name="T34" fmla="*/ 2147483647 w 321"/>
              <a:gd name="T35" fmla="*/ 2147483647 h 396"/>
              <a:gd name="T36" fmla="*/ 2147483647 w 321"/>
              <a:gd name="T37" fmla="*/ 2147483647 h 396"/>
              <a:gd name="T38" fmla="*/ 2147483647 w 321"/>
              <a:gd name="T39" fmla="*/ 2147483647 h 396"/>
              <a:gd name="T40" fmla="*/ 2147483647 w 321"/>
              <a:gd name="T41" fmla="*/ 2147483647 h 396"/>
              <a:gd name="T42" fmla="*/ 2147483647 w 321"/>
              <a:gd name="T43" fmla="*/ 2147483647 h 396"/>
              <a:gd name="T44" fmla="*/ 2147483647 w 321"/>
              <a:gd name="T45" fmla="*/ 2147483647 h 396"/>
              <a:gd name="T46" fmla="*/ 2147483647 w 321"/>
              <a:gd name="T47" fmla="*/ 2147483647 h 396"/>
              <a:gd name="T48" fmla="*/ 2147483647 w 321"/>
              <a:gd name="T49" fmla="*/ 2147483647 h 396"/>
              <a:gd name="T50" fmla="*/ 2147483647 w 321"/>
              <a:gd name="T51" fmla="*/ 2147483647 h 396"/>
              <a:gd name="T52" fmla="*/ 2147483647 w 321"/>
              <a:gd name="T53" fmla="*/ 2147483647 h 396"/>
              <a:gd name="T54" fmla="*/ 2147483647 w 321"/>
              <a:gd name="T55" fmla="*/ 2147483647 h 396"/>
              <a:gd name="T56" fmla="*/ 2147483647 w 321"/>
              <a:gd name="T57" fmla="*/ 2147483647 h 396"/>
              <a:gd name="T58" fmla="*/ 2147483647 w 321"/>
              <a:gd name="T59" fmla="*/ 2147483647 h 396"/>
              <a:gd name="T60" fmla="*/ 2147483647 w 321"/>
              <a:gd name="T61" fmla="*/ 2147483647 h 396"/>
              <a:gd name="T62" fmla="*/ 2147483647 w 321"/>
              <a:gd name="T63" fmla="*/ 2147483647 h 396"/>
              <a:gd name="T64" fmla="*/ 2147483647 w 321"/>
              <a:gd name="T65" fmla="*/ 2147483647 h 396"/>
              <a:gd name="T66" fmla="*/ 2147483647 w 321"/>
              <a:gd name="T67" fmla="*/ 2147483647 h 396"/>
              <a:gd name="T68" fmla="*/ 2147483647 w 321"/>
              <a:gd name="T69" fmla="*/ 2147483647 h 396"/>
              <a:gd name="T70" fmla="*/ 2147483647 w 321"/>
              <a:gd name="T71" fmla="*/ 2147483647 h 396"/>
              <a:gd name="T72" fmla="*/ 2147483647 w 321"/>
              <a:gd name="T73" fmla="*/ 2147483647 h 396"/>
              <a:gd name="T74" fmla="*/ 2147483647 w 321"/>
              <a:gd name="T75" fmla="*/ 2147483647 h 396"/>
              <a:gd name="T76" fmla="*/ 2147483647 w 321"/>
              <a:gd name="T77" fmla="*/ 2147483647 h 396"/>
              <a:gd name="T78" fmla="*/ 2147483647 w 321"/>
              <a:gd name="T79" fmla="*/ 2147483647 h 396"/>
              <a:gd name="T80" fmla="*/ 2147483647 w 321"/>
              <a:gd name="T81" fmla="*/ 2147483647 h 396"/>
              <a:gd name="T82" fmla="*/ 2147483647 w 321"/>
              <a:gd name="T83" fmla="*/ 2147483647 h 396"/>
              <a:gd name="T84" fmla="*/ 2147483647 w 321"/>
              <a:gd name="T85" fmla="*/ 2147483647 h 3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1"/>
              <a:gd name="T130" fmla="*/ 0 h 396"/>
              <a:gd name="T131" fmla="*/ 321 w 321"/>
              <a:gd name="T132" fmla="*/ 396 h 3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1" h="396">
                <a:moveTo>
                  <a:pt x="217" y="362"/>
                </a:moveTo>
                <a:lnTo>
                  <a:pt x="217" y="358"/>
                </a:lnTo>
                <a:lnTo>
                  <a:pt x="228" y="343"/>
                </a:lnTo>
                <a:lnTo>
                  <a:pt x="237" y="324"/>
                </a:lnTo>
                <a:lnTo>
                  <a:pt x="252" y="304"/>
                </a:lnTo>
                <a:lnTo>
                  <a:pt x="277" y="280"/>
                </a:lnTo>
                <a:lnTo>
                  <a:pt x="291" y="271"/>
                </a:lnTo>
                <a:lnTo>
                  <a:pt x="306" y="261"/>
                </a:lnTo>
                <a:lnTo>
                  <a:pt x="321" y="256"/>
                </a:lnTo>
                <a:lnTo>
                  <a:pt x="321" y="246"/>
                </a:lnTo>
                <a:lnTo>
                  <a:pt x="316" y="237"/>
                </a:lnTo>
                <a:lnTo>
                  <a:pt x="306" y="231"/>
                </a:lnTo>
                <a:lnTo>
                  <a:pt x="286" y="227"/>
                </a:lnTo>
                <a:lnTo>
                  <a:pt x="277" y="212"/>
                </a:lnTo>
                <a:lnTo>
                  <a:pt x="271" y="203"/>
                </a:lnTo>
                <a:lnTo>
                  <a:pt x="267" y="197"/>
                </a:lnTo>
                <a:lnTo>
                  <a:pt x="271" y="193"/>
                </a:lnTo>
                <a:lnTo>
                  <a:pt x="282" y="193"/>
                </a:lnTo>
                <a:lnTo>
                  <a:pt x="277" y="178"/>
                </a:lnTo>
                <a:lnTo>
                  <a:pt x="277" y="163"/>
                </a:lnTo>
                <a:lnTo>
                  <a:pt x="277" y="149"/>
                </a:lnTo>
                <a:lnTo>
                  <a:pt x="271" y="135"/>
                </a:lnTo>
                <a:lnTo>
                  <a:pt x="267" y="116"/>
                </a:lnTo>
                <a:lnTo>
                  <a:pt x="271" y="96"/>
                </a:lnTo>
                <a:lnTo>
                  <a:pt x="277" y="87"/>
                </a:lnTo>
                <a:lnTo>
                  <a:pt x="277" y="72"/>
                </a:lnTo>
                <a:lnTo>
                  <a:pt x="271" y="53"/>
                </a:lnTo>
                <a:lnTo>
                  <a:pt x="267" y="48"/>
                </a:lnTo>
                <a:lnTo>
                  <a:pt x="257" y="43"/>
                </a:lnTo>
                <a:lnTo>
                  <a:pt x="252" y="34"/>
                </a:lnTo>
                <a:lnTo>
                  <a:pt x="242" y="14"/>
                </a:lnTo>
                <a:lnTo>
                  <a:pt x="242" y="9"/>
                </a:lnTo>
                <a:lnTo>
                  <a:pt x="237" y="0"/>
                </a:lnTo>
                <a:lnTo>
                  <a:pt x="208" y="28"/>
                </a:lnTo>
                <a:lnTo>
                  <a:pt x="208" y="23"/>
                </a:lnTo>
                <a:lnTo>
                  <a:pt x="197" y="19"/>
                </a:lnTo>
                <a:lnTo>
                  <a:pt x="188" y="14"/>
                </a:lnTo>
                <a:lnTo>
                  <a:pt x="173" y="14"/>
                </a:lnTo>
                <a:lnTo>
                  <a:pt x="158" y="19"/>
                </a:lnTo>
                <a:lnTo>
                  <a:pt x="143" y="23"/>
                </a:lnTo>
                <a:lnTo>
                  <a:pt x="128" y="28"/>
                </a:lnTo>
                <a:lnTo>
                  <a:pt x="124" y="28"/>
                </a:lnTo>
                <a:lnTo>
                  <a:pt x="119" y="28"/>
                </a:lnTo>
                <a:lnTo>
                  <a:pt x="109" y="23"/>
                </a:lnTo>
                <a:lnTo>
                  <a:pt x="94" y="19"/>
                </a:lnTo>
                <a:lnTo>
                  <a:pt x="85" y="19"/>
                </a:lnTo>
                <a:lnTo>
                  <a:pt x="74" y="19"/>
                </a:lnTo>
                <a:lnTo>
                  <a:pt x="64" y="19"/>
                </a:lnTo>
                <a:lnTo>
                  <a:pt x="59" y="23"/>
                </a:lnTo>
                <a:lnTo>
                  <a:pt x="59" y="34"/>
                </a:lnTo>
                <a:lnTo>
                  <a:pt x="70" y="57"/>
                </a:lnTo>
                <a:lnTo>
                  <a:pt x="70" y="72"/>
                </a:lnTo>
                <a:lnTo>
                  <a:pt x="59" y="82"/>
                </a:lnTo>
                <a:lnTo>
                  <a:pt x="50" y="91"/>
                </a:lnTo>
                <a:lnTo>
                  <a:pt x="50" y="101"/>
                </a:lnTo>
                <a:lnTo>
                  <a:pt x="59" y="116"/>
                </a:lnTo>
                <a:lnTo>
                  <a:pt x="64" y="129"/>
                </a:lnTo>
                <a:lnTo>
                  <a:pt x="59" y="135"/>
                </a:lnTo>
                <a:lnTo>
                  <a:pt x="50" y="140"/>
                </a:lnTo>
                <a:lnTo>
                  <a:pt x="35" y="155"/>
                </a:lnTo>
                <a:lnTo>
                  <a:pt x="31" y="169"/>
                </a:lnTo>
                <a:lnTo>
                  <a:pt x="31" y="183"/>
                </a:lnTo>
                <a:lnTo>
                  <a:pt x="35" y="197"/>
                </a:lnTo>
                <a:lnTo>
                  <a:pt x="25" y="212"/>
                </a:lnTo>
                <a:lnTo>
                  <a:pt x="16" y="237"/>
                </a:lnTo>
                <a:lnTo>
                  <a:pt x="5" y="256"/>
                </a:lnTo>
                <a:lnTo>
                  <a:pt x="0" y="275"/>
                </a:lnTo>
                <a:lnTo>
                  <a:pt x="5" y="294"/>
                </a:lnTo>
                <a:lnTo>
                  <a:pt x="20" y="309"/>
                </a:lnTo>
                <a:lnTo>
                  <a:pt x="44" y="324"/>
                </a:lnTo>
                <a:lnTo>
                  <a:pt x="59" y="328"/>
                </a:lnTo>
                <a:lnTo>
                  <a:pt x="64" y="328"/>
                </a:lnTo>
                <a:lnTo>
                  <a:pt x="64" y="333"/>
                </a:lnTo>
                <a:lnTo>
                  <a:pt x="64" y="338"/>
                </a:lnTo>
                <a:lnTo>
                  <a:pt x="74" y="338"/>
                </a:lnTo>
                <a:lnTo>
                  <a:pt x="85" y="348"/>
                </a:lnTo>
                <a:lnTo>
                  <a:pt x="109" y="358"/>
                </a:lnTo>
                <a:lnTo>
                  <a:pt x="133" y="372"/>
                </a:lnTo>
                <a:lnTo>
                  <a:pt x="148" y="381"/>
                </a:lnTo>
                <a:lnTo>
                  <a:pt x="158" y="392"/>
                </a:lnTo>
                <a:lnTo>
                  <a:pt x="163" y="396"/>
                </a:lnTo>
                <a:lnTo>
                  <a:pt x="167" y="392"/>
                </a:lnTo>
                <a:lnTo>
                  <a:pt x="178" y="386"/>
                </a:lnTo>
                <a:lnTo>
                  <a:pt x="193" y="377"/>
                </a:lnTo>
                <a:lnTo>
                  <a:pt x="202" y="367"/>
                </a:lnTo>
                <a:lnTo>
                  <a:pt x="208" y="362"/>
                </a:lnTo>
                <a:lnTo>
                  <a:pt x="217" y="362"/>
                </a:lnTo>
                <a:close/>
              </a:path>
            </a:pathLst>
          </a:custGeom>
          <a:solidFill>
            <a:srgbClr val="005027"/>
          </a:solidFill>
          <a:ln w="9525">
            <a:solidFill>
              <a:schemeClr val="bg1"/>
            </a:solidFill>
            <a:round/>
            <a:headEnd/>
            <a:tailEnd/>
          </a:ln>
        </p:spPr>
        <p:txBody>
          <a:bodyPr/>
          <a:lstStyle/>
          <a:p>
            <a:endParaRPr lang="ro-RO"/>
          </a:p>
        </p:txBody>
      </p:sp>
      <p:sp>
        <p:nvSpPr>
          <p:cNvPr id="12326" name="Freeform 36"/>
          <p:cNvSpPr>
            <a:spLocks noEditPoints="1"/>
          </p:cNvSpPr>
          <p:nvPr/>
        </p:nvSpPr>
        <p:spPr bwMode="auto">
          <a:xfrm>
            <a:off x="4032250" y="4502150"/>
            <a:ext cx="419100" cy="555625"/>
          </a:xfrm>
          <a:custGeom>
            <a:avLst/>
            <a:gdLst>
              <a:gd name="T0" fmla="*/ 2147483647 w 1024"/>
              <a:gd name="T1" fmla="*/ 2147483647 h 1265"/>
              <a:gd name="T2" fmla="*/ 2147483647 w 1024"/>
              <a:gd name="T3" fmla="*/ 2147483647 h 1265"/>
              <a:gd name="T4" fmla="*/ 2147483647 w 1024"/>
              <a:gd name="T5" fmla="*/ 2147483647 h 1265"/>
              <a:gd name="T6" fmla="*/ 2147483647 w 1024"/>
              <a:gd name="T7" fmla="*/ 2147483647 h 1265"/>
              <a:gd name="T8" fmla="*/ 2147483647 w 1024"/>
              <a:gd name="T9" fmla="*/ 2147483647 h 1265"/>
              <a:gd name="T10" fmla="*/ 2147483647 w 1024"/>
              <a:gd name="T11" fmla="*/ 2147483647 h 1265"/>
              <a:gd name="T12" fmla="*/ 2147483647 w 1024"/>
              <a:gd name="T13" fmla="*/ 2147483647 h 1265"/>
              <a:gd name="T14" fmla="*/ 2147483647 w 1024"/>
              <a:gd name="T15" fmla="*/ 2147483647 h 1265"/>
              <a:gd name="T16" fmla="*/ 2147483647 w 1024"/>
              <a:gd name="T17" fmla="*/ 2147483647 h 1265"/>
              <a:gd name="T18" fmla="*/ 2147483647 w 1024"/>
              <a:gd name="T19" fmla="*/ 2147483647 h 1265"/>
              <a:gd name="T20" fmla="*/ 2147483647 w 1024"/>
              <a:gd name="T21" fmla="*/ 2147483647 h 1265"/>
              <a:gd name="T22" fmla="*/ 2147483647 w 1024"/>
              <a:gd name="T23" fmla="*/ 2147483647 h 1265"/>
              <a:gd name="T24" fmla="*/ 2147483647 w 1024"/>
              <a:gd name="T25" fmla="*/ 2147483647 h 1265"/>
              <a:gd name="T26" fmla="*/ 2147483647 w 1024"/>
              <a:gd name="T27" fmla="*/ 2147483647 h 1265"/>
              <a:gd name="T28" fmla="*/ 2147483647 w 1024"/>
              <a:gd name="T29" fmla="*/ 2147483647 h 1265"/>
              <a:gd name="T30" fmla="*/ 2147483647 w 1024"/>
              <a:gd name="T31" fmla="*/ 2147483647 h 1265"/>
              <a:gd name="T32" fmla="*/ 2147483647 w 1024"/>
              <a:gd name="T33" fmla="*/ 2147483647 h 1265"/>
              <a:gd name="T34" fmla="*/ 2147483647 w 1024"/>
              <a:gd name="T35" fmla="*/ 2147483647 h 1265"/>
              <a:gd name="T36" fmla="*/ 2147483647 w 1024"/>
              <a:gd name="T37" fmla="*/ 2147483647 h 1265"/>
              <a:gd name="T38" fmla="*/ 2147483647 w 1024"/>
              <a:gd name="T39" fmla="*/ 2147483647 h 1265"/>
              <a:gd name="T40" fmla="*/ 2147483647 w 1024"/>
              <a:gd name="T41" fmla="*/ 2147483647 h 1265"/>
              <a:gd name="T42" fmla="*/ 2147483647 w 1024"/>
              <a:gd name="T43" fmla="*/ 2147483647 h 1265"/>
              <a:gd name="T44" fmla="*/ 2147483647 w 1024"/>
              <a:gd name="T45" fmla="*/ 2147483647 h 1265"/>
              <a:gd name="T46" fmla="*/ 2147483647 w 1024"/>
              <a:gd name="T47" fmla="*/ 2147483647 h 1265"/>
              <a:gd name="T48" fmla="*/ 2147483647 w 1024"/>
              <a:gd name="T49" fmla="*/ 2147483647 h 1265"/>
              <a:gd name="T50" fmla="*/ 2147483647 w 1024"/>
              <a:gd name="T51" fmla="*/ 2147483647 h 1265"/>
              <a:gd name="T52" fmla="*/ 2147483647 w 1024"/>
              <a:gd name="T53" fmla="*/ 2147483647 h 1265"/>
              <a:gd name="T54" fmla="*/ 2147483647 w 1024"/>
              <a:gd name="T55" fmla="*/ 2147483647 h 1265"/>
              <a:gd name="T56" fmla="*/ 2147483647 w 1024"/>
              <a:gd name="T57" fmla="*/ 2147483647 h 1265"/>
              <a:gd name="T58" fmla="*/ 2147483647 w 1024"/>
              <a:gd name="T59" fmla="*/ 2147483647 h 1265"/>
              <a:gd name="T60" fmla="*/ 2147483647 w 1024"/>
              <a:gd name="T61" fmla="*/ 2147483647 h 1265"/>
              <a:gd name="T62" fmla="*/ 2147483647 w 1024"/>
              <a:gd name="T63" fmla="*/ 2147483647 h 1265"/>
              <a:gd name="T64" fmla="*/ 2147483647 w 1024"/>
              <a:gd name="T65" fmla="*/ 2147483647 h 1265"/>
              <a:gd name="T66" fmla="*/ 2147483647 w 1024"/>
              <a:gd name="T67" fmla="*/ 2147483647 h 1265"/>
              <a:gd name="T68" fmla="*/ 2147483647 w 1024"/>
              <a:gd name="T69" fmla="*/ 2147483647 h 1265"/>
              <a:gd name="T70" fmla="*/ 2147483647 w 1024"/>
              <a:gd name="T71" fmla="*/ 2147483647 h 1265"/>
              <a:gd name="T72" fmla="*/ 2147483647 w 1024"/>
              <a:gd name="T73" fmla="*/ 2147483647 h 1265"/>
              <a:gd name="T74" fmla="*/ 2147483647 w 1024"/>
              <a:gd name="T75" fmla="*/ 2147483647 h 1265"/>
              <a:gd name="T76" fmla="*/ 2147483647 w 1024"/>
              <a:gd name="T77" fmla="*/ 2147483647 h 1265"/>
              <a:gd name="T78" fmla="*/ 2147483647 w 1024"/>
              <a:gd name="T79" fmla="*/ 2147483647 h 1265"/>
              <a:gd name="T80" fmla="*/ 2147483647 w 1024"/>
              <a:gd name="T81" fmla="*/ 2147483647 h 1265"/>
              <a:gd name="T82" fmla="*/ 2147483647 w 1024"/>
              <a:gd name="T83" fmla="*/ 2147483647 h 1265"/>
              <a:gd name="T84" fmla="*/ 2147483647 w 1024"/>
              <a:gd name="T85" fmla="*/ 2147483647 h 1265"/>
              <a:gd name="T86" fmla="*/ 2147483647 w 1024"/>
              <a:gd name="T87" fmla="*/ 2147483647 h 1265"/>
              <a:gd name="T88" fmla="*/ 2147483647 w 1024"/>
              <a:gd name="T89" fmla="*/ 2147483647 h 1265"/>
              <a:gd name="T90" fmla="*/ 2147483647 w 1024"/>
              <a:gd name="T91" fmla="*/ 2147483647 h 1265"/>
              <a:gd name="T92" fmla="*/ 2147483647 w 1024"/>
              <a:gd name="T93" fmla="*/ 2147483647 h 1265"/>
              <a:gd name="T94" fmla="*/ 2147483647 w 1024"/>
              <a:gd name="T95" fmla="*/ 2147483647 h 1265"/>
              <a:gd name="T96" fmla="*/ 2147483647 w 1024"/>
              <a:gd name="T97" fmla="*/ 2147483647 h 1265"/>
              <a:gd name="T98" fmla="*/ 2147483647 w 1024"/>
              <a:gd name="T99" fmla="*/ 2147483647 h 1265"/>
              <a:gd name="T100" fmla="*/ 2147483647 w 1024"/>
              <a:gd name="T101" fmla="*/ 2147483647 h 1265"/>
              <a:gd name="T102" fmla="*/ 2147483647 w 1024"/>
              <a:gd name="T103" fmla="*/ 2147483647 h 1265"/>
              <a:gd name="T104" fmla="*/ 2147483647 w 1024"/>
              <a:gd name="T105" fmla="*/ 2147483647 h 1265"/>
              <a:gd name="T106" fmla="*/ 2147483647 w 1024"/>
              <a:gd name="T107" fmla="*/ 2147483647 h 1265"/>
              <a:gd name="T108" fmla="*/ 2147483647 w 1024"/>
              <a:gd name="T109" fmla="*/ 2147483647 h 1265"/>
              <a:gd name="T110" fmla="*/ 2147483647 w 1024"/>
              <a:gd name="T111" fmla="*/ 2147483647 h 1265"/>
              <a:gd name="T112" fmla="*/ 2147483647 w 1024"/>
              <a:gd name="T113" fmla="*/ 2147483647 h 1265"/>
              <a:gd name="T114" fmla="*/ 2147483647 w 1024"/>
              <a:gd name="T115" fmla="*/ 2147483647 h 1265"/>
              <a:gd name="T116" fmla="*/ 2147483647 w 1024"/>
              <a:gd name="T117" fmla="*/ 2147483647 h 1265"/>
              <a:gd name="T118" fmla="*/ 2147483647 w 1024"/>
              <a:gd name="T119" fmla="*/ 2147483647 h 1265"/>
              <a:gd name="T120" fmla="*/ 2147483647 w 1024"/>
              <a:gd name="T121" fmla="*/ 2147483647 h 1265"/>
              <a:gd name="T122" fmla="*/ 2147483647 w 1024"/>
              <a:gd name="T123" fmla="*/ 2147483647 h 126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24"/>
              <a:gd name="T187" fmla="*/ 0 h 1265"/>
              <a:gd name="T188" fmla="*/ 1024 w 1024"/>
              <a:gd name="T189" fmla="*/ 1265 h 126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24" h="1265">
                <a:moveTo>
                  <a:pt x="690" y="1142"/>
                </a:moveTo>
                <a:lnTo>
                  <a:pt x="682" y="1150"/>
                </a:lnTo>
                <a:lnTo>
                  <a:pt x="682" y="1136"/>
                </a:lnTo>
                <a:cubicBezTo>
                  <a:pt x="682" y="1134"/>
                  <a:pt x="683" y="1132"/>
                  <a:pt x="684" y="1131"/>
                </a:cubicBezTo>
                <a:lnTo>
                  <a:pt x="716" y="1085"/>
                </a:lnTo>
                <a:lnTo>
                  <a:pt x="716" y="1086"/>
                </a:lnTo>
                <a:lnTo>
                  <a:pt x="745" y="1025"/>
                </a:lnTo>
                <a:cubicBezTo>
                  <a:pt x="745" y="1025"/>
                  <a:pt x="745" y="1024"/>
                  <a:pt x="745" y="1024"/>
                </a:cubicBezTo>
                <a:lnTo>
                  <a:pt x="793" y="964"/>
                </a:lnTo>
                <a:lnTo>
                  <a:pt x="873" y="885"/>
                </a:lnTo>
                <a:cubicBezTo>
                  <a:pt x="873" y="884"/>
                  <a:pt x="874" y="884"/>
                  <a:pt x="874" y="884"/>
                </a:cubicBezTo>
                <a:lnTo>
                  <a:pt x="918" y="855"/>
                </a:lnTo>
                <a:lnTo>
                  <a:pt x="965" y="823"/>
                </a:lnTo>
                <a:cubicBezTo>
                  <a:pt x="966" y="823"/>
                  <a:pt x="966" y="822"/>
                  <a:pt x="967" y="822"/>
                </a:cubicBezTo>
                <a:lnTo>
                  <a:pt x="1014" y="808"/>
                </a:lnTo>
                <a:lnTo>
                  <a:pt x="1008" y="816"/>
                </a:lnTo>
                <a:lnTo>
                  <a:pt x="1008" y="784"/>
                </a:lnTo>
                <a:lnTo>
                  <a:pt x="1009" y="787"/>
                </a:lnTo>
                <a:lnTo>
                  <a:pt x="995" y="759"/>
                </a:lnTo>
                <a:lnTo>
                  <a:pt x="998" y="762"/>
                </a:lnTo>
                <a:lnTo>
                  <a:pt x="965" y="744"/>
                </a:lnTo>
                <a:lnTo>
                  <a:pt x="968" y="745"/>
                </a:lnTo>
                <a:lnTo>
                  <a:pt x="906" y="731"/>
                </a:lnTo>
                <a:cubicBezTo>
                  <a:pt x="904" y="730"/>
                  <a:pt x="902" y="729"/>
                  <a:pt x="901" y="727"/>
                </a:cubicBezTo>
                <a:lnTo>
                  <a:pt x="872" y="681"/>
                </a:lnTo>
                <a:lnTo>
                  <a:pt x="854" y="653"/>
                </a:lnTo>
                <a:lnTo>
                  <a:pt x="840" y="636"/>
                </a:lnTo>
                <a:cubicBezTo>
                  <a:pt x="837" y="633"/>
                  <a:pt x="837" y="628"/>
                  <a:pt x="840" y="625"/>
                </a:cubicBezTo>
                <a:lnTo>
                  <a:pt x="855" y="611"/>
                </a:lnTo>
                <a:cubicBezTo>
                  <a:pt x="856" y="609"/>
                  <a:pt x="858" y="608"/>
                  <a:pt x="861" y="608"/>
                </a:cubicBezTo>
                <a:lnTo>
                  <a:pt x="893" y="608"/>
                </a:lnTo>
                <a:lnTo>
                  <a:pt x="886" y="619"/>
                </a:lnTo>
                <a:lnTo>
                  <a:pt x="871" y="573"/>
                </a:lnTo>
                <a:cubicBezTo>
                  <a:pt x="871" y="572"/>
                  <a:pt x="871" y="571"/>
                  <a:pt x="871" y="570"/>
                </a:cubicBezTo>
                <a:lnTo>
                  <a:pt x="871" y="524"/>
                </a:lnTo>
                <a:lnTo>
                  <a:pt x="871" y="478"/>
                </a:lnTo>
                <a:lnTo>
                  <a:pt x="871" y="481"/>
                </a:lnTo>
                <a:lnTo>
                  <a:pt x="853" y="438"/>
                </a:lnTo>
                <a:cubicBezTo>
                  <a:pt x="853" y="438"/>
                  <a:pt x="853" y="437"/>
                  <a:pt x="853" y="437"/>
                </a:cubicBezTo>
                <a:lnTo>
                  <a:pt x="838" y="377"/>
                </a:lnTo>
                <a:cubicBezTo>
                  <a:pt x="838" y="375"/>
                  <a:pt x="838" y="374"/>
                  <a:pt x="838" y="373"/>
                </a:cubicBezTo>
                <a:lnTo>
                  <a:pt x="853" y="309"/>
                </a:lnTo>
                <a:cubicBezTo>
                  <a:pt x="853" y="308"/>
                  <a:pt x="853" y="307"/>
                  <a:pt x="854" y="306"/>
                </a:cubicBezTo>
                <a:lnTo>
                  <a:pt x="872" y="278"/>
                </a:lnTo>
                <a:lnTo>
                  <a:pt x="871" y="282"/>
                </a:lnTo>
                <a:lnTo>
                  <a:pt x="871" y="236"/>
                </a:lnTo>
                <a:lnTo>
                  <a:pt x="871" y="238"/>
                </a:lnTo>
                <a:lnTo>
                  <a:pt x="853" y="178"/>
                </a:lnTo>
                <a:lnTo>
                  <a:pt x="855" y="181"/>
                </a:lnTo>
                <a:lnTo>
                  <a:pt x="840" y="167"/>
                </a:lnTo>
                <a:lnTo>
                  <a:pt x="842" y="168"/>
                </a:lnTo>
                <a:lnTo>
                  <a:pt x="813" y="150"/>
                </a:lnTo>
                <a:cubicBezTo>
                  <a:pt x="812" y="150"/>
                  <a:pt x="811" y="149"/>
                  <a:pt x="810" y="148"/>
                </a:cubicBezTo>
                <a:lnTo>
                  <a:pt x="792" y="119"/>
                </a:lnTo>
                <a:lnTo>
                  <a:pt x="763" y="58"/>
                </a:lnTo>
                <a:cubicBezTo>
                  <a:pt x="762" y="57"/>
                  <a:pt x="762" y="56"/>
                  <a:pt x="762" y="55"/>
                </a:cubicBezTo>
                <a:lnTo>
                  <a:pt x="762" y="37"/>
                </a:lnTo>
                <a:lnTo>
                  <a:pt x="763" y="41"/>
                </a:lnTo>
                <a:lnTo>
                  <a:pt x="745" y="13"/>
                </a:lnTo>
                <a:lnTo>
                  <a:pt x="757" y="14"/>
                </a:lnTo>
                <a:lnTo>
                  <a:pt x="667" y="103"/>
                </a:lnTo>
                <a:cubicBezTo>
                  <a:pt x="664" y="105"/>
                  <a:pt x="661" y="106"/>
                  <a:pt x="658" y="105"/>
                </a:cubicBezTo>
                <a:cubicBezTo>
                  <a:pt x="655" y="103"/>
                  <a:pt x="653" y="101"/>
                  <a:pt x="653" y="97"/>
                </a:cubicBezTo>
                <a:lnTo>
                  <a:pt x="653" y="83"/>
                </a:lnTo>
                <a:lnTo>
                  <a:pt x="658" y="90"/>
                </a:lnTo>
                <a:lnTo>
                  <a:pt x="625" y="76"/>
                </a:lnTo>
                <a:lnTo>
                  <a:pt x="596" y="62"/>
                </a:lnTo>
                <a:lnTo>
                  <a:pt x="599" y="63"/>
                </a:lnTo>
                <a:lnTo>
                  <a:pt x="552" y="63"/>
                </a:lnTo>
                <a:lnTo>
                  <a:pt x="555" y="62"/>
                </a:lnTo>
                <a:lnTo>
                  <a:pt x="508" y="77"/>
                </a:lnTo>
                <a:lnTo>
                  <a:pt x="460" y="91"/>
                </a:lnTo>
                <a:lnTo>
                  <a:pt x="413" y="105"/>
                </a:lnTo>
                <a:cubicBezTo>
                  <a:pt x="413" y="105"/>
                  <a:pt x="412" y="105"/>
                  <a:pt x="411" y="105"/>
                </a:cubicBezTo>
                <a:lnTo>
                  <a:pt x="396" y="105"/>
                </a:lnTo>
                <a:lnTo>
                  <a:pt x="382" y="105"/>
                </a:lnTo>
                <a:cubicBezTo>
                  <a:pt x="381" y="105"/>
                  <a:pt x="380" y="105"/>
                  <a:pt x="379" y="105"/>
                </a:cubicBezTo>
                <a:lnTo>
                  <a:pt x="346" y="90"/>
                </a:lnTo>
                <a:lnTo>
                  <a:pt x="300" y="77"/>
                </a:lnTo>
                <a:lnTo>
                  <a:pt x="302" y="77"/>
                </a:lnTo>
                <a:lnTo>
                  <a:pt x="273" y="77"/>
                </a:lnTo>
                <a:lnTo>
                  <a:pt x="241" y="77"/>
                </a:lnTo>
                <a:lnTo>
                  <a:pt x="208" y="77"/>
                </a:lnTo>
                <a:lnTo>
                  <a:pt x="213" y="75"/>
                </a:lnTo>
                <a:lnTo>
                  <a:pt x="199" y="89"/>
                </a:lnTo>
                <a:lnTo>
                  <a:pt x="201" y="83"/>
                </a:lnTo>
                <a:lnTo>
                  <a:pt x="201" y="115"/>
                </a:lnTo>
                <a:lnTo>
                  <a:pt x="201" y="112"/>
                </a:lnTo>
                <a:lnTo>
                  <a:pt x="233" y="187"/>
                </a:lnTo>
                <a:cubicBezTo>
                  <a:pt x="234" y="188"/>
                  <a:pt x="234" y="189"/>
                  <a:pt x="234" y="190"/>
                </a:cubicBezTo>
                <a:lnTo>
                  <a:pt x="234" y="236"/>
                </a:lnTo>
                <a:cubicBezTo>
                  <a:pt x="234" y="238"/>
                  <a:pt x="233" y="240"/>
                  <a:pt x="232" y="242"/>
                </a:cubicBezTo>
                <a:lnTo>
                  <a:pt x="199" y="274"/>
                </a:lnTo>
                <a:lnTo>
                  <a:pt x="170" y="302"/>
                </a:lnTo>
                <a:lnTo>
                  <a:pt x="172" y="296"/>
                </a:lnTo>
                <a:lnTo>
                  <a:pt x="172" y="328"/>
                </a:lnTo>
                <a:lnTo>
                  <a:pt x="171" y="324"/>
                </a:lnTo>
                <a:lnTo>
                  <a:pt x="200" y="370"/>
                </a:lnTo>
                <a:cubicBezTo>
                  <a:pt x="200" y="371"/>
                  <a:pt x="201" y="372"/>
                  <a:pt x="201" y="372"/>
                </a:cubicBezTo>
                <a:lnTo>
                  <a:pt x="215" y="415"/>
                </a:lnTo>
                <a:cubicBezTo>
                  <a:pt x="216" y="417"/>
                  <a:pt x="216" y="420"/>
                  <a:pt x="214" y="422"/>
                </a:cubicBezTo>
                <a:lnTo>
                  <a:pt x="200" y="440"/>
                </a:lnTo>
                <a:cubicBezTo>
                  <a:pt x="199" y="441"/>
                  <a:pt x="198" y="442"/>
                  <a:pt x="197" y="442"/>
                </a:cubicBezTo>
                <a:lnTo>
                  <a:pt x="168" y="457"/>
                </a:lnTo>
                <a:lnTo>
                  <a:pt x="170" y="455"/>
                </a:lnTo>
                <a:lnTo>
                  <a:pt x="123" y="501"/>
                </a:lnTo>
                <a:lnTo>
                  <a:pt x="125" y="498"/>
                </a:lnTo>
                <a:lnTo>
                  <a:pt x="110" y="544"/>
                </a:lnTo>
                <a:lnTo>
                  <a:pt x="111" y="542"/>
                </a:lnTo>
                <a:lnTo>
                  <a:pt x="111" y="584"/>
                </a:lnTo>
                <a:lnTo>
                  <a:pt x="110" y="582"/>
                </a:lnTo>
                <a:lnTo>
                  <a:pt x="125" y="628"/>
                </a:lnTo>
                <a:cubicBezTo>
                  <a:pt x="126" y="631"/>
                  <a:pt x="125" y="633"/>
                  <a:pt x="124" y="635"/>
                </a:cubicBezTo>
                <a:lnTo>
                  <a:pt x="91" y="682"/>
                </a:lnTo>
                <a:lnTo>
                  <a:pt x="92" y="680"/>
                </a:lnTo>
                <a:lnTo>
                  <a:pt x="63" y="758"/>
                </a:lnTo>
                <a:lnTo>
                  <a:pt x="30" y="819"/>
                </a:lnTo>
                <a:lnTo>
                  <a:pt x="31" y="817"/>
                </a:lnTo>
                <a:lnTo>
                  <a:pt x="16" y="878"/>
                </a:lnTo>
                <a:lnTo>
                  <a:pt x="16" y="874"/>
                </a:lnTo>
                <a:lnTo>
                  <a:pt x="31" y="935"/>
                </a:lnTo>
                <a:lnTo>
                  <a:pt x="29" y="931"/>
                </a:lnTo>
                <a:lnTo>
                  <a:pt x="76" y="977"/>
                </a:lnTo>
                <a:lnTo>
                  <a:pt x="74" y="976"/>
                </a:lnTo>
                <a:lnTo>
                  <a:pt x="150" y="1022"/>
                </a:lnTo>
                <a:lnTo>
                  <a:pt x="149" y="1021"/>
                </a:lnTo>
                <a:lnTo>
                  <a:pt x="196" y="1035"/>
                </a:lnTo>
                <a:lnTo>
                  <a:pt x="193" y="1035"/>
                </a:lnTo>
                <a:lnTo>
                  <a:pt x="208" y="1035"/>
                </a:lnTo>
                <a:cubicBezTo>
                  <a:pt x="212" y="1035"/>
                  <a:pt x="216" y="1039"/>
                  <a:pt x="216" y="1043"/>
                </a:cubicBezTo>
                <a:lnTo>
                  <a:pt x="216" y="1057"/>
                </a:lnTo>
                <a:lnTo>
                  <a:pt x="216" y="1075"/>
                </a:lnTo>
                <a:lnTo>
                  <a:pt x="208" y="1067"/>
                </a:lnTo>
                <a:lnTo>
                  <a:pt x="241" y="1067"/>
                </a:lnTo>
                <a:cubicBezTo>
                  <a:pt x="242" y="1067"/>
                  <a:pt x="244" y="1068"/>
                  <a:pt x="246" y="1069"/>
                </a:cubicBezTo>
                <a:lnTo>
                  <a:pt x="278" y="1098"/>
                </a:lnTo>
                <a:lnTo>
                  <a:pt x="276" y="1096"/>
                </a:lnTo>
                <a:lnTo>
                  <a:pt x="352" y="1128"/>
                </a:lnTo>
                <a:cubicBezTo>
                  <a:pt x="353" y="1128"/>
                  <a:pt x="353" y="1129"/>
                  <a:pt x="353" y="1129"/>
                </a:cubicBezTo>
                <a:lnTo>
                  <a:pt x="430" y="1175"/>
                </a:lnTo>
                <a:lnTo>
                  <a:pt x="477" y="1203"/>
                </a:lnTo>
                <a:cubicBezTo>
                  <a:pt x="477" y="1204"/>
                  <a:pt x="478" y="1204"/>
                  <a:pt x="478" y="1205"/>
                </a:cubicBezTo>
                <a:lnTo>
                  <a:pt x="511" y="1237"/>
                </a:lnTo>
                <a:lnTo>
                  <a:pt x="525" y="1251"/>
                </a:lnTo>
                <a:lnTo>
                  <a:pt x="514" y="1251"/>
                </a:lnTo>
                <a:lnTo>
                  <a:pt x="529" y="1237"/>
                </a:lnTo>
                <a:cubicBezTo>
                  <a:pt x="529" y="1236"/>
                  <a:pt x="530" y="1236"/>
                  <a:pt x="530" y="1235"/>
                </a:cubicBezTo>
                <a:lnTo>
                  <a:pt x="563" y="1217"/>
                </a:lnTo>
                <a:lnTo>
                  <a:pt x="610" y="1189"/>
                </a:lnTo>
                <a:lnTo>
                  <a:pt x="608" y="1191"/>
                </a:lnTo>
                <a:lnTo>
                  <a:pt x="637" y="1159"/>
                </a:lnTo>
                <a:cubicBezTo>
                  <a:pt x="637" y="1158"/>
                  <a:pt x="638" y="1158"/>
                  <a:pt x="638" y="1158"/>
                </a:cubicBezTo>
                <a:lnTo>
                  <a:pt x="656" y="1143"/>
                </a:lnTo>
                <a:cubicBezTo>
                  <a:pt x="658" y="1142"/>
                  <a:pt x="659" y="1142"/>
                  <a:pt x="661" y="1142"/>
                </a:cubicBezTo>
                <a:lnTo>
                  <a:pt x="690" y="1142"/>
                </a:lnTo>
                <a:close/>
                <a:moveTo>
                  <a:pt x="661" y="1158"/>
                </a:moveTo>
                <a:lnTo>
                  <a:pt x="666" y="1156"/>
                </a:lnTo>
                <a:lnTo>
                  <a:pt x="648" y="1170"/>
                </a:lnTo>
                <a:lnTo>
                  <a:pt x="649" y="1169"/>
                </a:lnTo>
                <a:lnTo>
                  <a:pt x="620" y="1201"/>
                </a:lnTo>
                <a:cubicBezTo>
                  <a:pt x="619" y="1202"/>
                  <a:pt x="619" y="1202"/>
                  <a:pt x="618" y="1203"/>
                </a:cubicBezTo>
                <a:lnTo>
                  <a:pt x="571" y="1231"/>
                </a:lnTo>
                <a:lnTo>
                  <a:pt x="538" y="1249"/>
                </a:lnTo>
                <a:lnTo>
                  <a:pt x="540" y="1248"/>
                </a:lnTo>
                <a:lnTo>
                  <a:pt x="525" y="1262"/>
                </a:lnTo>
                <a:cubicBezTo>
                  <a:pt x="522" y="1265"/>
                  <a:pt x="517" y="1265"/>
                  <a:pt x="514" y="1262"/>
                </a:cubicBezTo>
                <a:lnTo>
                  <a:pt x="500" y="1248"/>
                </a:lnTo>
                <a:lnTo>
                  <a:pt x="467" y="1216"/>
                </a:lnTo>
                <a:lnTo>
                  <a:pt x="468" y="1217"/>
                </a:lnTo>
                <a:lnTo>
                  <a:pt x="421" y="1189"/>
                </a:lnTo>
                <a:lnTo>
                  <a:pt x="345" y="1142"/>
                </a:lnTo>
                <a:lnTo>
                  <a:pt x="346" y="1143"/>
                </a:lnTo>
                <a:lnTo>
                  <a:pt x="270" y="1111"/>
                </a:lnTo>
                <a:cubicBezTo>
                  <a:pt x="269" y="1111"/>
                  <a:pt x="269" y="1110"/>
                  <a:pt x="268" y="1110"/>
                </a:cubicBezTo>
                <a:lnTo>
                  <a:pt x="235" y="1081"/>
                </a:lnTo>
                <a:lnTo>
                  <a:pt x="241" y="1083"/>
                </a:lnTo>
                <a:lnTo>
                  <a:pt x="208" y="1083"/>
                </a:lnTo>
                <a:cubicBezTo>
                  <a:pt x="203" y="1083"/>
                  <a:pt x="200" y="1080"/>
                  <a:pt x="200" y="1075"/>
                </a:cubicBezTo>
                <a:lnTo>
                  <a:pt x="200" y="1057"/>
                </a:lnTo>
                <a:lnTo>
                  <a:pt x="200" y="1043"/>
                </a:lnTo>
                <a:lnTo>
                  <a:pt x="208" y="1051"/>
                </a:lnTo>
                <a:lnTo>
                  <a:pt x="193" y="1051"/>
                </a:lnTo>
                <a:cubicBezTo>
                  <a:pt x="193" y="1051"/>
                  <a:pt x="192" y="1051"/>
                  <a:pt x="191" y="1051"/>
                </a:cubicBezTo>
                <a:lnTo>
                  <a:pt x="144" y="1037"/>
                </a:lnTo>
                <a:cubicBezTo>
                  <a:pt x="143" y="1036"/>
                  <a:pt x="143" y="1036"/>
                  <a:pt x="142" y="1036"/>
                </a:cubicBezTo>
                <a:lnTo>
                  <a:pt x="66" y="990"/>
                </a:lnTo>
                <a:cubicBezTo>
                  <a:pt x="65" y="989"/>
                  <a:pt x="65" y="989"/>
                  <a:pt x="64" y="988"/>
                </a:cubicBezTo>
                <a:lnTo>
                  <a:pt x="17" y="942"/>
                </a:lnTo>
                <a:cubicBezTo>
                  <a:pt x="16" y="941"/>
                  <a:pt x="16" y="940"/>
                  <a:pt x="15" y="938"/>
                </a:cubicBezTo>
                <a:lnTo>
                  <a:pt x="1" y="878"/>
                </a:lnTo>
                <a:cubicBezTo>
                  <a:pt x="0" y="877"/>
                  <a:pt x="0" y="875"/>
                  <a:pt x="1" y="874"/>
                </a:cubicBezTo>
                <a:lnTo>
                  <a:pt x="15" y="814"/>
                </a:lnTo>
                <a:cubicBezTo>
                  <a:pt x="15" y="813"/>
                  <a:pt x="16" y="812"/>
                  <a:pt x="16" y="812"/>
                </a:cubicBezTo>
                <a:lnTo>
                  <a:pt x="48" y="752"/>
                </a:lnTo>
                <a:lnTo>
                  <a:pt x="77" y="674"/>
                </a:lnTo>
                <a:cubicBezTo>
                  <a:pt x="77" y="673"/>
                  <a:pt x="78" y="673"/>
                  <a:pt x="78" y="672"/>
                </a:cubicBezTo>
                <a:lnTo>
                  <a:pt x="111" y="626"/>
                </a:lnTo>
                <a:lnTo>
                  <a:pt x="110" y="633"/>
                </a:lnTo>
                <a:lnTo>
                  <a:pt x="95" y="587"/>
                </a:lnTo>
                <a:cubicBezTo>
                  <a:pt x="95" y="586"/>
                  <a:pt x="95" y="585"/>
                  <a:pt x="95" y="584"/>
                </a:cubicBezTo>
                <a:lnTo>
                  <a:pt x="95" y="542"/>
                </a:lnTo>
                <a:cubicBezTo>
                  <a:pt x="95" y="541"/>
                  <a:pt x="95" y="540"/>
                  <a:pt x="95" y="539"/>
                </a:cubicBezTo>
                <a:lnTo>
                  <a:pt x="110" y="493"/>
                </a:lnTo>
                <a:cubicBezTo>
                  <a:pt x="110" y="492"/>
                  <a:pt x="111" y="491"/>
                  <a:pt x="112" y="490"/>
                </a:cubicBezTo>
                <a:lnTo>
                  <a:pt x="159" y="444"/>
                </a:lnTo>
                <a:cubicBezTo>
                  <a:pt x="159" y="443"/>
                  <a:pt x="160" y="443"/>
                  <a:pt x="161" y="442"/>
                </a:cubicBezTo>
                <a:lnTo>
                  <a:pt x="190" y="428"/>
                </a:lnTo>
                <a:lnTo>
                  <a:pt x="187" y="430"/>
                </a:lnTo>
                <a:lnTo>
                  <a:pt x="202" y="412"/>
                </a:lnTo>
                <a:lnTo>
                  <a:pt x="200" y="420"/>
                </a:lnTo>
                <a:lnTo>
                  <a:pt x="186" y="377"/>
                </a:lnTo>
                <a:lnTo>
                  <a:pt x="187" y="379"/>
                </a:lnTo>
                <a:lnTo>
                  <a:pt x="158" y="333"/>
                </a:lnTo>
                <a:cubicBezTo>
                  <a:pt x="157" y="331"/>
                  <a:pt x="156" y="330"/>
                  <a:pt x="156" y="328"/>
                </a:cubicBezTo>
                <a:lnTo>
                  <a:pt x="156" y="296"/>
                </a:lnTo>
                <a:cubicBezTo>
                  <a:pt x="156" y="294"/>
                  <a:pt x="157" y="292"/>
                  <a:pt x="159" y="291"/>
                </a:cubicBezTo>
                <a:lnTo>
                  <a:pt x="188" y="262"/>
                </a:lnTo>
                <a:lnTo>
                  <a:pt x="220" y="230"/>
                </a:lnTo>
                <a:lnTo>
                  <a:pt x="218" y="236"/>
                </a:lnTo>
                <a:lnTo>
                  <a:pt x="218" y="190"/>
                </a:lnTo>
                <a:lnTo>
                  <a:pt x="219" y="193"/>
                </a:lnTo>
                <a:lnTo>
                  <a:pt x="186" y="118"/>
                </a:lnTo>
                <a:cubicBezTo>
                  <a:pt x="186" y="117"/>
                  <a:pt x="185" y="116"/>
                  <a:pt x="185" y="115"/>
                </a:cubicBezTo>
                <a:lnTo>
                  <a:pt x="185" y="83"/>
                </a:lnTo>
                <a:cubicBezTo>
                  <a:pt x="185" y="81"/>
                  <a:pt x="186" y="79"/>
                  <a:pt x="188" y="77"/>
                </a:cubicBezTo>
                <a:lnTo>
                  <a:pt x="202" y="63"/>
                </a:lnTo>
                <a:cubicBezTo>
                  <a:pt x="204" y="62"/>
                  <a:pt x="206" y="61"/>
                  <a:pt x="208" y="61"/>
                </a:cubicBezTo>
                <a:lnTo>
                  <a:pt x="241" y="61"/>
                </a:lnTo>
                <a:lnTo>
                  <a:pt x="273" y="61"/>
                </a:lnTo>
                <a:lnTo>
                  <a:pt x="302" y="61"/>
                </a:lnTo>
                <a:cubicBezTo>
                  <a:pt x="303" y="61"/>
                  <a:pt x="304" y="61"/>
                  <a:pt x="304" y="61"/>
                </a:cubicBezTo>
                <a:lnTo>
                  <a:pt x="352" y="76"/>
                </a:lnTo>
                <a:lnTo>
                  <a:pt x="385" y="90"/>
                </a:lnTo>
                <a:lnTo>
                  <a:pt x="382" y="89"/>
                </a:lnTo>
                <a:lnTo>
                  <a:pt x="396" y="89"/>
                </a:lnTo>
                <a:lnTo>
                  <a:pt x="411" y="89"/>
                </a:lnTo>
                <a:lnTo>
                  <a:pt x="409" y="90"/>
                </a:lnTo>
                <a:lnTo>
                  <a:pt x="456" y="75"/>
                </a:lnTo>
                <a:lnTo>
                  <a:pt x="503" y="61"/>
                </a:lnTo>
                <a:lnTo>
                  <a:pt x="550" y="47"/>
                </a:lnTo>
                <a:cubicBezTo>
                  <a:pt x="551" y="47"/>
                  <a:pt x="552" y="47"/>
                  <a:pt x="552" y="47"/>
                </a:cubicBezTo>
                <a:lnTo>
                  <a:pt x="599" y="47"/>
                </a:lnTo>
                <a:cubicBezTo>
                  <a:pt x="601" y="47"/>
                  <a:pt x="602" y="47"/>
                  <a:pt x="603" y="47"/>
                </a:cubicBezTo>
                <a:lnTo>
                  <a:pt x="632" y="62"/>
                </a:lnTo>
                <a:lnTo>
                  <a:pt x="664" y="76"/>
                </a:lnTo>
                <a:cubicBezTo>
                  <a:pt x="667" y="77"/>
                  <a:pt x="669" y="80"/>
                  <a:pt x="669" y="83"/>
                </a:cubicBezTo>
                <a:lnTo>
                  <a:pt x="669" y="97"/>
                </a:lnTo>
                <a:lnTo>
                  <a:pt x="656" y="92"/>
                </a:lnTo>
                <a:lnTo>
                  <a:pt x="746" y="3"/>
                </a:lnTo>
                <a:cubicBezTo>
                  <a:pt x="748" y="1"/>
                  <a:pt x="750" y="0"/>
                  <a:pt x="753" y="1"/>
                </a:cubicBezTo>
                <a:cubicBezTo>
                  <a:pt x="755" y="1"/>
                  <a:pt x="757" y="2"/>
                  <a:pt x="759" y="4"/>
                </a:cubicBezTo>
                <a:lnTo>
                  <a:pt x="777" y="33"/>
                </a:lnTo>
                <a:cubicBezTo>
                  <a:pt x="777" y="34"/>
                  <a:pt x="778" y="35"/>
                  <a:pt x="778" y="37"/>
                </a:cubicBezTo>
                <a:lnTo>
                  <a:pt x="778" y="55"/>
                </a:lnTo>
                <a:lnTo>
                  <a:pt x="777" y="51"/>
                </a:lnTo>
                <a:lnTo>
                  <a:pt x="806" y="111"/>
                </a:lnTo>
                <a:lnTo>
                  <a:pt x="824" y="139"/>
                </a:lnTo>
                <a:lnTo>
                  <a:pt x="821" y="137"/>
                </a:lnTo>
                <a:lnTo>
                  <a:pt x="850" y="155"/>
                </a:lnTo>
                <a:cubicBezTo>
                  <a:pt x="851" y="155"/>
                  <a:pt x="851" y="155"/>
                  <a:pt x="852" y="156"/>
                </a:cubicBezTo>
                <a:lnTo>
                  <a:pt x="866" y="170"/>
                </a:lnTo>
                <a:cubicBezTo>
                  <a:pt x="867" y="171"/>
                  <a:pt x="868" y="172"/>
                  <a:pt x="868" y="173"/>
                </a:cubicBezTo>
                <a:lnTo>
                  <a:pt x="886" y="234"/>
                </a:lnTo>
                <a:cubicBezTo>
                  <a:pt x="887" y="234"/>
                  <a:pt x="887" y="235"/>
                  <a:pt x="887" y="236"/>
                </a:cubicBezTo>
                <a:lnTo>
                  <a:pt x="887" y="282"/>
                </a:lnTo>
                <a:cubicBezTo>
                  <a:pt x="887" y="284"/>
                  <a:pt x="886" y="285"/>
                  <a:pt x="885" y="287"/>
                </a:cubicBezTo>
                <a:lnTo>
                  <a:pt x="867" y="315"/>
                </a:lnTo>
                <a:lnTo>
                  <a:pt x="868" y="312"/>
                </a:lnTo>
                <a:lnTo>
                  <a:pt x="854" y="376"/>
                </a:lnTo>
                <a:lnTo>
                  <a:pt x="854" y="373"/>
                </a:lnTo>
                <a:lnTo>
                  <a:pt x="868" y="433"/>
                </a:lnTo>
                <a:lnTo>
                  <a:pt x="868" y="432"/>
                </a:lnTo>
                <a:lnTo>
                  <a:pt x="886" y="475"/>
                </a:lnTo>
                <a:cubicBezTo>
                  <a:pt x="886" y="476"/>
                  <a:pt x="887" y="477"/>
                  <a:pt x="887" y="478"/>
                </a:cubicBezTo>
                <a:lnTo>
                  <a:pt x="887" y="524"/>
                </a:lnTo>
                <a:lnTo>
                  <a:pt x="887" y="570"/>
                </a:lnTo>
                <a:lnTo>
                  <a:pt x="886" y="568"/>
                </a:lnTo>
                <a:lnTo>
                  <a:pt x="901" y="614"/>
                </a:lnTo>
                <a:cubicBezTo>
                  <a:pt x="902" y="616"/>
                  <a:pt x="901" y="619"/>
                  <a:pt x="900" y="621"/>
                </a:cubicBezTo>
                <a:cubicBezTo>
                  <a:pt x="898" y="623"/>
                  <a:pt x="896" y="624"/>
                  <a:pt x="893" y="624"/>
                </a:cubicBezTo>
                <a:lnTo>
                  <a:pt x="861" y="624"/>
                </a:lnTo>
                <a:lnTo>
                  <a:pt x="866" y="622"/>
                </a:lnTo>
                <a:lnTo>
                  <a:pt x="852" y="636"/>
                </a:lnTo>
                <a:lnTo>
                  <a:pt x="852" y="626"/>
                </a:lnTo>
                <a:lnTo>
                  <a:pt x="867" y="644"/>
                </a:lnTo>
                <a:lnTo>
                  <a:pt x="885" y="673"/>
                </a:lnTo>
                <a:lnTo>
                  <a:pt x="914" y="719"/>
                </a:lnTo>
                <a:lnTo>
                  <a:pt x="909" y="715"/>
                </a:lnTo>
                <a:lnTo>
                  <a:pt x="971" y="730"/>
                </a:lnTo>
                <a:cubicBezTo>
                  <a:pt x="972" y="730"/>
                  <a:pt x="973" y="730"/>
                  <a:pt x="973" y="730"/>
                </a:cubicBezTo>
                <a:lnTo>
                  <a:pt x="1006" y="748"/>
                </a:lnTo>
                <a:cubicBezTo>
                  <a:pt x="1007" y="749"/>
                  <a:pt x="1008" y="750"/>
                  <a:pt x="1009" y="751"/>
                </a:cubicBezTo>
                <a:lnTo>
                  <a:pt x="1024" y="780"/>
                </a:lnTo>
                <a:cubicBezTo>
                  <a:pt x="1024" y="781"/>
                  <a:pt x="1024" y="782"/>
                  <a:pt x="1024" y="784"/>
                </a:cubicBezTo>
                <a:lnTo>
                  <a:pt x="1024" y="816"/>
                </a:lnTo>
                <a:cubicBezTo>
                  <a:pt x="1024" y="819"/>
                  <a:pt x="1022" y="822"/>
                  <a:pt x="1019" y="823"/>
                </a:cubicBezTo>
                <a:lnTo>
                  <a:pt x="972" y="837"/>
                </a:lnTo>
                <a:lnTo>
                  <a:pt x="974" y="836"/>
                </a:lnTo>
                <a:lnTo>
                  <a:pt x="927" y="869"/>
                </a:lnTo>
                <a:lnTo>
                  <a:pt x="883" y="897"/>
                </a:lnTo>
                <a:lnTo>
                  <a:pt x="884" y="896"/>
                </a:lnTo>
                <a:lnTo>
                  <a:pt x="805" y="973"/>
                </a:lnTo>
                <a:lnTo>
                  <a:pt x="758" y="1034"/>
                </a:lnTo>
                <a:lnTo>
                  <a:pt x="759" y="1032"/>
                </a:lnTo>
                <a:lnTo>
                  <a:pt x="730" y="1093"/>
                </a:lnTo>
                <a:cubicBezTo>
                  <a:pt x="730" y="1093"/>
                  <a:pt x="730" y="1094"/>
                  <a:pt x="729" y="1094"/>
                </a:cubicBezTo>
                <a:lnTo>
                  <a:pt x="697" y="1140"/>
                </a:lnTo>
                <a:lnTo>
                  <a:pt x="698" y="1136"/>
                </a:lnTo>
                <a:lnTo>
                  <a:pt x="698" y="1150"/>
                </a:lnTo>
                <a:cubicBezTo>
                  <a:pt x="698" y="1154"/>
                  <a:pt x="695" y="1158"/>
                  <a:pt x="690" y="1158"/>
                </a:cubicBezTo>
                <a:lnTo>
                  <a:pt x="661" y="1158"/>
                </a:lnTo>
                <a:close/>
              </a:path>
            </a:pathLst>
          </a:custGeom>
          <a:solidFill>
            <a:srgbClr val="005027"/>
          </a:solidFill>
          <a:ln w="0">
            <a:solidFill>
              <a:schemeClr val="bg1"/>
            </a:solidFill>
            <a:round/>
            <a:headEnd/>
            <a:tailEnd/>
          </a:ln>
        </p:spPr>
        <p:txBody>
          <a:bodyPr/>
          <a:lstStyle/>
          <a:p>
            <a:endParaRPr lang="ro-RO"/>
          </a:p>
        </p:txBody>
      </p:sp>
      <p:sp>
        <p:nvSpPr>
          <p:cNvPr id="12327" name="Freeform 37"/>
          <p:cNvSpPr>
            <a:spLocks/>
          </p:cNvSpPr>
          <p:nvPr/>
        </p:nvSpPr>
        <p:spPr bwMode="auto">
          <a:xfrm>
            <a:off x="3544888" y="3832225"/>
            <a:ext cx="582612" cy="1052513"/>
          </a:xfrm>
          <a:custGeom>
            <a:avLst/>
            <a:gdLst>
              <a:gd name="T0" fmla="*/ 2147483647 w 453"/>
              <a:gd name="T1" fmla="*/ 2147483647 h 762"/>
              <a:gd name="T2" fmla="*/ 2147483647 w 453"/>
              <a:gd name="T3" fmla="*/ 2147483647 h 762"/>
              <a:gd name="T4" fmla="*/ 2147483647 w 453"/>
              <a:gd name="T5" fmla="*/ 2147483647 h 762"/>
              <a:gd name="T6" fmla="*/ 2147483647 w 453"/>
              <a:gd name="T7" fmla="*/ 2147483647 h 762"/>
              <a:gd name="T8" fmla="*/ 2147483647 w 453"/>
              <a:gd name="T9" fmla="*/ 2147483647 h 762"/>
              <a:gd name="T10" fmla="*/ 2147483647 w 453"/>
              <a:gd name="T11" fmla="*/ 2147483647 h 762"/>
              <a:gd name="T12" fmla="*/ 2147483647 w 453"/>
              <a:gd name="T13" fmla="*/ 2147483647 h 762"/>
              <a:gd name="T14" fmla="*/ 2147483647 w 453"/>
              <a:gd name="T15" fmla="*/ 2147483647 h 762"/>
              <a:gd name="T16" fmla="*/ 2147483647 w 453"/>
              <a:gd name="T17" fmla="*/ 2147483647 h 762"/>
              <a:gd name="T18" fmla="*/ 2147483647 w 453"/>
              <a:gd name="T19" fmla="*/ 2147483647 h 762"/>
              <a:gd name="T20" fmla="*/ 2147483647 w 453"/>
              <a:gd name="T21" fmla="*/ 2147483647 h 762"/>
              <a:gd name="T22" fmla="*/ 2147483647 w 453"/>
              <a:gd name="T23" fmla="*/ 2147483647 h 762"/>
              <a:gd name="T24" fmla="*/ 2147483647 w 453"/>
              <a:gd name="T25" fmla="*/ 2147483647 h 762"/>
              <a:gd name="T26" fmla="*/ 2147483647 w 453"/>
              <a:gd name="T27" fmla="*/ 2147483647 h 762"/>
              <a:gd name="T28" fmla="*/ 2147483647 w 453"/>
              <a:gd name="T29" fmla="*/ 2147483647 h 762"/>
              <a:gd name="T30" fmla="*/ 2147483647 w 453"/>
              <a:gd name="T31" fmla="*/ 2147483647 h 762"/>
              <a:gd name="T32" fmla="*/ 2147483647 w 453"/>
              <a:gd name="T33" fmla="*/ 2147483647 h 762"/>
              <a:gd name="T34" fmla="*/ 2147483647 w 453"/>
              <a:gd name="T35" fmla="*/ 2147483647 h 762"/>
              <a:gd name="T36" fmla="*/ 2147483647 w 453"/>
              <a:gd name="T37" fmla="*/ 2147483647 h 762"/>
              <a:gd name="T38" fmla="*/ 2147483647 w 453"/>
              <a:gd name="T39" fmla="*/ 2147483647 h 762"/>
              <a:gd name="T40" fmla="*/ 2147483647 w 453"/>
              <a:gd name="T41" fmla="*/ 2147483647 h 762"/>
              <a:gd name="T42" fmla="*/ 2147483647 w 453"/>
              <a:gd name="T43" fmla="*/ 2147483647 h 762"/>
              <a:gd name="T44" fmla="*/ 2147483647 w 453"/>
              <a:gd name="T45" fmla="*/ 2147483647 h 762"/>
              <a:gd name="T46" fmla="*/ 2147483647 w 453"/>
              <a:gd name="T47" fmla="*/ 2147483647 h 762"/>
              <a:gd name="T48" fmla="*/ 2147483647 w 453"/>
              <a:gd name="T49" fmla="*/ 2147483647 h 762"/>
              <a:gd name="T50" fmla="*/ 2147483647 w 453"/>
              <a:gd name="T51" fmla="*/ 2147483647 h 762"/>
              <a:gd name="T52" fmla="*/ 2147483647 w 453"/>
              <a:gd name="T53" fmla="*/ 0 h 762"/>
              <a:gd name="T54" fmla="*/ 2147483647 w 453"/>
              <a:gd name="T55" fmla="*/ 2147483647 h 762"/>
              <a:gd name="T56" fmla="*/ 2147483647 w 453"/>
              <a:gd name="T57" fmla="*/ 2147483647 h 762"/>
              <a:gd name="T58" fmla="*/ 2147483647 w 453"/>
              <a:gd name="T59" fmla="*/ 2147483647 h 762"/>
              <a:gd name="T60" fmla="*/ 2147483647 w 453"/>
              <a:gd name="T61" fmla="*/ 2147483647 h 762"/>
              <a:gd name="T62" fmla="*/ 2147483647 w 453"/>
              <a:gd name="T63" fmla="*/ 2147483647 h 762"/>
              <a:gd name="T64" fmla="*/ 2147483647 w 453"/>
              <a:gd name="T65" fmla="*/ 2147483647 h 762"/>
              <a:gd name="T66" fmla="*/ 2147483647 w 453"/>
              <a:gd name="T67" fmla="*/ 2147483647 h 762"/>
              <a:gd name="T68" fmla="*/ 2147483647 w 453"/>
              <a:gd name="T69" fmla="*/ 2147483647 h 762"/>
              <a:gd name="T70" fmla="*/ 0 w 453"/>
              <a:gd name="T71" fmla="*/ 2147483647 h 762"/>
              <a:gd name="T72" fmla="*/ 2147483647 w 453"/>
              <a:gd name="T73" fmla="*/ 2147483647 h 762"/>
              <a:gd name="T74" fmla="*/ 2147483647 w 453"/>
              <a:gd name="T75" fmla="*/ 2147483647 h 762"/>
              <a:gd name="T76" fmla="*/ 2147483647 w 453"/>
              <a:gd name="T77" fmla="*/ 2147483647 h 762"/>
              <a:gd name="T78" fmla="*/ 2147483647 w 453"/>
              <a:gd name="T79" fmla="*/ 2147483647 h 762"/>
              <a:gd name="T80" fmla="*/ 2147483647 w 453"/>
              <a:gd name="T81" fmla="*/ 2147483647 h 762"/>
              <a:gd name="T82" fmla="*/ 2147483647 w 453"/>
              <a:gd name="T83" fmla="*/ 2147483647 h 762"/>
              <a:gd name="T84" fmla="*/ 2147483647 w 453"/>
              <a:gd name="T85" fmla="*/ 2147483647 h 762"/>
              <a:gd name="T86" fmla="*/ 2147483647 w 453"/>
              <a:gd name="T87" fmla="*/ 2147483647 h 762"/>
              <a:gd name="T88" fmla="*/ 2147483647 w 453"/>
              <a:gd name="T89" fmla="*/ 2147483647 h 762"/>
              <a:gd name="T90" fmla="*/ 2147483647 w 453"/>
              <a:gd name="T91" fmla="*/ 2147483647 h 762"/>
              <a:gd name="T92" fmla="*/ 2147483647 w 453"/>
              <a:gd name="T93" fmla="*/ 2147483647 h 762"/>
              <a:gd name="T94" fmla="*/ 2147483647 w 453"/>
              <a:gd name="T95" fmla="*/ 2147483647 h 762"/>
              <a:gd name="T96" fmla="*/ 2147483647 w 453"/>
              <a:gd name="T97" fmla="*/ 2147483647 h 762"/>
              <a:gd name="T98" fmla="*/ 2147483647 w 453"/>
              <a:gd name="T99" fmla="*/ 2147483647 h 762"/>
              <a:gd name="T100" fmla="*/ 2147483647 w 453"/>
              <a:gd name="T101" fmla="*/ 2147483647 h 762"/>
              <a:gd name="T102" fmla="*/ 2147483647 w 453"/>
              <a:gd name="T103" fmla="*/ 2147483647 h 762"/>
              <a:gd name="T104" fmla="*/ 2147483647 w 453"/>
              <a:gd name="T105" fmla="*/ 2147483647 h 762"/>
              <a:gd name="T106" fmla="*/ 2147483647 w 453"/>
              <a:gd name="T107" fmla="*/ 2147483647 h 762"/>
              <a:gd name="T108" fmla="*/ 2147483647 w 453"/>
              <a:gd name="T109" fmla="*/ 2147483647 h 762"/>
              <a:gd name="T110" fmla="*/ 2147483647 w 453"/>
              <a:gd name="T111" fmla="*/ 2147483647 h 762"/>
              <a:gd name="T112" fmla="*/ 2147483647 w 453"/>
              <a:gd name="T113" fmla="*/ 2147483647 h 762"/>
              <a:gd name="T114" fmla="*/ 2147483647 w 453"/>
              <a:gd name="T115" fmla="*/ 2147483647 h 762"/>
              <a:gd name="T116" fmla="*/ 2147483647 w 453"/>
              <a:gd name="T117" fmla="*/ 2147483647 h 7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3"/>
              <a:gd name="T178" fmla="*/ 0 h 762"/>
              <a:gd name="T179" fmla="*/ 453 w 453"/>
              <a:gd name="T180" fmla="*/ 762 h 76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3" h="762">
                <a:moveTo>
                  <a:pt x="155" y="694"/>
                </a:moveTo>
                <a:lnTo>
                  <a:pt x="155" y="694"/>
                </a:lnTo>
                <a:lnTo>
                  <a:pt x="159" y="689"/>
                </a:lnTo>
                <a:lnTo>
                  <a:pt x="170" y="684"/>
                </a:lnTo>
                <a:lnTo>
                  <a:pt x="185" y="679"/>
                </a:lnTo>
                <a:lnTo>
                  <a:pt x="199" y="679"/>
                </a:lnTo>
                <a:lnTo>
                  <a:pt x="209" y="674"/>
                </a:lnTo>
                <a:lnTo>
                  <a:pt x="218" y="669"/>
                </a:lnTo>
                <a:lnTo>
                  <a:pt x="218" y="665"/>
                </a:lnTo>
                <a:lnTo>
                  <a:pt x="218" y="660"/>
                </a:lnTo>
                <a:lnTo>
                  <a:pt x="229" y="650"/>
                </a:lnTo>
                <a:lnTo>
                  <a:pt x="244" y="650"/>
                </a:lnTo>
                <a:lnTo>
                  <a:pt x="253" y="650"/>
                </a:lnTo>
                <a:lnTo>
                  <a:pt x="264" y="660"/>
                </a:lnTo>
                <a:lnTo>
                  <a:pt x="274" y="669"/>
                </a:lnTo>
                <a:lnTo>
                  <a:pt x="283" y="674"/>
                </a:lnTo>
                <a:lnTo>
                  <a:pt x="303" y="679"/>
                </a:lnTo>
                <a:lnTo>
                  <a:pt x="323" y="674"/>
                </a:lnTo>
                <a:lnTo>
                  <a:pt x="338" y="669"/>
                </a:lnTo>
                <a:lnTo>
                  <a:pt x="353" y="665"/>
                </a:lnTo>
                <a:lnTo>
                  <a:pt x="379" y="665"/>
                </a:lnTo>
                <a:lnTo>
                  <a:pt x="398" y="669"/>
                </a:lnTo>
                <a:lnTo>
                  <a:pt x="413" y="674"/>
                </a:lnTo>
                <a:lnTo>
                  <a:pt x="413" y="660"/>
                </a:lnTo>
                <a:lnTo>
                  <a:pt x="418" y="645"/>
                </a:lnTo>
                <a:lnTo>
                  <a:pt x="433" y="631"/>
                </a:lnTo>
                <a:lnTo>
                  <a:pt x="442" y="626"/>
                </a:lnTo>
                <a:lnTo>
                  <a:pt x="447" y="621"/>
                </a:lnTo>
                <a:lnTo>
                  <a:pt x="442" y="607"/>
                </a:lnTo>
                <a:lnTo>
                  <a:pt x="433" y="592"/>
                </a:lnTo>
                <a:lnTo>
                  <a:pt x="433" y="582"/>
                </a:lnTo>
                <a:lnTo>
                  <a:pt x="442" y="573"/>
                </a:lnTo>
                <a:lnTo>
                  <a:pt x="453" y="563"/>
                </a:lnTo>
                <a:lnTo>
                  <a:pt x="453" y="548"/>
                </a:lnTo>
                <a:lnTo>
                  <a:pt x="442" y="524"/>
                </a:lnTo>
                <a:lnTo>
                  <a:pt x="442" y="519"/>
                </a:lnTo>
                <a:lnTo>
                  <a:pt x="442" y="509"/>
                </a:lnTo>
                <a:lnTo>
                  <a:pt x="438" y="505"/>
                </a:lnTo>
                <a:lnTo>
                  <a:pt x="427" y="495"/>
                </a:lnTo>
                <a:lnTo>
                  <a:pt x="418" y="485"/>
                </a:lnTo>
                <a:lnTo>
                  <a:pt x="413" y="475"/>
                </a:lnTo>
                <a:lnTo>
                  <a:pt x="398" y="465"/>
                </a:lnTo>
                <a:lnTo>
                  <a:pt x="388" y="461"/>
                </a:lnTo>
                <a:lnTo>
                  <a:pt x="379" y="465"/>
                </a:lnTo>
                <a:lnTo>
                  <a:pt x="368" y="471"/>
                </a:lnTo>
                <a:lnTo>
                  <a:pt x="358" y="471"/>
                </a:lnTo>
                <a:lnTo>
                  <a:pt x="338" y="461"/>
                </a:lnTo>
                <a:lnTo>
                  <a:pt x="329" y="446"/>
                </a:lnTo>
                <a:lnTo>
                  <a:pt x="329" y="441"/>
                </a:lnTo>
                <a:lnTo>
                  <a:pt x="338" y="437"/>
                </a:lnTo>
                <a:lnTo>
                  <a:pt x="358" y="427"/>
                </a:lnTo>
                <a:lnTo>
                  <a:pt x="363" y="422"/>
                </a:lnTo>
                <a:lnTo>
                  <a:pt x="363" y="412"/>
                </a:lnTo>
                <a:lnTo>
                  <a:pt x="363" y="403"/>
                </a:lnTo>
                <a:lnTo>
                  <a:pt x="353" y="388"/>
                </a:lnTo>
                <a:lnTo>
                  <a:pt x="338" y="369"/>
                </a:lnTo>
                <a:lnTo>
                  <a:pt x="323" y="369"/>
                </a:lnTo>
                <a:lnTo>
                  <a:pt x="303" y="363"/>
                </a:lnTo>
                <a:lnTo>
                  <a:pt x="283" y="359"/>
                </a:lnTo>
                <a:lnTo>
                  <a:pt x="279" y="344"/>
                </a:lnTo>
                <a:lnTo>
                  <a:pt x="279" y="325"/>
                </a:lnTo>
                <a:lnTo>
                  <a:pt x="283" y="306"/>
                </a:lnTo>
                <a:lnTo>
                  <a:pt x="283" y="291"/>
                </a:lnTo>
                <a:lnTo>
                  <a:pt x="274" y="282"/>
                </a:lnTo>
                <a:lnTo>
                  <a:pt x="264" y="267"/>
                </a:lnTo>
                <a:lnTo>
                  <a:pt x="249" y="252"/>
                </a:lnTo>
                <a:lnTo>
                  <a:pt x="244" y="233"/>
                </a:lnTo>
                <a:lnTo>
                  <a:pt x="239" y="227"/>
                </a:lnTo>
                <a:lnTo>
                  <a:pt x="199" y="189"/>
                </a:lnTo>
                <a:lnTo>
                  <a:pt x="199" y="185"/>
                </a:lnTo>
                <a:lnTo>
                  <a:pt x="194" y="180"/>
                </a:lnTo>
                <a:lnTo>
                  <a:pt x="194" y="165"/>
                </a:lnTo>
                <a:lnTo>
                  <a:pt x="199" y="155"/>
                </a:lnTo>
                <a:lnTo>
                  <a:pt x="204" y="140"/>
                </a:lnTo>
                <a:lnTo>
                  <a:pt x="199" y="125"/>
                </a:lnTo>
                <a:lnTo>
                  <a:pt x="194" y="117"/>
                </a:lnTo>
                <a:lnTo>
                  <a:pt x="194" y="112"/>
                </a:lnTo>
                <a:lnTo>
                  <a:pt x="164" y="68"/>
                </a:lnTo>
                <a:lnTo>
                  <a:pt x="164" y="0"/>
                </a:lnTo>
                <a:lnTo>
                  <a:pt x="159" y="0"/>
                </a:lnTo>
                <a:lnTo>
                  <a:pt x="155" y="0"/>
                </a:lnTo>
                <a:lnTo>
                  <a:pt x="150" y="10"/>
                </a:lnTo>
                <a:lnTo>
                  <a:pt x="144" y="19"/>
                </a:lnTo>
                <a:lnTo>
                  <a:pt x="135" y="29"/>
                </a:lnTo>
                <a:lnTo>
                  <a:pt x="124" y="38"/>
                </a:lnTo>
                <a:lnTo>
                  <a:pt x="120" y="38"/>
                </a:lnTo>
                <a:lnTo>
                  <a:pt x="115" y="38"/>
                </a:lnTo>
                <a:lnTo>
                  <a:pt x="110" y="44"/>
                </a:lnTo>
                <a:lnTo>
                  <a:pt x="100" y="49"/>
                </a:lnTo>
                <a:lnTo>
                  <a:pt x="94" y="59"/>
                </a:lnTo>
                <a:lnTo>
                  <a:pt x="94" y="72"/>
                </a:lnTo>
                <a:lnTo>
                  <a:pt x="85" y="91"/>
                </a:lnTo>
                <a:lnTo>
                  <a:pt x="80" y="112"/>
                </a:lnTo>
                <a:lnTo>
                  <a:pt x="75" y="121"/>
                </a:lnTo>
                <a:lnTo>
                  <a:pt x="75" y="146"/>
                </a:lnTo>
                <a:lnTo>
                  <a:pt x="70" y="170"/>
                </a:lnTo>
                <a:lnTo>
                  <a:pt x="60" y="185"/>
                </a:lnTo>
                <a:lnTo>
                  <a:pt x="46" y="199"/>
                </a:lnTo>
                <a:lnTo>
                  <a:pt x="35" y="208"/>
                </a:lnTo>
                <a:lnTo>
                  <a:pt x="30" y="218"/>
                </a:lnTo>
                <a:lnTo>
                  <a:pt x="25" y="218"/>
                </a:lnTo>
                <a:lnTo>
                  <a:pt x="20" y="204"/>
                </a:lnTo>
                <a:lnTo>
                  <a:pt x="15" y="185"/>
                </a:lnTo>
                <a:lnTo>
                  <a:pt x="15" y="174"/>
                </a:lnTo>
                <a:lnTo>
                  <a:pt x="11" y="170"/>
                </a:lnTo>
                <a:lnTo>
                  <a:pt x="5" y="165"/>
                </a:lnTo>
                <a:lnTo>
                  <a:pt x="0" y="174"/>
                </a:lnTo>
                <a:lnTo>
                  <a:pt x="0" y="189"/>
                </a:lnTo>
                <a:lnTo>
                  <a:pt x="0" y="218"/>
                </a:lnTo>
                <a:lnTo>
                  <a:pt x="5" y="248"/>
                </a:lnTo>
                <a:lnTo>
                  <a:pt x="5" y="261"/>
                </a:lnTo>
                <a:lnTo>
                  <a:pt x="11" y="267"/>
                </a:lnTo>
                <a:lnTo>
                  <a:pt x="11" y="272"/>
                </a:lnTo>
                <a:lnTo>
                  <a:pt x="11" y="261"/>
                </a:lnTo>
                <a:lnTo>
                  <a:pt x="11" y="257"/>
                </a:lnTo>
                <a:lnTo>
                  <a:pt x="11" y="261"/>
                </a:lnTo>
                <a:lnTo>
                  <a:pt x="5" y="276"/>
                </a:lnTo>
                <a:lnTo>
                  <a:pt x="5" y="291"/>
                </a:lnTo>
                <a:lnTo>
                  <a:pt x="11" y="306"/>
                </a:lnTo>
                <a:lnTo>
                  <a:pt x="15" y="320"/>
                </a:lnTo>
                <a:lnTo>
                  <a:pt x="20" y="335"/>
                </a:lnTo>
                <a:lnTo>
                  <a:pt x="25" y="344"/>
                </a:lnTo>
                <a:lnTo>
                  <a:pt x="25" y="350"/>
                </a:lnTo>
                <a:lnTo>
                  <a:pt x="20" y="354"/>
                </a:lnTo>
                <a:lnTo>
                  <a:pt x="20" y="363"/>
                </a:lnTo>
                <a:lnTo>
                  <a:pt x="15" y="378"/>
                </a:lnTo>
                <a:lnTo>
                  <a:pt x="15" y="397"/>
                </a:lnTo>
                <a:lnTo>
                  <a:pt x="20" y="417"/>
                </a:lnTo>
                <a:lnTo>
                  <a:pt x="25" y="431"/>
                </a:lnTo>
                <a:lnTo>
                  <a:pt x="25" y="437"/>
                </a:lnTo>
                <a:lnTo>
                  <a:pt x="25" y="446"/>
                </a:lnTo>
                <a:lnTo>
                  <a:pt x="20" y="465"/>
                </a:lnTo>
                <a:lnTo>
                  <a:pt x="20" y="485"/>
                </a:lnTo>
                <a:lnTo>
                  <a:pt x="25" y="505"/>
                </a:lnTo>
                <a:lnTo>
                  <a:pt x="30" y="519"/>
                </a:lnTo>
                <a:lnTo>
                  <a:pt x="35" y="524"/>
                </a:lnTo>
                <a:lnTo>
                  <a:pt x="35" y="529"/>
                </a:lnTo>
                <a:lnTo>
                  <a:pt x="40" y="539"/>
                </a:lnTo>
                <a:lnTo>
                  <a:pt x="40" y="553"/>
                </a:lnTo>
                <a:lnTo>
                  <a:pt x="40" y="558"/>
                </a:lnTo>
                <a:lnTo>
                  <a:pt x="40" y="563"/>
                </a:lnTo>
                <a:lnTo>
                  <a:pt x="35" y="563"/>
                </a:lnTo>
                <a:lnTo>
                  <a:pt x="30" y="558"/>
                </a:lnTo>
                <a:lnTo>
                  <a:pt x="20" y="563"/>
                </a:lnTo>
                <a:lnTo>
                  <a:pt x="15" y="573"/>
                </a:lnTo>
                <a:lnTo>
                  <a:pt x="20" y="582"/>
                </a:lnTo>
                <a:lnTo>
                  <a:pt x="30" y="592"/>
                </a:lnTo>
                <a:lnTo>
                  <a:pt x="35" y="601"/>
                </a:lnTo>
                <a:lnTo>
                  <a:pt x="40" y="601"/>
                </a:lnTo>
                <a:lnTo>
                  <a:pt x="46" y="607"/>
                </a:lnTo>
                <a:lnTo>
                  <a:pt x="50" y="616"/>
                </a:lnTo>
                <a:lnTo>
                  <a:pt x="55" y="631"/>
                </a:lnTo>
                <a:lnTo>
                  <a:pt x="65" y="645"/>
                </a:lnTo>
                <a:lnTo>
                  <a:pt x="70" y="655"/>
                </a:lnTo>
                <a:lnTo>
                  <a:pt x="75" y="660"/>
                </a:lnTo>
                <a:lnTo>
                  <a:pt x="75" y="669"/>
                </a:lnTo>
                <a:lnTo>
                  <a:pt x="70" y="684"/>
                </a:lnTo>
                <a:lnTo>
                  <a:pt x="70" y="703"/>
                </a:lnTo>
                <a:lnTo>
                  <a:pt x="65" y="718"/>
                </a:lnTo>
                <a:lnTo>
                  <a:pt x="60" y="728"/>
                </a:lnTo>
                <a:lnTo>
                  <a:pt x="55" y="733"/>
                </a:lnTo>
                <a:lnTo>
                  <a:pt x="35" y="742"/>
                </a:lnTo>
                <a:lnTo>
                  <a:pt x="40" y="752"/>
                </a:lnTo>
                <a:lnTo>
                  <a:pt x="50" y="757"/>
                </a:lnTo>
                <a:lnTo>
                  <a:pt x="60" y="762"/>
                </a:lnTo>
                <a:lnTo>
                  <a:pt x="75" y="757"/>
                </a:lnTo>
                <a:lnTo>
                  <a:pt x="85" y="752"/>
                </a:lnTo>
                <a:lnTo>
                  <a:pt x="100" y="747"/>
                </a:lnTo>
                <a:lnTo>
                  <a:pt x="110" y="737"/>
                </a:lnTo>
                <a:lnTo>
                  <a:pt x="115" y="723"/>
                </a:lnTo>
                <a:lnTo>
                  <a:pt x="115" y="718"/>
                </a:lnTo>
                <a:lnTo>
                  <a:pt x="115" y="708"/>
                </a:lnTo>
                <a:lnTo>
                  <a:pt x="120" y="694"/>
                </a:lnTo>
                <a:lnTo>
                  <a:pt x="124" y="689"/>
                </a:lnTo>
                <a:lnTo>
                  <a:pt x="129" y="684"/>
                </a:lnTo>
                <a:lnTo>
                  <a:pt x="140" y="684"/>
                </a:lnTo>
                <a:lnTo>
                  <a:pt x="155" y="694"/>
                </a:lnTo>
                <a:close/>
              </a:path>
            </a:pathLst>
          </a:custGeom>
          <a:solidFill>
            <a:srgbClr val="005027"/>
          </a:solidFill>
          <a:ln w="9525">
            <a:solidFill>
              <a:schemeClr val="bg1"/>
            </a:solidFill>
            <a:round/>
            <a:headEnd/>
            <a:tailEnd/>
          </a:ln>
        </p:spPr>
        <p:txBody>
          <a:bodyPr/>
          <a:lstStyle/>
          <a:p>
            <a:endParaRPr lang="ro-RO"/>
          </a:p>
        </p:txBody>
      </p:sp>
      <p:sp>
        <p:nvSpPr>
          <p:cNvPr id="12328" name="Freeform 38"/>
          <p:cNvSpPr>
            <a:spLocks/>
          </p:cNvSpPr>
          <p:nvPr/>
        </p:nvSpPr>
        <p:spPr bwMode="auto">
          <a:xfrm>
            <a:off x="3754438" y="3741738"/>
            <a:ext cx="798512" cy="806450"/>
          </a:xfrm>
          <a:custGeom>
            <a:avLst/>
            <a:gdLst>
              <a:gd name="T0" fmla="*/ 2147483647 w 620"/>
              <a:gd name="T1" fmla="*/ 2147483647 h 584"/>
              <a:gd name="T2" fmla="*/ 2147483647 w 620"/>
              <a:gd name="T3" fmla="*/ 2147483647 h 584"/>
              <a:gd name="T4" fmla="*/ 2147483647 w 620"/>
              <a:gd name="T5" fmla="*/ 2147483647 h 584"/>
              <a:gd name="T6" fmla="*/ 2147483647 w 620"/>
              <a:gd name="T7" fmla="*/ 2147483647 h 584"/>
              <a:gd name="T8" fmla="*/ 2147483647 w 620"/>
              <a:gd name="T9" fmla="*/ 2147483647 h 584"/>
              <a:gd name="T10" fmla="*/ 2147483647 w 620"/>
              <a:gd name="T11" fmla="*/ 2147483647 h 584"/>
              <a:gd name="T12" fmla="*/ 2147483647 w 620"/>
              <a:gd name="T13" fmla="*/ 2147483647 h 584"/>
              <a:gd name="T14" fmla="*/ 2147483647 w 620"/>
              <a:gd name="T15" fmla="*/ 2147483647 h 584"/>
              <a:gd name="T16" fmla="*/ 2147483647 w 620"/>
              <a:gd name="T17" fmla="*/ 2147483647 h 584"/>
              <a:gd name="T18" fmla="*/ 2147483647 w 620"/>
              <a:gd name="T19" fmla="*/ 2147483647 h 584"/>
              <a:gd name="T20" fmla="*/ 2147483647 w 620"/>
              <a:gd name="T21" fmla="*/ 2147483647 h 584"/>
              <a:gd name="T22" fmla="*/ 2147483647 w 620"/>
              <a:gd name="T23" fmla="*/ 2147483647 h 584"/>
              <a:gd name="T24" fmla="*/ 2147483647 w 620"/>
              <a:gd name="T25" fmla="*/ 2147483647 h 584"/>
              <a:gd name="T26" fmla="*/ 2147483647 w 620"/>
              <a:gd name="T27" fmla="*/ 2147483647 h 584"/>
              <a:gd name="T28" fmla="*/ 2147483647 w 620"/>
              <a:gd name="T29" fmla="*/ 2147483647 h 584"/>
              <a:gd name="T30" fmla="*/ 2147483647 w 620"/>
              <a:gd name="T31" fmla="*/ 2147483647 h 584"/>
              <a:gd name="T32" fmla="*/ 2147483647 w 620"/>
              <a:gd name="T33" fmla="*/ 2147483647 h 584"/>
              <a:gd name="T34" fmla="*/ 2147483647 w 620"/>
              <a:gd name="T35" fmla="*/ 2147483647 h 584"/>
              <a:gd name="T36" fmla="*/ 2147483647 w 620"/>
              <a:gd name="T37" fmla="*/ 2147483647 h 584"/>
              <a:gd name="T38" fmla="*/ 2147483647 w 620"/>
              <a:gd name="T39" fmla="*/ 2147483647 h 584"/>
              <a:gd name="T40" fmla="*/ 2147483647 w 620"/>
              <a:gd name="T41" fmla="*/ 2147483647 h 584"/>
              <a:gd name="T42" fmla="*/ 2147483647 w 620"/>
              <a:gd name="T43" fmla="*/ 2147483647 h 584"/>
              <a:gd name="T44" fmla="*/ 2147483647 w 620"/>
              <a:gd name="T45" fmla="*/ 2147483647 h 584"/>
              <a:gd name="T46" fmla="*/ 2147483647 w 620"/>
              <a:gd name="T47" fmla="*/ 2147483647 h 584"/>
              <a:gd name="T48" fmla="*/ 2147483647 w 620"/>
              <a:gd name="T49" fmla="*/ 2147483647 h 584"/>
              <a:gd name="T50" fmla="*/ 2147483647 w 620"/>
              <a:gd name="T51" fmla="*/ 2147483647 h 584"/>
              <a:gd name="T52" fmla="*/ 2147483647 w 620"/>
              <a:gd name="T53" fmla="*/ 2147483647 h 584"/>
              <a:gd name="T54" fmla="*/ 2147483647 w 620"/>
              <a:gd name="T55" fmla="*/ 2147483647 h 584"/>
              <a:gd name="T56" fmla="*/ 2147483647 w 620"/>
              <a:gd name="T57" fmla="*/ 2147483647 h 584"/>
              <a:gd name="T58" fmla="*/ 2147483647 w 620"/>
              <a:gd name="T59" fmla="*/ 2147483647 h 584"/>
              <a:gd name="T60" fmla="*/ 2147483647 w 620"/>
              <a:gd name="T61" fmla="*/ 2147483647 h 584"/>
              <a:gd name="T62" fmla="*/ 2147483647 w 620"/>
              <a:gd name="T63" fmla="*/ 2147483647 h 584"/>
              <a:gd name="T64" fmla="*/ 2147483647 w 620"/>
              <a:gd name="T65" fmla="*/ 2147483647 h 584"/>
              <a:gd name="T66" fmla="*/ 2147483647 w 620"/>
              <a:gd name="T67" fmla="*/ 2147483647 h 584"/>
              <a:gd name="T68" fmla="*/ 2147483647 w 620"/>
              <a:gd name="T69" fmla="*/ 2147483647 h 584"/>
              <a:gd name="T70" fmla="*/ 2147483647 w 620"/>
              <a:gd name="T71" fmla="*/ 2147483647 h 584"/>
              <a:gd name="T72" fmla="*/ 2147483647 w 620"/>
              <a:gd name="T73" fmla="*/ 2147483647 h 584"/>
              <a:gd name="T74" fmla="*/ 2147483647 w 620"/>
              <a:gd name="T75" fmla="*/ 2147483647 h 584"/>
              <a:gd name="T76" fmla="*/ 2147483647 w 620"/>
              <a:gd name="T77" fmla="*/ 2147483647 h 584"/>
              <a:gd name="T78" fmla="*/ 2147483647 w 620"/>
              <a:gd name="T79" fmla="*/ 2147483647 h 584"/>
              <a:gd name="T80" fmla="*/ 2147483647 w 620"/>
              <a:gd name="T81" fmla="*/ 2147483647 h 584"/>
              <a:gd name="T82" fmla="*/ 2147483647 w 620"/>
              <a:gd name="T83" fmla="*/ 2147483647 h 584"/>
              <a:gd name="T84" fmla="*/ 2147483647 w 620"/>
              <a:gd name="T85" fmla="*/ 2147483647 h 584"/>
              <a:gd name="T86" fmla="*/ 2147483647 w 620"/>
              <a:gd name="T87" fmla="*/ 2147483647 h 584"/>
              <a:gd name="T88" fmla="*/ 2147483647 w 620"/>
              <a:gd name="T89" fmla="*/ 2147483647 h 584"/>
              <a:gd name="T90" fmla="*/ 2147483647 w 620"/>
              <a:gd name="T91" fmla="*/ 2147483647 h 584"/>
              <a:gd name="T92" fmla="*/ 2147483647 w 620"/>
              <a:gd name="T93" fmla="*/ 2147483647 h 584"/>
              <a:gd name="T94" fmla="*/ 2147483647 w 620"/>
              <a:gd name="T95" fmla="*/ 2147483647 h 584"/>
              <a:gd name="T96" fmla="*/ 2147483647 w 620"/>
              <a:gd name="T97" fmla="*/ 2147483647 h 584"/>
              <a:gd name="T98" fmla="*/ 2147483647 w 620"/>
              <a:gd name="T99" fmla="*/ 2147483647 h 58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20"/>
              <a:gd name="T151" fmla="*/ 0 h 584"/>
              <a:gd name="T152" fmla="*/ 620 w 620"/>
              <a:gd name="T153" fmla="*/ 584 h 58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20" h="584">
                <a:moveTo>
                  <a:pt x="456" y="556"/>
                </a:moveTo>
                <a:lnTo>
                  <a:pt x="427" y="584"/>
                </a:lnTo>
                <a:lnTo>
                  <a:pt x="427" y="580"/>
                </a:lnTo>
                <a:lnTo>
                  <a:pt x="417" y="575"/>
                </a:lnTo>
                <a:lnTo>
                  <a:pt x="407" y="571"/>
                </a:lnTo>
                <a:lnTo>
                  <a:pt x="392" y="571"/>
                </a:lnTo>
                <a:lnTo>
                  <a:pt x="377" y="575"/>
                </a:lnTo>
                <a:lnTo>
                  <a:pt x="362" y="580"/>
                </a:lnTo>
                <a:lnTo>
                  <a:pt x="347" y="584"/>
                </a:lnTo>
                <a:lnTo>
                  <a:pt x="342" y="584"/>
                </a:lnTo>
                <a:lnTo>
                  <a:pt x="338" y="584"/>
                </a:lnTo>
                <a:lnTo>
                  <a:pt x="327" y="580"/>
                </a:lnTo>
                <a:lnTo>
                  <a:pt x="312" y="575"/>
                </a:lnTo>
                <a:lnTo>
                  <a:pt x="303" y="575"/>
                </a:lnTo>
                <a:lnTo>
                  <a:pt x="288" y="575"/>
                </a:lnTo>
                <a:lnTo>
                  <a:pt x="282" y="575"/>
                </a:lnTo>
                <a:lnTo>
                  <a:pt x="277" y="575"/>
                </a:lnTo>
                <a:lnTo>
                  <a:pt x="273" y="571"/>
                </a:lnTo>
                <a:lnTo>
                  <a:pt x="263" y="561"/>
                </a:lnTo>
                <a:lnTo>
                  <a:pt x="253" y="550"/>
                </a:lnTo>
                <a:lnTo>
                  <a:pt x="249" y="541"/>
                </a:lnTo>
                <a:lnTo>
                  <a:pt x="234" y="531"/>
                </a:lnTo>
                <a:lnTo>
                  <a:pt x="223" y="527"/>
                </a:lnTo>
                <a:lnTo>
                  <a:pt x="214" y="531"/>
                </a:lnTo>
                <a:lnTo>
                  <a:pt x="203" y="537"/>
                </a:lnTo>
                <a:lnTo>
                  <a:pt x="193" y="537"/>
                </a:lnTo>
                <a:lnTo>
                  <a:pt x="174" y="527"/>
                </a:lnTo>
                <a:lnTo>
                  <a:pt x="164" y="512"/>
                </a:lnTo>
                <a:lnTo>
                  <a:pt x="164" y="507"/>
                </a:lnTo>
                <a:lnTo>
                  <a:pt x="174" y="503"/>
                </a:lnTo>
                <a:lnTo>
                  <a:pt x="193" y="493"/>
                </a:lnTo>
                <a:lnTo>
                  <a:pt x="199" y="488"/>
                </a:lnTo>
                <a:lnTo>
                  <a:pt x="199" y="478"/>
                </a:lnTo>
                <a:lnTo>
                  <a:pt x="199" y="469"/>
                </a:lnTo>
                <a:lnTo>
                  <a:pt x="189" y="454"/>
                </a:lnTo>
                <a:lnTo>
                  <a:pt x="174" y="435"/>
                </a:lnTo>
                <a:lnTo>
                  <a:pt x="158" y="435"/>
                </a:lnTo>
                <a:lnTo>
                  <a:pt x="139" y="430"/>
                </a:lnTo>
                <a:lnTo>
                  <a:pt x="119" y="425"/>
                </a:lnTo>
                <a:lnTo>
                  <a:pt x="115" y="410"/>
                </a:lnTo>
                <a:lnTo>
                  <a:pt x="115" y="391"/>
                </a:lnTo>
                <a:lnTo>
                  <a:pt x="119" y="372"/>
                </a:lnTo>
                <a:lnTo>
                  <a:pt x="119" y="357"/>
                </a:lnTo>
                <a:lnTo>
                  <a:pt x="110" y="348"/>
                </a:lnTo>
                <a:lnTo>
                  <a:pt x="100" y="334"/>
                </a:lnTo>
                <a:lnTo>
                  <a:pt x="84" y="319"/>
                </a:lnTo>
                <a:lnTo>
                  <a:pt x="80" y="300"/>
                </a:lnTo>
                <a:lnTo>
                  <a:pt x="75" y="294"/>
                </a:lnTo>
                <a:lnTo>
                  <a:pt x="35" y="256"/>
                </a:lnTo>
                <a:lnTo>
                  <a:pt x="35" y="251"/>
                </a:lnTo>
                <a:lnTo>
                  <a:pt x="30" y="247"/>
                </a:lnTo>
                <a:lnTo>
                  <a:pt x="30" y="232"/>
                </a:lnTo>
                <a:lnTo>
                  <a:pt x="35" y="222"/>
                </a:lnTo>
                <a:lnTo>
                  <a:pt x="41" y="207"/>
                </a:lnTo>
                <a:lnTo>
                  <a:pt x="35" y="193"/>
                </a:lnTo>
                <a:lnTo>
                  <a:pt x="30" y="183"/>
                </a:lnTo>
                <a:lnTo>
                  <a:pt x="30" y="179"/>
                </a:lnTo>
                <a:lnTo>
                  <a:pt x="0" y="135"/>
                </a:lnTo>
                <a:lnTo>
                  <a:pt x="0" y="68"/>
                </a:lnTo>
                <a:lnTo>
                  <a:pt x="6" y="68"/>
                </a:lnTo>
                <a:lnTo>
                  <a:pt x="26" y="63"/>
                </a:lnTo>
                <a:lnTo>
                  <a:pt x="41" y="58"/>
                </a:lnTo>
                <a:lnTo>
                  <a:pt x="60" y="53"/>
                </a:lnTo>
                <a:lnTo>
                  <a:pt x="75" y="48"/>
                </a:lnTo>
                <a:lnTo>
                  <a:pt x="89" y="44"/>
                </a:lnTo>
                <a:lnTo>
                  <a:pt x="104" y="38"/>
                </a:lnTo>
                <a:lnTo>
                  <a:pt x="110" y="34"/>
                </a:lnTo>
                <a:lnTo>
                  <a:pt x="119" y="34"/>
                </a:lnTo>
                <a:lnTo>
                  <a:pt x="139" y="34"/>
                </a:lnTo>
                <a:lnTo>
                  <a:pt x="158" y="34"/>
                </a:lnTo>
                <a:lnTo>
                  <a:pt x="179" y="44"/>
                </a:lnTo>
                <a:lnTo>
                  <a:pt x="193" y="63"/>
                </a:lnTo>
                <a:lnTo>
                  <a:pt x="214" y="72"/>
                </a:lnTo>
                <a:lnTo>
                  <a:pt x="219" y="72"/>
                </a:lnTo>
                <a:lnTo>
                  <a:pt x="228" y="68"/>
                </a:lnTo>
                <a:lnTo>
                  <a:pt x="234" y="58"/>
                </a:lnTo>
                <a:lnTo>
                  <a:pt x="238" y="44"/>
                </a:lnTo>
                <a:lnTo>
                  <a:pt x="249" y="15"/>
                </a:lnTo>
                <a:lnTo>
                  <a:pt x="253" y="4"/>
                </a:lnTo>
                <a:lnTo>
                  <a:pt x="263" y="0"/>
                </a:lnTo>
                <a:lnTo>
                  <a:pt x="273" y="4"/>
                </a:lnTo>
                <a:lnTo>
                  <a:pt x="297" y="19"/>
                </a:lnTo>
                <a:lnTo>
                  <a:pt x="312" y="29"/>
                </a:lnTo>
                <a:lnTo>
                  <a:pt x="327" y="29"/>
                </a:lnTo>
                <a:lnTo>
                  <a:pt x="332" y="29"/>
                </a:lnTo>
                <a:lnTo>
                  <a:pt x="338" y="29"/>
                </a:lnTo>
                <a:lnTo>
                  <a:pt x="342" y="34"/>
                </a:lnTo>
                <a:lnTo>
                  <a:pt x="347" y="44"/>
                </a:lnTo>
                <a:lnTo>
                  <a:pt x="367" y="68"/>
                </a:lnTo>
                <a:lnTo>
                  <a:pt x="377" y="82"/>
                </a:lnTo>
                <a:lnTo>
                  <a:pt x="377" y="97"/>
                </a:lnTo>
                <a:lnTo>
                  <a:pt x="372" y="111"/>
                </a:lnTo>
                <a:lnTo>
                  <a:pt x="367" y="121"/>
                </a:lnTo>
                <a:lnTo>
                  <a:pt x="367" y="131"/>
                </a:lnTo>
                <a:lnTo>
                  <a:pt x="377" y="140"/>
                </a:lnTo>
                <a:lnTo>
                  <a:pt x="392" y="150"/>
                </a:lnTo>
                <a:lnTo>
                  <a:pt x="401" y="159"/>
                </a:lnTo>
                <a:lnTo>
                  <a:pt x="412" y="164"/>
                </a:lnTo>
                <a:lnTo>
                  <a:pt x="417" y="173"/>
                </a:lnTo>
                <a:lnTo>
                  <a:pt x="417" y="183"/>
                </a:lnTo>
                <a:lnTo>
                  <a:pt x="417" y="193"/>
                </a:lnTo>
                <a:lnTo>
                  <a:pt x="412" y="198"/>
                </a:lnTo>
                <a:lnTo>
                  <a:pt x="412" y="207"/>
                </a:lnTo>
                <a:lnTo>
                  <a:pt x="412" y="226"/>
                </a:lnTo>
                <a:lnTo>
                  <a:pt x="421" y="241"/>
                </a:lnTo>
                <a:lnTo>
                  <a:pt x="432" y="251"/>
                </a:lnTo>
                <a:lnTo>
                  <a:pt x="442" y="251"/>
                </a:lnTo>
                <a:lnTo>
                  <a:pt x="451" y="256"/>
                </a:lnTo>
                <a:lnTo>
                  <a:pt x="456" y="260"/>
                </a:lnTo>
                <a:lnTo>
                  <a:pt x="462" y="271"/>
                </a:lnTo>
                <a:lnTo>
                  <a:pt x="471" y="275"/>
                </a:lnTo>
                <a:lnTo>
                  <a:pt x="486" y="275"/>
                </a:lnTo>
                <a:lnTo>
                  <a:pt x="496" y="271"/>
                </a:lnTo>
                <a:lnTo>
                  <a:pt x="506" y="266"/>
                </a:lnTo>
                <a:lnTo>
                  <a:pt x="510" y="266"/>
                </a:lnTo>
                <a:lnTo>
                  <a:pt x="516" y="271"/>
                </a:lnTo>
                <a:lnTo>
                  <a:pt x="520" y="290"/>
                </a:lnTo>
                <a:lnTo>
                  <a:pt x="525" y="309"/>
                </a:lnTo>
                <a:lnTo>
                  <a:pt x="525" y="328"/>
                </a:lnTo>
                <a:lnTo>
                  <a:pt x="531" y="338"/>
                </a:lnTo>
                <a:lnTo>
                  <a:pt x="540" y="348"/>
                </a:lnTo>
                <a:lnTo>
                  <a:pt x="575" y="367"/>
                </a:lnTo>
                <a:lnTo>
                  <a:pt x="585" y="377"/>
                </a:lnTo>
                <a:lnTo>
                  <a:pt x="595" y="382"/>
                </a:lnTo>
                <a:lnTo>
                  <a:pt x="601" y="391"/>
                </a:lnTo>
                <a:lnTo>
                  <a:pt x="601" y="396"/>
                </a:lnTo>
                <a:lnTo>
                  <a:pt x="590" y="406"/>
                </a:lnTo>
                <a:lnTo>
                  <a:pt x="580" y="420"/>
                </a:lnTo>
                <a:lnTo>
                  <a:pt x="580" y="430"/>
                </a:lnTo>
                <a:lnTo>
                  <a:pt x="590" y="440"/>
                </a:lnTo>
                <a:lnTo>
                  <a:pt x="601" y="454"/>
                </a:lnTo>
                <a:lnTo>
                  <a:pt x="610" y="469"/>
                </a:lnTo>
                <a:lnTo>
                  <a:pt x="614" y="483"/>
                </a:lnTo>
                <a:lnTo>
                  <a:pt x="620" y="488"/>
                </a:lnTo>
                <a:lnTo>
                  <a:pt x="614" y="488"/>
                </a:lnTo>
                <a:lnTo>
                  <a:pt x="610" y="488"/>
                </a:lnTo>
                <a:lnTo>
                  <a:pt x="595" y="488"/>
                </a:lnTo>
                <a:lnTo>
                  <a:pt x="580" y="497"/>
                </a:lnTo>
                <a:lnTo>
                  <a:pt x="570" y="512"/>
                </a:lnTo>
                <a:lnTo>
                  <a:pt x="566" y="522"/>
                </a:lnTo>
                <a:lnTo>
                  <a:pt x="555" y="527"/>
                </a:lnTo>
                <a:lnTo>
                  <a:pt x="545" y="527"/>
                </a:lnTo>
                <a:lnTo>
                  <a:pt x="531" y="527"/>
                </a:lnTo>
                <a:lnTo>
                  <a:pt x="506" y="527"/>
                </a:lnTo>
                <a:lnTo>
                  <a:pt x="486" y="531"/>
                </a:lnTo>
                <a:lnTo>
                  <a:pt x="477" y="537"/>
                </a:lnTo>
                <a:lnTo>
                  <a:pt x="471" y="537"/>
                </a:lnTo>
                <a:lnTo>
                  <a:pt x="466" y="541"/>
                </a:lnTo>
                <a:lnTo>
                  <a:pt x="462" y="550"/>
                </a:lnTo>
                <a:lnTo>
                  <a:pt x="456" y="556"/>
                </a:lnTo>
                <a:close/>
              </a:path>
            </a:pathLst>
          </a:custGeom>
          <a:solidFill>
            <a:srgbClr val="CCECFF"/>
          </a:solidFill>
          <a:ln w="9525">
            <a:solidFill>
              <a:schemeClr val="bg1"/>
            </a:solidFill>
            <a:round/>
            <a:headEnd/>
            <a:tailEnd/>
          </a:ln>
        </p:spPr>
        <p:txBody>
          <a:bodyPr/>
          <a:lstStyle/>
          <a:p>
            <a:endParaRPr lang="ro-RO"/>
          </a:p>
        </p:txBody>
      </p:sp>
      <p:sp>
        <p:nvSpPr>
          <p:cNvPr id="12329" name="Freeform 39"/>
          <p:cNvSpPr>
            <a:spLocks noEditPoints="1"/>
          </p:cNvSpPr>
          <p:nvPr/>
        </p:nvSpPr>
        <p:spPr bwMode="auto">
          <a:xfrm>
            <a:off x="3751263" y="3748088"/>
            <a:ext cx="804862" cy="815975"/>
          </a:xfrm>
          <a:custGeom>
            <a:avLst/>
            <a:gdLst>
              <a:gd name="T0" fmla="*/ 2147483647 w 1969"/>
              <a:gd name="T1" fmla="*/ 2147483647 h 1857"/>
              <a:gd name="T2" fmla="*/ 2147483647 w 1969"/>
              <a:gd name="T3" fmla="*/ 2147483647 h 1857"/>
              <a:gd name="T4" fmla="*/ 2147483647 w 1969"/>
              <a:gd name="T5" fmla="*/ 2147483647 h 1857"/>
              <a:gd name="T6" fmla="*/ 2147483647 w 1969"/>
              <a:gd name="T7" fmla="*/ 2147483647 h 1857"/>
              <a:gd name="T8" fmla="*/ 2147483647 w 1969"/>
              <a:gd name="T9" fmla="*/ 2147483647 h 1857"/>
              <a:gd name="T10" fmla="*/ 2147483647 w 1969"/>
              <a:gd name="T11" fmla="*/ 2147483647 h 1857"/>
              <a:gd name="T12" fmla="*/ 2147483647 w 1969"/>
              <a:gd name="T13" fmla="*/ 2147483647 h 1857"/>
              <a:gd name="T14" fmla="*/ 2147483647 w 1969"/>
              <a:gd name="T15" fmla="*/ 2147483647 h 1857"/>
              <a:gd name="T16" fmla="*/ 2147483647 w 1969"/>
              <a:gd name="T17" fmla="*/ 2147483647 h 1857"/>
              <a:gd name="T18" fmla="*/ 2147483647 w 1969"/>
              <a:gd name="T19" fmla="*/ 2147483647 h 1857"/>
              <a:gd name="T20" fmla="*/ 0 w 1969"/>
              <a:gd name="T21" fmla="*/ 2147483647 h 1857"/>
              <a:gd name="T22" fmla="*/ 2147483647 w 1969"/>
              <a:gd name="T23" fmla="*/ 2147483647 h 1857"/>
              <a:gd name="T24" fmla="*/ 2147483647 w 1969"/>
              <a:gd name="T25" fmla="*/ 2147483647 h 1857"/>
              <a:gd name="T26" fmla="*/ 2147483647 w 1969"/>
              <a:gd name="T27" fmla="*/ 2147483647 h 1857"/>
              <a:gd name="T28" fmla="*/ 2147483647 w 1969"/>
              <a:gd name="T29" fmla="*/ 2147483647 h 1857"/>
              <a:gd name="T30" fmla="*/ 2147483647 w 1969"/>
              <a:gd name="T31" fmla="*/ 2147483647 h 1857"/>
              <a:gd name="T32" fmla="*/ 2147483647 w 1969"/>
              <a:gd name="T33" fmla="*/ 2147483647 h 1857"/>
              <a:gd name="T34" fmla="*/ 2147483647 w 1969"/>
              <a:gd name="T35" fmla="*/ 2147483647 h 1857"/>
              <a:gd name="T36" fmla="*/ 2147483647 w 1969"/>
              <a:gd name="T37" fmla="*/ 2147483647 h 1857"/>
              <a:gd name="T38" fmla="*/ 2147483647 w 1969"/>
              <a:gd name="T39" fmla="*/ 2147483647 h 1857"/>
              <a:gd name="T40" fmla="*/ 2147483647 w 1969"/>
              <a:gd name="T41" fmla="*/ 2147483647 h 1857"/>
              <a:gd name="T42" fmla="*/ 2147483647 w 1969"/>
              <a:gd name="T43" fmla="*/ 2147483647 h 1857"/>
              <a:gd name="T44" fmla="*/ 2147483647 w 1969"/>
              <a:gd name="T45" fmla="*/ 2147483647 h 1857"/>
              <a:gd name="T46" fmla="*/ 2147483647 w 1969"/>
              <a:gd name="T47" fmla="*/ 2147483647 h 1857"/>
              <a:gd name="T48" fmla="*/ 2147483647 w 1969"/>
              <a:gd name="T49" fmla="*/ 2147483647 h 1857"/>
              <a:gd name="T50" fmla="*/ 2147483647 w 1969"/>
              <a:gd name="T51" fmla="*/ 2147483647 h 1857"/>
              <a:gd name="T52" fmla="*/ 2147483647 w 1969"/>
              <a:gd name="T53" fmla="*/ 2147483647 h 1857"/>
              <a:gd name="T54" fmla="*/ 2147483647 w 1969"/>
              <a:gd name="T55" fmla="*/ 2147483647 h 1857"/>
              <a:gd name="T56" fmla="*/ 2147483647 w 1969"/>
              <a:gd name="T57" fmla="*/ 2147483647 h 1857"/>
              <a:gd name="T58" fmla="*/ 2147483647 w 1969"/>
              <a:gd name="T59" fmla="*/ 2147483647 h 1857"/>
              <a:gd name="T60" fmla="*/ 2147483647 w 1969"/>
              <a:gd name="T61" fmla="*/ 2147483647 h 1857"/>
              <a:gd name="T62" fmla="*/ 2147483647 w 1969"/>
              <a:gd name="T63" fmla="*/ 2147483647 h 1857"/>
              <a:gd name="T64" fmla="*/ 2147483647 w 1969"/>
              <a:gd name="T65" fmla="*/ 2147483647 h 1857"/>
              <a:gd name="T66" fmla="*/ 2147483647 w 1969"/>
              <a:gd name="T67" fmla="*/ 2147483647 h 1857"/>
              <a:gd name="T68" fmla="*/ 2147483647 w 1969"/>
              <a:gd name="T69" fmla="*/ 2147483647 h 1857"/>
              <a:gd name="T70" fmla="*/ 2147483647 w 1969"/>
              <a:gd name="T71" fmla="*/ 2147483647 h 1857"/>
              <a:gd name="T72" fmla="*/ 2147483647 w 1969"/>
              <a:gd name="T73" fmla="*/ 2147483647 h 1857"/>
              <a:gd name="T74" fmla="*/ 2147483647 w 1969"/>
              <a:gd name="T75" fmla="*/ 2147483647 h 1857"/>
              <a:gd name="T76" fmla="*/ 2147483647 w 1969"/>
              <a:gd name="T77" fmla="*/ 2147483647 h 1857"/>
              <a:gd name="T78" fmla="*/ 2147483647 w 1969"/>
              <a:gd name="T79" fmla="*/ 2147483647 h 1857"/>
              <a:gd name="T80" fmla="*/ 2147483647 w 1969"/>
              <a:gd name="T81" fmla="*/ 2147483647 h 1857"/>
              <a:gd name="T82" fmla="*/ 2147483647 w 1969"/>
              <a:gd name="T83" fmla="*/ 2147483647 h 1857"/>
              <a:gd name="T84" fmla="*/ 2147483647 w 1969"/>
              <a:gd name="T85" fmla="*/ 2147483647 h 1857"/>
              <a:gd name="T86" fmla="*/ 2147483647 w 1969"/>
              <a:gd name="T87" fmla="*/ 2147483647 h 1857"/>
              <a:gd name="T88" fmla="*/ 2147483647 w 1969"/>
              <a:gd name="T89" fmla="*/ 2147483647 h 1857"/>
              <a:gd name="T90" fmla="*/ 2147483647 w 1969"/>
              <a:gd name="T91" fmla="*/ 2147483647 h 1857"/>
              <a:gd name="T92" fmla="*/ 2147483647 w 1969"/>
              <a:gd name="T93" fmla="*/ 2147483647 h 1857"/>
              <a:gd name="T94" fmla="*/ 2147483647 w 1969"/>
              <a:gd name="T95" fmla="*/ 2147483647 h 1857"/>
              <a:gd name="T96" fmla="*/ 2147483647 w 1969"/>
              <a:gd name="T97" fmla="*/ 2147483647 h 1857"/>
              <a:gd name="T98" fmla="*/ 2147483647 w 1969"/>
              <a:gd name="T99" fmla="*/ 2147483647 h 1857"/>
              <a:gd name="T100" fmla="*/ 2147483647 w 1969"/>
              <a:gd name="T101" fmla="*/ 2147483647 h 1857"/>
              <a:gd name="T102" fmla="*/ 2147483647 w 1969"/>
              <a:gd name="T103" fmla="*/ 2147483647 h 1857"/>
              <a:gd name="T104" fmla="*/ 2147483647 w 1969"/>
              <a:gd name="T105" fmla="*/ 2147483647 h 1857"/>
              <a:gd name="T106" fmla="*/ 2147483647 w 1969"/>
              <a:gd name="T107" fmla="*/ 2147483647 h 1857"/>
              <a:gd name="T108" fmla="*/ 2147483647 w 1969"/>
              <a:gd name="T109" fmla="*/ 2147483647 h 1857"/>
              <a:gd name="T110" fmla="*/ 2147483647 w 1969"/>
              <a:gd name="T111" fmla="*/ 2147483647 h 185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969"/>
              <a:gd name="T169" fmla="*/ 0 h 1857"/>
              <a:gd name="T170" fmla="*/ 1969 w 1969"/>
              <a:gd name="T171" fmla="*/ 1857 h 185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969" h="1857">
                <a:moveTo>
                  <a:pt x="1449" y="1765"/>
                </a:moveTo>
                <a:lnTo>
                  <a:pt x="1358" y="1854"/>
                </a:lnTo>
                <a:cubicBezTo>
                  <a:pt x="1356" y="1856"/>
                  <a:pt x="1352" y="1857"/>
                  <a:pt x="1349" y="1856"/>
                </a:cubicBezTo>
                <a:cubicBezTo>
                  <a:pt x="1346" y="1855"/>
                  <a:pt x="1344" y="1852"/>
                  <a:pt x="1344" y="1848"/>
                </a:cubicBezTo>
                <a:lnTo>
                  <a:pt x="1344" y="1834"/>
                </a:lnTo>
                <a:lnTo>
                  <a:pt x="1349" y="1842"/>
                </a:lnTo>
                <a:lnTo>
                  <a:pt x="1316" y="1827"/>
                </a:lnTo>
                <a:lnTo>
                  <a:pt x="1287" y="1813"/>
                </a:lnTo>
                <a:lnTo>
                  <a:pt x="1290" y="1814"/>
                </a:lnTo>
                <a:lnTo>
                  <a:pt x="1243" y="1814"/>
                </a:lnTo>
                <a:lnTo>
                  <a:pt x="1245" y="1814"/>
                </a:lnTo>
                <a:lnTo>
                  <a:pt x="1198" y="1828"/>
                </a:lnTo>
                <a:lnTo>
                  <a:pt x="1151" y="1842"/>
                </a:lnTo>
                <a:lnTo>
                  <a:pt x="1103" y="1856"/>
                </a:lnTo>
                <a:cubicBezTo>
                  <a:pt x="1103" y="1856"/>
                  <a:pt x="1102" y="1856"/>
                  <a:pt x="1101" y="1856"/>
                </a:cubicBezTo>
                <a:lnTo>
                  <a:pt x="1086" y="1856"/>
                </a:lnTo>
                <a:lnTo>
                  <a:pt x="1072" y="1856"/>
                </a:lnTo>
                <a:cubicBezTo>
                  <a:pt x="1071" y="1856"/>
                  <a:pt x="1070" y="1856"/>
                  <a:pt x="1069" y="1856"/>
                </a:cubicBezTo>
                <a:lnTo>
                  <a:pt x="1036" y="1842"/>
                </a:lnTo>
                <a:lnTo>
                  <a:pt x="989" y="1828"/>
                </a:lnTo>
                <a:lnTo>
                  <a:pt x="992" y="1828"/>
                </a:lnTo>
                <a:lnTo>
                  <a:pt x="963" y="1828"/>
                </a:lnTo>
                <a:lnTo>
                  <a:pt x="915" y="1828"/>
                </a:lnTo>
                <a:lnTo>
                  <a:pt x="897" y="1828"/>
                </a:lnTo>
                <a:lnTo>
                  <a:pt x="882" y="1828"/>
                </a:lnTo>
                <a:cubicBezTo>
                  <a:pt x="880" y="1828"/>
                  <a:pt x="878" y="1827"/>
                  <a:pt x="877" y="1826"/>
                </a:cubicBezTo>
                <a:lnTo>
                  <a:pt x="862" y="1812"/>
                </a:lnTo>
                <a:lnTo>
                  <a:pt x="830" y="1780"/>
                </a:lnTo>
                <a:lnTo>
                  <a:pt x="800" y="1747"/>
                </a:lnTo>
                <a:cubicBezTo>
                  <a:pt x="800" y="1747"/>
                  <a:pt x="799" y="1746"/>
                  <a:pt x="799" y="1746"/>
                </a:cubicBezTo>
                <a:lnTo>
                  <a:pt x="784" y="1717"/>
                </a:lnTo>
                <a:lnTo>
                  <a:pt x="787" y="1720"/>
                </a:lnTo>
                <a:lnTo>
                  <a:pt x="740" y="1688"/>
                </a:lnTo>
                <a:lnTo>
                  <a:pt x="741" y="1689"/>
                </a:lnTo>
                <a:lnTo>
                  <a:pt x="708" y="1675"/>
                </a:lnTo>
                <a:lnTo>
                  <a:pt x="715" y="1675"/>
                </a:lnTo>
                <a:lnTo>
                  <a:pt x="686" y="1689"/>
                </a:lnTo>
                <a:lnTo>
                  <a:pt x="653" y="1706"/>
                </a:lnTo>
                <a:cubicBezTo>
                  <a:pt x="652" y="1707"/>
                  <a:pt x="651" y="1707"/>
                  <a:pt x="649" y="1707"/>
                </a:cubicBezTo>
                <a:lnTo>
                  <a:pt x="617" y="1707"/>
                </a:lnTo>
                <a:cubicBezTo>
                  <a:pt x="615" y="1707"/>
                  <a:pt x="614" y="1707"/>
                  <a:pt x="613" y="1706"/>
                </a:cubicBezTo>
                <a:lnTo>
                  <a:pt x="551" y="1674"/>
                </a:lnTo>
                <a:cubicBezTo>
                  <a:pt x="550" y="1674"/>
                  <a:pt x="549" y="1673"/>
                  <a:pt x="548" y="1672"/>
                </a:cubicBezTo>
                <a:lnTo>
                  <a:pt x="519" y="1625"/>
                </a:lnTo>
                <a:cubicBezTo>
                  <a:pt x="518" y="1624"/>
                  <a:pt x="518" y="1623"/>
                  <a:pt x="518" y="1621"/>
                </a:cubicBezTo>
                <a:lnTo>
                  <a:pt x="518" y="1607"/>
                </a:lnTo>
                <a:cubicBezTo>
                  <a:pt x="518" y="1604"/>
                  <a:pt x="519" y="1601"/>
                  <a:pt x="522" y="1600"/>
                </a:cubicBezTo>
                <a:lnTo>
                  <a:pt x="551" y="1586"/>
                </a:lnTo>
                <a:lnTo>
                  <a:pt x="613" y="1554"/>
                </a:lnTo>
                <a:lnTo>
                  <a:pt x="612" y="1554"/>
                </a:lnTo>
                <a:lnTo>
                  <a:pt x="630" y="1540"/>
                </a:lnTo>
                <a:lnTo>
                  <a:pt x="627" y="1547"/>
                </a:lnTo>
                <a:lnTo>
                  <a:pt x="627" y="1515"/>
                </a:lnTo>
                <a:lnTo>
                  <a:pt x="627" y="1486"/>
                </a:lnTo>
                <a:lnTo>
                  <a:pt x="628" y="1491"/>
                </a:lnTo>
                <a:lnTo>
                  <a:pt x="596" y="1445"/>
                </a:lnTo>
                <a:lnTo>
                  <a:pt x="548" y="1385"/>
                </a:lnTo>
                <a:lnTo>
                  <a:pt x="555" y="1388"/>
                </a:lnTo>
                <a:lnTo>
                  <a:pt x="507" y="1388"/>
                </a:lnTo>
                <a:cubicBezTo>
                  <a:pt x="507" y="1388"/>
                  <a:pt x="506" y="1387"/>
                  <a:pt x="505" y="1387"/>
                </a:cubicBezTo>
                <a:lnTo>
                  <a:pt x="443" y="1370"/>
                </a:lnTo>
                <a:lnTo>
                  <a:pt x="382" y="1355"/>
                </a:lnTo>
                <a:cubicBezTo>
                  <a:pt x="379" y="1355"/>
                  <a:pt x="377" y="1353"/>
                  <a:pt x="376" y="1350"/>
                </a:cubicBezTo>
                <a:lnTo>
                  <a:pt x="361" y="1304"/>
                </a:lnTo>
                <a:cubicBezTo>
                  <a:pt x="361" y="1303"/>
                  <a:pt x="361" y="1302"/>
                  <a:pt x="361" y="1301"/>
                </a:cubicBezTo>
                <a:lnTo>
                  <a:pt x="361" y="1241"/>
                </a:lnTo>
                <a:cubicBezTo>
                  <a:pt x="361" y="1240"/>
                  <a:pt x="361" y="1240"/>
                  <a:pt x="361" y="1239"/>
                </a:cubicBezTo>
                <a:lnTo>
                  <a:pt x="376" y="1179"/>
                </a:lnTo>
                <a:lnTo>
                  <a:pt x="376" y="1181"/>
                </a:lnTo>
                <a:lnTo>
                  <a:pt x="376" y="1134"/>
                </a:lnTo>
                <a:lnTo>
                  <a:pt x="378" y="1140"/>
                </a:lnTo>
                <a:lnTo>
                  <a:pt x="349" y="1112"/>
                </a:lnTo>
                <a:cubicBezTo>
                  <a:pt x="348" y="1111"/>
                  <a:pt x="348" y="1111"/>
                  <a:pt x="348" y="1111"/>
                </a:cubicBezTo>
                <a:lnTo>
                  <a:pt x="315" y="1065"/>
                </a:lnTo>
                <a:lnTo>
                  <a:pt x="316" y="1066"/>
                </a:lnTo>
                <a:lnTo>
                  <a:pt x="269" y="1019"/>
                </a:lnTo>
                <a:cubicBezTo>
                  <a:pt x="268" y="1018"/>
                  <a:pt x="267" y="1017"/>
                  <a:pt x="267" y="1016"/>
                </a:cubicBezTo>
                <a:lnTo>
                  <a:pt x="252" y="955"/>
                </a:lnTo>
                <a:lnTo>
                  <a:pt x="254" y="958"/>
                </a:lnTo>
                <a:lnTo>
                  <a:pt x="239" y="941"/>
                </a:lnTo>
                <a:lnTo>
                  <a:pt x="112" y="821"/>
                </a:lnTo>
                <a:cubicBezTo>
                  <a:pt x="111" y="819"/>
                  <a:pt x="110" y="817"/>
                  <a:pt x="110" y="815"/>
                </a:cubicBezTo>
                <a:lnTo>
                  <a:pt x="110" y="801"/>
                </a:lnTo>
                <a:lnTo>
                  <a:pt x="112" y="806"/>
                </a:lnTo>
                <a:lnTo>
                  <a:pt x="98" y="792"/>
                </a:lnTo>
                <a:cubicBezTo>
                  <a:pt x="96" y="791"/>
                  <a:pt x="95" y="789"/>
                  <a:pt x="95" y="786"/>
                </a:cubicBezTo>
                <a:lnTo>
                  <a:pt x="95" y="740"/>
                </a:lnTo>
                <a:cubicBezTo>
                  <a:pt x="95" y="739"/>
                  <a:pt x="95" y="738"/>
                  <a:pt x="96" y="737"/>
                </a:cubicBezTo>
                <a:lnTo>
                  <a:pt x="110" y="705"/>
                </a:lnTo>
                <a:lnTo>
                  <a:pt x="128" y="659"/>
                </a:lnTo>
                <a:lnTo>
                  <a:pt x="128" y="665"/>
                </a:lnTo>
                <a:lnTo>
                  <a:pt x="110" y="619"/>
                </a:lnTo>
                <a:lnTo>
                  <a:pt x="96" y="591"/>
                </a:lnTo>
                <a:cubicBezTo>
                  <a:pt x="95" y="590"/>
                  <a:pt x="95" y="589"/>
                  <a:pt x="95" y="587"/>
                </a:cubicBezTo>
                <a:lnTo>
                  <a:pt x="95" y="573"/>
                </a:lnTo>
                <a:lnTo>
                  <a:pt x="97" y="578"/>
                </a:lnTo>
                <a:lnTo>
                  <a:pt x="2" y="439"/>
                </a:lnTo>
                <a:cubicBezTo>
                  <a:pt x="1" y="438"/>
                  <a:pt x="0" y="436"/>
                  <a:pt x="0" y="435"/>
                </a:cubicBezTo>
                <a:lnTo>
                  <a:pt x="0" y="222"/>
                </a:lnTo>
                <a:cubicBezTo>
                  <a:pt x="0" y="217"/>
                  <a:pt x="4" y="214"/>
                  <a:pt x="8" y="214"/>
                </a:cubicBezTo>
                <a:lnTo>
                  <a:pt x="27" y="214"/>
                </a:lnTo>
                <a:lnTo>
                  <a:pt x="25" y="214"/>
                </a:lnTo>
                <a:lnTo>
                  <a:pt x="87" y="200"/>
                </a:lnTo>
                <a:lnTo>
                  <a:pt x="134" y="186"/>
                </a:lnTo>
                <a:lnTo>
                  <a:pt x="196" y="168"/>
                </a:lnTo>
                <a:lnTo>
                  <a:pt x="243" y="154"/>
                </a:lnTo>
                <a:lnTo>
                  <a:pt x="286" y="139"/>
                </a:lnTo>
                <a:lnTo>
                  <a:pt x="333" y="122"/>
                </a:lnTo>
                <a:lnTo>
                  <a:pt x="331" y="123"/>
                </a:lnTo>
                <a:lnTo>
                  <a:pt x="350" y="109"/>
                </a:lnTo>
                <a:cubicBezTo>
                  <a:pt x="351" y="108"/>
                  <a:pt x="353" y="107"/>
                  <a:pt x="354" y="107"/>
                </a:cubicBezTo>
                <a:lnTo>
                  <a:pt x="384" y="107"/>
                </a:lnTo>
                <a:lnTo>
                  <a:pt x="445" y="107"/>
                </a:lnTo>
                <a:lnTo>
                  <a:pt x="507" y="107"/>
                </a:lnTo>
                <a:cubicBezTo>
                  <a:pt x="509" y="107"/>
                  <a:pt x="510" y="107"/>
                  <a:pt x="511" y="108"/>
                </a:cubicBezTo>
                <a:lnTo>
                  <a:pt x="576" y="140"/>
                </a:lnTo>
                <a:cubicBezTo>
                  <a:pt x="578" y="140"/>
                  <a:pt x="579" y="141"/>
                  <a:pt x="579" y="142"/>
                </a:cubicBezTo>
                <a:lnTo>
                  <a:pt x="623" y="203"/>
                </a:lnTo>
                <a:lnTo>
                  <a:pt x="620" y="200"/>
                </a:lnTo>
                <a:lnTo>
                  <a:pt x="685" y="228"/>
                </a:lnTo>
                <a:lnTo>
                  <a:pt x="682" y="228"/>
                </a:lnTo>
                <a:lnTo>
                  <a:pt x="697" y="228"/>
                </a:lnTo>
                <a:lnTo>
                  <a:pt x="693" y="229"/>
                </a:lnTo>
                <a:lnTo>
                  <a:pt x="722" y="214"/>
                </a:lnTo>
                <a:lnTo>
                  <a:pt x="719" y="217"/>
                </a:lnTo>
                <a:lnTo>
                  <a:pt x="737" y="189"/>
                </a:lnTo>
                <a:lnTo>
                  <a:pt x="736" y="191"/>
                </a:lnTo>
                <a:lnTo>
                  <a:pt x="751" y="145"/>
                </a:lnTo>
                <a:lnTo>
                  <a:pt x="784" y="52"/>
                </a:lnTo>
                <a:lnTo>
                  <a:pt x="799" y="19"/>
                </a:lnTo>
                <a:cubicBezTo>
                  <a:pt x="800" y="18"/>
                  <a:pt x="801" y="16"/>
                  <a:pt x="803" y="15"/>
                </a:cubicBezTo>
                <a:lnTo>
                  <a:pt x="832" y="1"/>
                </a:lnTo>
                <a:cubicBezTo>
                  <a:pt x="834" y="0"/>
                  <a:pt x="836" y="0"/>
                  <a:pt x="838" y="1"/>
                </a:cubicBezTo>
                <a:lnTo>
                  <a:pt x="871" y="15"/>
                </a:lnTo>
                <a:lnTo>
                  <a:pt x="949" y="62"/>
                </a:lnTo>
                <a:lnTo>
                  <a:pt x="996" y="94"/>
                </a:lnTo>
                <a:lnTo>
                  <a:pt x="992" y="93"/>
                </a:lnTo>
                <a:lnTo>
                  <a:pt x="1039" y="93"/>
                </a:lnTo>
                <a:lnTo>
                  <a:pt x="1054" y="93"/>
                </a:lnTo>
                <a:lnTo>
                  <a:pt x="1072" y="93"/>
                </a:lnTo>
                <a:cubicBezTo>
                  <a:pt x="1074" y="93"/>
                  <a:pt x="1076" y="94"/>
                  <a:pt x="1077" y="95"/>
                </a:cubicBezTo>
                <a:lnTo>
                  <a:pt x="1092" y="109"/>
                </a:lnTo>
                <a:cubicBezTo>
                  <a:pt x="1093" y="110"/>
                  <a:pt x="1093" y="111"/>
                  <a:pt x="1094" y="112"/>
                </a:cubicBezTo>
                <a:lnTo>
                  <a:pt x="1108" y="144"/>
                </a:lnTo>
                <a:lnTo>
                  <a:pt x="1107" y="142"/>
                </a:lnTo>
                <a:lnTo>
                  <a:pt x="1169" y="216"/>
                </a:lnTo>
                <a:lnTo>
                  <a:pt x="1202" y="263"/>
                </a:lnTo>
                <a:cubicBezTo>
                  <a:pt x="1203" y="264"/>
                  <a:pt x="1204" y="266"/>
                  <a:pt x="1204" y="268"/>
                </a:cubicBezTo>
                <a:lnTo>
                  <a:pt x="1204" y="314"/>
                </a:lnTo>
                <a:cubicBezTo>
                  <a:pt x="1204" y="315"/>
                  <a:pt x="1204" y="316"/>
                  <a:pt x="1203" y="316"/>
                </a:cubicBezTo>
                <a:lnTo>
                  <a:pt x="1189" y="363"/>
                </a:lnTo>
                <a:cubicBezTo>
                  <a:pt x="1189" y="363"/>
                  <a:pt x="1188" y="364"/>
                  <a:pt x="1188" y="364"/>
                </a:cubicBezTo>
                <a:lnTo>
                  <a:pt x="1170" y="393"/>
                </a:lnTo>
                <a:lnTo>
                  <a:pt x="1171" y="389"/>
                </a:lnTo>
                <a:lnTo>
                  <a:pt x="1171" y="421"/>
                </a:lnTo>
                <a:lnTo>
                  <a:pt x="1168" y="414"/>
                </a:lnTo>
                <a:lnTo>
                  <a:pt x="1201" y="443"/>
                </a:lnTo>
                <a:lnTo>
                  <a:pt x="1248" y="474"/>
                </a:lnTo>
                <a:cubicBezTo>
                  <a:pt x="1248" y="475"/>
                  <a:pt x="1248" y="475"/>
                  <a:pt x="1249" y="475"/>
                </a:cubicBezTo>
                <a:lnTo>
                  <a:pt x="1278" y="504"/>
                </a:lnTo>
                <a:lnTo>
                  <a:pt x="1276" y="502"/>
                </a:lnTo>
                <a:lnTo>
                  <a:pt x="1309" y="520"/>
                </a:lnTo>
                <a:cubicBezTo>
                  <a:pt x="1310" y="521"/>
                  <a:pt x="1311" y="522"/>
                  <a:pt x="1312" y="523"/>
                </a:cubicBezTo>
                <a:lnTo>
                  <a:pt x="1327" y="552"/>
                </a:lnTo>
                <a:cubicBezTo>
                  <a:pt x="1327" y="553"/>
                  <a:pt x="1328" y="554"/>
                  <a:pt x="1328" y="555"/>
                </a:cubicBezTo>
                <a:lnTo>
                  <a:pt x="1328" y="587"/>
                </a:lnTo>
                <a:lnTo>
                  <a:pt x="1328" y="616"/>
                </a:lnTo>
                <a:cubicBezTo>
                  <a:pt x="1328" y="618"/>
                  <a:pt x="1327" y="620"/>
                  <a:pt x="1326" y="621"/>
                </a:cubicBezTo>
                <a:lnTo>
                  <a:pt x="1311" y="639"/>
                </a:lnTo>
                <a:lnTo>
                  <a:pt x="1313" y="634"/>
                </a:lnTo>
                <a:lnTo>
                  <a:pt x="1313" y="662"/>
                </a:lnTo>
                <a:lnTo>
                  <a:pt x="1313" y="722"/>
                </a:lnTo>
                <a:lnTo>
                  <a:pt x="1312" y="718"/>
                </a:lnTo>
                <a:lnTo>
                  <a:pt x="1341" y="764"/>
                </a:lnTo>
                <a:lnTo>
                  <a:pt x="1340" y="763"/>
                </a:lnTo>
                <a:lnTo>
                  <a:pt x="1372" y="795"/>
                </a:lnTo>
                <a:lnTo>
                  <a:pt x="1367" y="793"/>
                </a:lnTo>
                <a:lnTo>
                  <a:pt x="1400" y="793"/>
                </a:lnTo>
                <a:cubicBezTo>
                  <a:pt x="1401" y="793"/>
                  <a:pt x="1402" y="793"/>
                  <a:pt x="1403" y="793"/>
                </a:cubicBezTo>
                <a:lnTo>
                  <a:pt x="1432" y="808"/>
                </a:lnTo>
                <a:cubicBezTo>
                  <a:pt x="1433" y="808"/>
                  <a:pt x="1434" y="808"/>
                  <a:pt x="1434" y="809"/>
                </a:cubicBezTo>
                <a:lnTo>
                  <a:pt x="1449" y="823"/>
                </a:lnTo>
                <a:cubicBezTo>
                  <a:pt x="1449" y="824"/>
                  <a:pt x="1450" y="824"/>
                  <a:pt x="1450" y="825"/>
                </a:cubicBezTo>
                <a:lnTo>
                  <a:pt x="1468" y="857"/>
                </a:lnTo>
                <a:lnTo>
                  <a:pt x="1465" y="854"/>
                </a:lnTo>
                <a:lnTo>
                  <a:pt x="1494" y="868"/>
                </a:lnTo>
                <a:lnTo>
                  <a:pt x="1491" y="867"/>
                </a:lnTo>
                <a:lnTo>
                  <a:pt x="1538" y="867"/>
                </a:lnTo>
                <a:lnTo>
                  <a:pt x="1535" y="868"/>
                </a:lnTo>
                <a:lnTo>
                  <a:pt x="1568" y="854"/>
                </a:lnTo>
                <a:lnTo>
                  <a:pt x="1596" y="840"/>
                </a:lnTo>
                <a:cubicBezTo>
                  <a:pt x="1598" y="839"/>
                  <a:pt x="1599" y="839"/>
                  <a:pt x="1600" y="839"/>
                </a:cubicBezTo>
                <a:lnTo>
                  <a:pt x="1614" y="839"/>
                </a:lnTo>
                <a:cubicBezTo>
                  <a:pt x="1616" y="839"/>
                  <a:pt x="1618" y="839"/>
                  <a:pt x="1619" y="840"/>
                </a:cubicBezTo>
                <a:lnTo>
                  <a:pt x="1638" y="855"/>
                </a:lnTo>
                <a:cubicBezTo>
                  <a:pt x="1639" y="856"/>
                  <a:pt x="1640" y="857"/>
                  <a:pt x="1640" y="859"/>
                </a:cubicBezTo>
                <a:lnTo>
                  <a:pt x="1655" y="919"/>
                </a:lnTo>
                <a:lnTo>
                  <a:pt x="1670" y="980"/>
                </a:lnTo>
                <a:cubicBezTo>
                  <a:pt x="1670" y="980"/>
                  <a:pt x="1670" y="981"/>
                  <a:pt x="1670" y="982"/>
                </a:cubicBezTo>
                <a:lnTo>
                  <a:pt x="1670" y="1042"/>
                </a:lnTo>
                <a:lnTo>
                  <a:pt x="1669" y="1038"/>
                </a:lnTo>
                <a:lnTo>
                  <a:pt x="1687" y="1070"/>
                </a:lnTo>
                <a:lnTo>
                  <a:pt x="1686" y="1069"/>
                </a:lnTo>
                <a:lnTo>
                  <a:pt x="1715" y="1101"/>
                </a:lnTo>
                <a:lnTo>
                  <a:pt x="1713" y="1099"/>
                </a:lnTo>
                <a:lnTo>
                  <a:pt x="1822" y="1159"/>
                </a:lnTo>
                <a:cubicBezTo>
                  <a:pt x="1823" y="1160"/>
                  <a:pt x="1823" y="1160"/>
                  <a:pt x="1824" y="1160"/>
                </a:cubicBezTo>
                <a:lnTo>
                  <a:pt x="1856" y="1189"/>
                </a:lnTo>
                <a:lnTo>
                  <a:pt x="1855" y="1188"/>
                </a:lnTo>
                <a:lnTo>
                  <a:pt x="1885" y="1206"/>
                </a:lnTo>
                <a:cubicBezTo>
                  <a:pt x="1886" y="1206"/>
                  <a:pt x="1886" y="1207"/>
                  <a:pt x="1887" y="1208"/>
                </a:cubicBezTo>
                <a:lnTo>
                  <a:pt x="1905" y="1237"/>
                </a:lnTo>
                <a:cubicBezTo>
                  <a:pt x="1906" y="1238"/>
                  <a:pt x="1907" y="1240"/>
                  <a:pt x="1907" y="1241"/>
                </a:cubicBezTo>
                <a:lnTo>
                  <a:pt x="1907" y="1255"/>
                </a:lnTo>
                <a:cubicBezTo>
                  <a:pt x="1907" y="1257"/>
                  <a:pt x="1906" y="1259"/>
                  <a:pt x="1904" y="1261"/>
                </a:cubicBezTo>
                <a:lnTo>
                  <a:pt x="1871" y="1293"/>
                </a:lnTo>
                <a:lnTo>
                  <a:pt x="1872" y="1292"/>
                </a:lnTo>
                <a:lnTo>
                  <a:pt x="1840" y="1338"/>
                </a:lnTo>
                <a:lnTo>
                  <a:pt x="1841" y="1333"/>
                </a:lnTo>
                <a:lnTo>
                  <a:pt x="1841" y="1362"/>
                </a:lnTo>
                <a:lnTo>
                  <a:pt x="1839" y="1356"/>
                </a:lnTo>
                <a:lnTo>
                  <a:pt x="1871" y="1388"/>
                </a:lnTo>
                <a:cubicBezTo>
                  <a:pt x="1872" y="1388"/>
                  <a:pt x="1872" y="1389"/>
                  <a:pt x="1872" y="1389"/>
                </a:cubicBezTo>
                <a:lnTo>
                  <a:pt x="1905" y="1435"/>
                </a:lnTo>
                <a:lnTo>
                  <a:pt x="1934" y="1482"/>
                </a:lnTo>
                <a:cubicBezTo>
                  <a:pt x="1935" y="1482"/>
                  <a:pt x="1935" y="1483"/>
                  <a:pt x="1935" y="1484"/>
                </a:cubicBezTo>
                <a:lnTo>
                  <a:pt x="1950" y="1526"/>
                </a:lnTo>
                <a:lnTo>
                  <a:pt x="1948" y="1523"/>
                </a:lnTo>
                <a:lnTo>
                  <a:pt x="1966" y="1541"/>
                </a:lnTo>
                <a:cubicBezTo>
                  <a:pt x="1968" y="1543"/>
                  <a:pt x="1969" y="1547"/>
                  <a:pt x="1968" y="1550"/>
                </a:cubicBezTo>
                <a:cubicBezTo>
                  <a:pt x="1967" y="1553"/>
                  <a:pt x="1964" y="1555"/>
                  <a:pt x="1960" y="1555"/>
                </a:cubicBezTo>
                <a:lnTo>
                  <a:pt x="1942" y="1555"/>
                </a:lnTo>
                <a:lnTo>
                  <a:pt x="1928" y="1555"/>
                </a:lnTo>
                <a:lnTo>
                  <a:pt x="1880" y="1555"/>
                </a:lnTo>
                <a:lnTo>
                  <a:pt x="1884" y="1553"/>
                </a:lnTo>
                <a:lnTo>
                  <a:pt x="1837" y="1582"/>
                </a:lnTo>
                <a:lnTo>
                  <a:pt x="1840" y="1579"/>
                </a:lnTo>
                <a:lnTo>
                  <a:pt x="1811" y="1625"/>
                </a:lnTo>
                <a:lnTo>
                  <a:pt x="1797" y="1656"/>
                </a:lnTo>
                <a:cubicBezTo>
                  <a:pt x="1796" y="1658"/>
                  <a:pt x="1794" y="1660"/>
                  <a:pt x="1792" y="1660"/>
                </a:cubicBezTo>
                <a:lnTo>
                  <a:pt x="1760" y="1675"/>
                </a:lnTo>
                <a:cubicBezTo>
                  <a:pt x="1759" y="1675"/>
                  <a:pt x="1758" y="1675"/>
                  <a:pt x="1757" y="1675"/>
                </a:cubicBezTo>
                <a:lnTo>
                  <a:pt x="1724" y="1675"/>
                </a:lnTo>
                <a:lnTo>
                  <a:pt x="1680" y="1675"/>
                </a:lnTo>
                <a:lnTo>
                  <a:pt x="1600" y="1675"/>
                </a:lnTo>
                <a:lnTo>
                  <a:pt x="1602" y="1675"/>
                </a:lnTo>
                <a:lnTo>
                  <a:pt x="1540" y="1689"/>
                </a:lnTo>
                <a:lnTo>
                  <a:pt x="1542" y="1688"/>
                </a:lnTo>
                <a:lnTo>
                  <a:pt x="1513" y="1706"/>
                </a:lnTo>
                <a:cubicBezTo>
                  <a:pt x="1512" y="1707"/>
                  <a:pt x="1510" y="1707"/>
                  <a:pt x="1509" y="1707"/>
                </a:cubicBezTo>
                <a:lnTo>
                  <a:pt x="1491" y="1707"/>
                </a:lnTo>
                <a:lnTo>
                  <a:pt x="1496" y="1705"/>
                </a:lnTo>
                <a:lnTo>
                  <a:pt x="1482" y="1719"/>
                </a:lnTo>
                <a:lnTo>
                  <a:pt x="1483" y="1717"/>
                </a:lnTo>
                <a:lnTo>
                  <a:pt x="1469" y="1746"/>
                </a:lnTo>
                <a:cubicBezTo>
                  <a:pt x="1468" y="1746"/>
                  <a:pt x="1468" y="1747"/>
                  <a:pt x="1467" y="1748"/>
                </a:cubicBezTo>
                <a:lnTo>
                  <a:pt x="1449" y="1765"/>
                </a:lnTo>
                <a:close/>
                <a:moveTo>
                  <a:pt x="1456" y="1736"/>
                </a:moveTo>
                <a:lnTo>
                  <a:pt x="1454" y="1738"/>
                </a:lnTo>
                <a:lnTo>
                  <a:pt x="1469" y="1710"/>
                </a:lnTo>
                <a:cubicBezTo>
                  <a:pt x="1469" y="1709"/>
                  <a:pt x="1470" y="1708"/>
                  <a:pt x="1471" y="1708"/>
                </a:cubicBezTo>
                <a:lnTo>
                  <a:pt x="1485" y="1694"/>
                </a:lnTo>
                <a:cubicBezTo>
                  <a:pt x="1487" y="1692"/>
                  <a:pt x="1489" y="1691"/>
                  <a:pt x="1491" y="1691"/>
                </a:cubicBezTo>
                <a:lnTo>
                  <a:pt x="1509" y="1691"/>
                </a:lnTo>
                <a:lnTo>
                  <a:pt x="1505" y="1692"/>
                </a:lnTo>
                <a:lnTo>
                  <a:pt x="1534" y="1675"/>
                </a:lnTo>
                <a:cubicBezTo>
                  <a:pt x="1535" y="1674"/>
                  <a:pt x="1535" y="1674"/>
                  <a:pt x="1536" y="1674"/>
                </a:cubicBezTo>
                <a:lnTo>
                  <a:pt x="1598" y="1660"/>
                </a:lnTo>
                <a:cubicBezTo>
                  <a:pt x="1599" y="1659"/>
                  <a:pt x="1599" y="1659"/>
                  <a:pt x="1600" y="1659"/>
                </a:cubicBezTo>
                <a:lnTo>
                  <a:pt x="1680" y="1659"/>
                </a:lnTo>
                <a:lnTo>
                  <a:pt x="1724" y="1659"/>
                </a:lnTo>
                <a:lnTo>
                  <a:pt x="1757" y="1659"/>
                </a:lnTo>
                <a:lnTo>
                  <a:pt x="1753" y="1660"/>
                </a:lnTo>
                <a:lnTo>
                  <a:pt x="1786" y="1646"/>
                </a:lnTo>
                <a:lnTo>
                  <a:pt x="1782" y="1650"/>
                </a:lnTo>
                <a:lnTo>
                  <a:pt x="1797" y="1617"/>
                </a:lnTo>
                <a:lnTo>
                  <a:pt x="1826" y="1571"/>
                </a:lnTo>
                <a:cubicBezTo>
                  <a:pt x="1827" y="1570"/>
                  <a:pt x="1828" y="1569"/>
                  <a:pt x="1829" y="1568"/>
                </a:cubicBezTo>
                <a:lnTo>
                  <a:pt x="1876" y="1540"/>
                </a:lnTo>
                <a:cubicBezTo>
                  <a:pt x="1877" y="1539"/>
                  <a:pt x="1879" y="1539"/>
                  <a:pt x="1880" y="1539"/>
                </a:cubicBezTo>
                <a:lnTo>
                  <a:pt x="1928" y="1539"/>
                </a:lnTo>
                <a:lnTo>
                  <a:pt x="1942" y="1539"/>
                </a:lnTo>
                <a:lnTo>
                  <a:pt x="1960" y="1539"/>
                </a:lnTo>
                <a:lnTo>
                  <a:pt x="1955" y="1552"/>
                </a:lnTo>
                <a:lnTo>
                  <a:pt x="1937" y="1535"/>
                </a:lnTo>
                <a:cubicBezTo>
                  <a:pt x="1936" y="1534"/>
                  <a:pt x="1935" y="1533"/>
                  <a:pt x="1935" y="1531"/>
                </a:cubicBezTo>
                <a:lnTo>
                  <a:pt x="1920" y="1489"/>
                </a:lnTo>
                <a:lnTo>
                  <a:pt x="1921" y="1490"/>
                </a:lnTo>
                <a:lnTo>
                  <a:pt x="1892" y="1445"/>
                </a:lnTo>
                <a:lnTo>
                  <a:pt x="1859" y="1398"/>
                </a:lnTo>
                <a:lnTo>
                  <a:pt x="1860" y="1400"/>
                </a:lnTo>
                <a:lnTo>
                  <a:pt x="1827" y="1368"/>
                </a:lnTo>
                <a:cubicBezTo>
                  <a:pt x="1826" y="1366"/>
                  <a:pt x="1825" y="1364"/>
                  <a:pt x="1825" y="1362"/>
                </a:cubicBezTo>
                <a:lnTo>
                  <a:pt x="1825" y="1333"/>
                </a:lnTo>
                <a:cubicBezTo>
                  <a:pt x="1825" y="1332"/>
                  <a:pt x="1826" y="1330"/>
                  <a:pt x="1826" y="1329"/>
                </a:cubicBezTo>
                <a:lnTo>
                  <a:pt x="1859" y="1283"/>
                </a:lnTo>
                <a:cubicBezTo>
                  <a:pt x="1860" y="1282"/>
                  <a:pt x="1860" y="1282"/>
                  <a:pt x="1860" y="1281"/>
                </a:cubicBezTo>
                <a:lnTo>
                  <a:pt x="1893" y="1250"/>
                </a:lnTo>
                <a:lnTo>
                  <a:pt x="1891" y="1255"/>
                </a:lnTo>
                <a:lnTo>
                  <a:pt x="1891" y="1241"/>
                </a:lnTo>
                <a:lnTo>
                  <a:pt x="1892" y="1245"/>
                </a:lnTo>
                <a:lnTo>
                  <a:pt x="1874" y="1217"/>
                </a:lnTo>
                <a:lnTo>
                  <a:pt x="1876" y="1219"/>
                </a:lnTo>
                <a:lnTo>
                  <a:pt x="1847" y="1202"/>
                </a:lnTo>
                <a:cubicBezTo>
                  <a:pt x="1847" y="1201"/>
                  <a:pt x="1846" y="1201"/>
                  <a:pt x="1846" y="1201"/>
                </a:cubicBezTo>
                <a:lnTo>
                  <a:pt x="1813" y="1173"/>
                </a:lnTo>
                <a:lnTo>
                  <a:pt x="1815" y="1173"/>
                </a:lnTo>
                <a:lnTo>
                  <a:pt x="1705" y="1113"/>
                </a:lnTo>
                <a:cubicBezTo>
                  <a:pt x="1705" y="1113"/>
                  <a:pt x="1704" y="1112"/>
                  <a:pt x="1703" y="1111"/>
                </a:cubicBezTo>
                <a:lnTo>
                  <a:pt x="1674" y="1079"/>
                </a:lnTo>
                <a:cubicBezTo>
                  <a:pt x="1674" y="1079"/>
                  <a:pt x="1673" y="1079"/>
                  <a:pt x="1673" y="1078"/>
                </a:cubicBezTo>
                <a:lnTo>
                  <a:pt x="1655" y="1046"/>
                </a:lnTo>
                <a:cubicBezTo>
                  <a:pt x="1654" y="1045"/>
                  <a:pt x="1654" y="1044"/>
                  <a:pt x="1654" y="1042"/>
                </a:cubicBezTo>
                <a:lnTo>
                  <a:pt x="1654" y="982"/>
                </a:lnTo>
                <a:lnTo>
                  <a:pt x="1654" y="984"/>
                </a:lnTo>
                <a:lnTo>
                  <a:pt x="1639" y="923"/>
                </a:lnTo>
                <a:lnTo>
                  <a:pt x="1625" y="863"/>
                </a:lnTo>
                <a:lnTo>
                  <a:pt x="1628" y="867"/>
                </a:lnTo>
                <a:lnTo>
                  <a:pt x="1610" y="853"/>
                </a:lnTo>
                <a:lnTo>
                  <a:pt x="1614" y="855"/>
                </a:lnTo>
                <a:lnTo>
                  <a:pt x="1600" y="855"/>
                </a:lnTo>
                <a:lnTo>
                  <a:pt x="1603" y="854"/>
                </a:lnTo>
                <a:lnTo>
                  <a:pt x="1574" y="868"/>
                </a:lnTo>
                <a:lnTo>
                  <a:pt x="1541" y="883"/>
                </a:lnTo>
                <a:cubicBezTo>
                  <a:pt x="1540" y="883"/>
                  <a:pt x="1539" y="883"/>
                  <a:pt x="1538" y="883"/>
                </a:cubicBezTo>
                <a:lnTo>
                  <a:pt x="1491" y="883"/>
                </a:lnTo>
                <a:cubicBezTo>
                  <a:pt x="1489" y="883"/>
                  <a:pt x="1488" y="883"/>
                  <a:pt x="1487" y="882"/>
                </a:cubicBezTo>
                <a:lnTo>
                  <a:pt x="1458" y="868"/>
                </a:lnTo>
                <a:cubicBezTo>
                  <a:pt x="1457" y="867"/>
                  <a:pt x="1455" y="866"/>
                  <a:pt x="1455" y="865"/>
                </a:cubicBezTo>
                <a:lnTo>
                  <a:pt x="1436" y="833"/>
                </a:lnTo>
                <a:lnTo>
                  <a:pt x="1438" y="835"/>
                </a:lnTo>
                <a:lnTo>
                  <a:pt x="1423" y="821"/>
                </a:lnTo>
                <a:lnTo>
                  <a:pt x="1425" y="822"/>
                </a:lnTo>
                <a:lnTo>
                  <a:pt x="1396" y="808"/>
                </a:lnTo>
                <a:lnTo>
                  <a:pt x="1400" y="809"/>
                </a:lnTo>
                <a:lnTo>
                  <a:pt x="1367" y="809"/>
                </a:lnTo>
                <a:cubicBezTo>
                  <a:pt x="1365" y="809"/>
                  <a:pt x="1363" y="808"/>
                  <a:pt x="1361" y="806"/>
                </a:cubicBezTo>
                <a:lnTo>
                  <a:pt x="1328" y="774"/>
                </a:lnTo>
                <a:cubicBezTo>
                  <a:pt x="1328" y="774"/>
                  <a:pt x="1328" y="773"/>
                  <a:pt x="1327" y="773"/>
                </a:cubicBezTo>
                <a:lnTo>
                  <a:pt x="1298" y="727"/>
                </a:lnTo>
                <a:cubicBezTo>
                  <a:pt x="1297" y="725"/>
                  <a:pt x="1297" y="724"/>
                  <a:pt x="1297" y="722"/>
                </a:cubicBezTo>
                <a:lnTo>
                  <a:pt x="1297" y="662"/>
                </a:lnTo>
                <a:lnTo>
                  <a:pt x="1297" y="634"/>
                </a:lnTo>
                <a:cubicBezTo>
                  <a:pt x="1297" y="632"/>
                  <a:pt x="1298" y="630"/>
                  <a:pt x="1299" y="629"/>
                </a:cubicBezTo>
                <a:lnTo>
                  <a:pt x="1313" y="611"/>
                </a:lnTo>
                <a:lnTo>
                  <a:pt x="1312" y="616"/>
                </a:lnTo>
                <a:lnTo>
                  <a:pt x="1312" y="587"/>
                </a:lnTo>
                <a:lnTo>
                  <a:pt x="1312" y="555"/>
                </a:lnTo>
                <a:lnTo>
                  <a:pt x="1312" y="559"/>
                </a:lnTo>
                <a:lnTo>
                  <a:pt x="1298" y="531"/>
                </a:lnTo>
                <a:lnTo>
                  <a:pt x="1301" y="534"/>
                </a:lnTo>
                <a:lnTo>
                  <a:pt x="1268" y="516"/>
                </a:lnTo>
                <a:cubicBezTo>
                  <a:pt x="1268" y="516"/>
                  <a:pt x="1267" y="516"/>
                  <a:pt x="1267" y="515"/>
                </a:cubicBezTo>
                <a:lnTo>
                  <a:pt x="1237" y="487"/>
                </a:lnTo>
                <a:lnTo>
                  <a:pt x="1239" y="488"/>
                </a:lnTo>
                <a:lnTo>
                  <a:pt x="1190" y="455"/>
                </a:lnTo>
                <a:lnTo>
                  <a:pt x="1158" y="427"/>
                </a:lnTo>
                <a:cubicBezTo>
                  <a:pt x="1156" y="425"/>
                  <a:pt x="1155" y="423"/>
                  <a:pt x="1155" y="421"/>
                </a:cubicBezTo>
                <a:lnTo>
                  <a:pt x="1155" y="389"/>
                </a:lnTo>
                <a:cubicBezTo>
                  <a:pt x="1155" y="387"/>
                  <a:pt x="1155" y="386"/>
                  <a:pt x="1156" y="384"/>
                </a:cubicBezTo>
                <a:lnTo>
                  <a:pt x="1174" y="356"/>
                </a:lnTo>
                <a:lnTo>
                  <a:pt x="1173" y="358"/>
                </a:lnTo>
                <a:lnTo>
                  <a:pt x="1188" y="312"/>
                </a:lnTo>
                <a:lnTo>
                  <a:pt x="1188" y="314"/>
                </a:lnTo>
                <a:lnTo>
                  <a:pt x="1188" y="268"/>
                </a:lnTo>
                <a:lnTo>
                  <a:pt x="1189" y="272"/>
                </a:lnTo>
                <a:lnTo>
                  <a:pt x="1157" y="227"/>
                </a:lnTo>
                <a:lnTo>
                  <a:pt x="1095" y="152"/>
                </a:lnTo>
                <a:cubicBezTo>
                  <a:pt x="1094" y="152"/>
                  <a:pt x="1094" y="151"/>
                  <a:pt x="1094" y="150"/>
                </a:cubicBezTo>
                <a:lnTo>
                  <a:pt x="1079" y="118"/>
                </a:lnTo>
                <a:lnTo>
                  <a:pt x="1081" y="121"/>
                </a:lnTo>
                <a:lnTo>
                  <a:pt x="1066" y="107"/>
                </a:lnTo>
                <a:lnTo>
                  <a:pt x="1072" y="109"/>
                </a:lnTo>
                <a:lnTo>
                  <a:pt x="1054" y="109"/>
                </a:lnTo>
                <a:lnTo>
                  <a:pt x="1039" y="109"/>
                </a:lnTo>
                <a:lnTo>
                  <a:pt x="992" y="109"/>
                </a:lnTo>
                <a:cubicBezTo>
                  <a:pt x="990" y="109"/>
                  <a:pt x="989" y="108"/>
                  <a:pt x="987" y="107"/>
                </a:cubicBezTo>
                <a:lnTo>
                  <a:pt x="940" y="76"/>
                </a:lnTo>
                <a:lnTo>
                  <a:pt x="865" y="30"/>
                </a:lnTo>
                <a:lnTo>
                  <a:pt x="832" y="16"/>
                </a:lnTo>
                <a:lnTo>
                  <a:pt x="839" y="16"/>
                </a:lnTo>
                <a:lnTo>
                  <a:pt x="810" y="30"/>
                </a:lnTo>
                <a:lnTo>
                  <a:pt x="813" y="26"/>
                </a:lnTo>
                <a:lnTo>
                  <a:pt x="799" y="57"/>
                </a:lnTo>
                <a:lnTo>
                  <a:pt x="766" y="149"/>
                </a:lnTo>
                <a:lnTo>
                  <a:pt x="752" y="196"/>
                </a:lnTo>
                <a:cubicBezTo>
                  <a:pt x="752" y="196"/>
                  <a:pt x="751" y="197"/>
                  <a:pt x="751" y="197"/>
                </a:cubicBezTo>
                <a:lnTo>
                  <a:pt x="733" y="226"/>
                </a:lnTo>
                <a:cubicBezTo>
                  <a:pt x="732" y="227"/>
                  <a:pt x="731" y="228"/>
                  <a:pt x="729" y="229"/>
                </a:cubicBezTo>
                <a:lnTo>
                  <a:pt x="700" y="243"/>
                </a:lnTo>
                <a:cubicBezTo>
                  <a:pt x="699" y="244"/>
                  <a:pt x="698" y="244"/>
                  <a:pt x="697" y="244"/>
                </a:cubicBezTo>
                <a:lnTo>
                  <a:pt x="682" y="244"/>
                </a:lnTo>
                <a:cubicBezTo>
                  <a:pt x="681" y="244"/>
                  <a:pt x="680" y="244"/>
                  <a:pt x="679" y="243"/>
                </a:cubicBezTo>
                <a:lnTo>
                  <a:pt x="613" y="215"/>
                </a:lnTo>
                <a:cubicBezTo>
                  <a:pt x="612" y="214"/>
                  <a:pt x="611" y="213"/>
                  <a:pt x="610" y="212"/>
                </a:cubicBezTo>
                <a:lnTo>
                  <a:pt x="566" y="152"/>
                </a:lnTo>
                <a:lnTo>
                  <a:pt x="569" y="154"/>
                </a:lnTo>
                <a:lnTo>
                  <a:pt x="504" y="122"/>
                </a:lnTo>
                <a:lnTo>
                  <a:pt x="507" y="123"/>
                </a:lnTo>
                <a:lnTo>
                  <a:pt x="445" y="123"/>
                </a:lnTo>
                <a:lnTo>
                  <a:pt x="384" y="123"/>
                </a:lnTo>
                <a:lnTo>
                  <a:pt x="354" y="123"/>
                </a:lnTo>
                <a:lnTo>
                  <a:pt x="359" y="121"/>
                </a:lnTo>
                <a:lnTo>
                  <a:pt x="341" y="136"/>
                </a:lnTo>
                <a:cubicBezTo>
                  <a:pt x="341" y="136"/>
                  <a:pt x="340" y="136"/>
                  <a:pt x="339" y="137"/>
                </a:cubicBezTo>
                <a:lnTo>
                  <a:pt x="291" y="155"/>
                </a:lnTo>
                <a:lnTo>
                  <a:pt x="247" y="169"/>
                </a:lnTo>
                <a:lnTo>
                  <a:pt x="200" y="183"/>
                </a:lnTo>
                <a:lnTo>
                  <a:pt x="138" y="201"/>
                </a:lnTo>
                <a:lnTo>
                  <a:pt x="90" y="215"/>
                </a:lnTo>
                <a:lnTo>
                  <a:pt x="28" y="229"/>
                </a:lnTo>
                <a:cubicBezTo>
                  <a:pt x="28" y="230"/>
                  <a:pt x="27" y="230"/>
                  <a:pt x="27" y="230"/>
                </a:cubicBezTo>
                <a:lnTo>
                  <a:pt x="8" y="230"/>
                </a:lnTo>
                <a:lnTo>
                  <a:pt x="16" y="222"/>
                </a:lnTo>
                <a:lnTo>
                  <a:pt x="16" y="435"/>
                </a:lnTo>
                <a:lnTo>
                  <a:pt x="15" y="430"/>
                </a:lnTo>
                <a:lnTo>
                  <a:pt x="110" y="569"/>
                </a:lnTo>
                <a:cubicBezTo>
                  <a:pt x="111" y="570"/>
                  <a:pt x="111" y="572"/>
                  <a:pt x="111" y="573"/>
                </a:cubicBezTo>
                <a:lnTo>
                  <a:pt x="111" y="587"/>
                </a:lnTo>
                <a:lnTo>
                  <a:pt x="110" y="584"/>
                </a:lnTo>
                <a:lnTo>
                  <a:pt x="125" y="613"/>
                </a:lnTo>
                <a:lnTo>
                  <a:pt x="143" y="659"/>
                </a:lnTo>
                <a:cubicBezTo>
                  <a:pt x="144" y="661"/>
                  <a:pt x="144" y="663"/>
                  <a:pt x="143" y="665"/>
                </a:cubicBezTo>
                <a:lnTo>
                  <a:pt x="125" y="712"/>
                </a:lnTo>
                <a:lnTo>
                  <a:pt x="110" y="744"/>
                </a:lnTo>
                <a:lnTo>
                  <a:pt x="111" y="740"/>
                </a:lnTo>
                <a:lnTo>
                  <a:pt x="111" y="786"/>
                </a:lnTo>
                <a:lnTo>
                  <a:pt x="109" y="781"/>
                </a:lnTo>
                <a:lnTo>
                  <a:pt x="123" y="795"/>
                </a:lnTo>
                <a:cubicBezTo>
                  <a:pt x="125" y="796"/>
                  <a:pt x="126" y="798"/>
                  <a:pt x="126" y="801"/>
                </a:cubicBezTo>
                <a:lnTo>
                  <a:pt x="126" y="815"/>
                </a:lnTo>
                <a:lnTo>
                  <a:pt x="123" y="809"/>
                </a:lnTo>
                <a:lnTo>
                  <a:pt x="251" y="930"/>
                </a:lnTo>
                <a:lnTo>
                  <a:pt x="266" y="948"/>
                </a:lnTo>
                <a:cubicBezTo>
                  <a:pt x="267" y="949"/>
                  <a:pt x="267" y="950"/>
                  <a:pt x="268" y="951"/>
                </a:cubicBezTo>
                <a:lnTo>
                  <a:pt x="282" y="1012"/>
                </a:lnTo>
                <a:lnTo>
                  <a:pt x="280" y="1008"/>
                </a:lnTo>
                <a:lnTo>
                  <a:pt x="327" y="1054"/>
                </a:lnTo>
                <a:cubicBezTo>
                  <a:pt x="328" y="1054"/>
                  <a:pt x="328" y="1055"/>
                  <a:pt x="328" y="1055"/>
                </a:cubicBezTo>
                <a:lnTo>
                  <a:pt x="361" y="1101"/>
                </a:lnTo>
                <a:lnTo>
                  <a:pt x="360" y="1100"/>
                </a:lnTo>
                <a:lnTo>
                  <a:pt x="389" y="1129"/>
                </a:lnTo>
                <a:cubicBezTo>
                  <a:pt x="391" y="1130"/>
                  <a:pt x="392" y="1132"/>
                  <a:pt x="392" y="1134"/>
                </a:cubicBezTo>
                <a:lnTo>
                  <a:pt x="392" y="1181"/>
                </a:lnTo>
                <a:cubicBezTo>
                  <a:pt x="392" y="1181"/>
                  <a:pt x="392" y="1182"/>
                  <a:pt x="391" y="1183"/>
                </a:cubicBezTo>
                <a:lnTo>
                  <a:pt x="377" y="1243"/>
                </a:lnTo>
                <a:lnTo>
                  <a:pt x="377" y="1241"/>
                </a:lnTo>
                <a:lnTo>
                  <a:pt x="377" y="1301"/>
                </a:lnTo>
                <a:lnTo>
                  <a:pt x="377" y="1299"/>
                </a:lnTo>
                <a:lnTo>
                  <a:pt x="391" y="1345"/>
                </a:lnTo>
                <a:lnTo>
                  <a:pt x="385" y="1340"/>
                </a:lnTo>
                <a:lnTo>
                  <a:pt x="448" y="1354"/>
                </a:lnTo>
                <a:lnTo>
                  <a:pt x="510" y="1372"/>
                </a:lnTo>
                <a:lnTo>
                  <a:pt x="507" y="1372"/>
                </a:lnTo>
                <a:lnTo>
                  <a:pt x="555" y="1372"/>
                </a:lnTo>
                <a:cubicBezTo>
                  <a:pt x="557" y="1372"/>
                  <a:pt x="560" y="1373"/>
                  <a:pt x="561" y="1375"/>
                </a:cubicBezTo>
                <a:lnTo>
                  <a:pt x="609" y="1435"/>
                </a:lnTo>
                <a:lnTo>
                  <a:pt x="641" y="1482"/>
                </a:lnTo>
                <a:cubicBezTo>
                  <a:pt x="642" y="1483"/>
                  <a:pt x="643" y="1484"/>
                  <a:pt x="643" y="1486"/>
                </a:cubicBezTo>
                <a:lnTo>
                  <a:pt x="643" y="1515"/>
                </a:lnTo>
                <a:lnTo>
                  <a:pt x="643" y="1547"/>
                </a:lnTo>
                <a:cubicBezTo>
                  <a:pt x="643" y="1549"/>
                  <a:pt x="642" y="1551"/>
                  <a:pt x="640" y="1553"/>
                </a:cubicBezTo>
                <a:lnTo>
                  <a:pt x="622" y="1567"/>
                </a:lnTo>
                <a:cubicBezTo>
                  <a:pt x="621" y="1567"/>
                  <a:pt x="621" y="1568"/>
                  <a:pt x="620" y="1568"/>
                </a:cubicBezTo>
                <a:lnTo>
                  <a:pt x="558" y="1600"/>
                </a:lnTo>
                <a:lnTo>
                  <a:pt x="529" y="1614"/>
                </a:lnTo>
                <a:lnTo>
                  <a:pt x="534" y="1607"/>
                </a:lnTo>
                <a:lnTo>
                  <a:pt x="534" y="1621"/>
                </a:lnTo>
                <a:lnTo>
                  <a:pt x="532" y="1617"/>
                </a:lnTo>
                <a:lnTo>
                  <a:pt x="562" y="1663"/>
                </a:lnTo>
                <a:lnTo>
                  <a:pt x="558" y="1660"/>
                </a:lnTo>
                <a:lnTo>
                  <a:pt x="620" y="1692"/>
                </a:lnTo>
                <a:lnTo>
                  <a:pt x="617" y="1691"/>
                </a:lnTo>
                <a:lnTo>
                  <a:pt x="649" y="1691"/>
                </a:lnTo>
                <a:lnTo>
                  <a:pt x="646" y="1692"/>
                </a:lnTo>
                <a:lnTo>
                  <a:pt x="679" y="1674"/>
                </a:lnTo>
                <a:lnTo>
                  <a:pt x="708" y="1660"/>
                </a:lnTo>
                <a:cubicBezTo>
                  <a:pt x="710" y="1659"/>
                  <a:pt x="712" y="1659"/>
                  <a:pt x="715" y="1660"/>
                </a:cubicBezTo>
                <a:lnTo>
                  <a:pt x="747" y="1674"/>
                </a:lnTo>
                <a:cubicBezTo>
                  <a:pt x="748" y="1674"/>
                  <a:pt x="748" y="1675"/>
                  <a:pt x="749" y="1675"/>
                </a:cubicBezTo>
                <a:lnTo>
                  <a:pt x="796" y="1707"/>
                </a:lnTo>
                <a:cubicBezTo>
                  <a:pt x="797" y="1708"/>
                  <a:pt x="798" y="1709"/>
                  <a:pt x="799" y="1710"/>
                </a:cubicBezTo>
                <a:lnTo>
                  <a:pt x="813" y="1738"/>
                </a:lnTo>
                <a:lnTo>
                  <a:pt x="812" y="1737"/>
                </a:lnTo>
                <a:lnTo>
                  <a:pt x="841" y="1768"/>
                </a:lnTo>
                <a:lnTo>
                  <a:pt x="874" y="1800"/>
                </a:lnTo>
                <a:lnTo>
                  <a:pt x="888" y="1814"/>
                </a:lnTo>
                <a:lnTo>
                  <a:pt x="882" y="1812"/>
                </a:lnTo>
                <a:lnTo>
                  <a:pt x="897" y="1812"/>
                </a:lnTo>
                <a:lnTo>
                  <a:pt x="915" y="1812"/>
                </a:lnTo>
                <a:lnTo>
                  <a:pt x="963" y="1812"/>
                </a:lnTo>
                <a:lnTo>
                  <a:pt x="992" y="1812"/>
                </a:lnTo>
                <a:cubicBezTo>
                  <a:pt x="993" y="1812"/>
                  <a:pt x="993" y="1812"/>
                  <a:pt x="994" y="1812"/>
                </a:cubicBezTo>
                <a:lnTo>
                  <a:pt x="1042" y="1827"/>
                </a:lnTo>
                <a:lnTo>
                  <a:pt x="1075" y="1841"/>
                </a:lnTo>
                <a:lnTo>
                  <a:pt x="1072" y="1840"/>
                </a:lnTo>
                <a:lnTo>
                  <a:pt x="1086" y="1840"/>
                </a:lnTo>
                <a:lnTo>
                  <a:pt x="1101" y="1840"/>
                </a:lnTo>
                <a:lnTo>
                  <a:pt x="1099" y="1841"/>
                </a:lnTo>
                <a:lnTo>
                  <a:pt x="1146" y="1827"/>
                </a:lnTo>
                <a:lnTo>
                  <a:pt x="1193" y="1812"/>
                </a:lnTo>
                <a:lnTo>
                  <a:pt x="1241" y="1798"/>
                </a:lnTo>
                <a:cubicBezTo>
                  <a:pt x="1241" y="1798"/>
                  <a:pt x="1242" y="1798"/>
                  <a:pt x="1243" y="1798"/>
                </a:cubicBezTo>
                <a:lnTo>
                  <a:pt x="1290" y="1798"/>
                </a:lnTo>
                <a:cubicBezTo>
                  <a:pt x="1292" y="1798"/>
                  <a:pt x="1293" y="1798"/>
                  <a:pt x="1294" y="1799"/>
                </a:cubicBezTo>
                <a:lnTo>
                  <a:pt x="1323" y="1813"/>
                </a:lnTo>
                <a:lnTo>
                  <a:pt x="1355" y="1827"/>
                </a:lnTo>
                <a:cubicBezTo>
                  <a:pt x="1358" y="1828"/>
                  <a:pt x="1360" y="1831"/>
                  <a:pt x="1360" y="1834"/>
                </a:cubicBezTo>
                <a:lnTo>
                  <a:pt x="1360" y="1848"/>
                </a:lnTo>
                <a:lnTo>
                  <a:pt x="1347" y="1843"/>
                </a:lnTo>
                <a:lnTo>
                  <a:pt x="1438" y="1754"/>
                </a:lnTo>
                <a:lnTo>
                  <a:pt x="1456" y="1736"/>
                </a:lnTo>
                <a:close/>
              </a:path>
            </a:pathLst>
          </a:custGeom>
          <a:solidFill>
            <a:srgbClr val="FFFFFF"/>
          </a:solidFill>
          <a:ln w="0">
            <a:solidFill>
              <a:schemeClr val="bg1"/>
            </a:solidFill>
            <a:round/>
            <a:headEnd/>
            <a:tailEnd/>
          </a:ln>
        </p:spPr>
        <p:txBody>
          <a:bodyPr/>
          <a:lstStyle/>
          <a:p>
            <a:endParaRPr lang="ro-RO"/>
          </a:p>
        </p:txBody>
      </p:sp>
      <p:sp>
        <p:nvSpPr>
          <p:cNvPr id="12330" name="Freeform 40"/>
          <p:cNvSpPr>
            <a:spLocks/>
          </p:cNvSpPr>
          <p:nvPr/>
        </p:nvSpPr>
        <p:spPr bwMode="auto">
          <a:xfrm>
            <a:off x="3754438" y="3741738"/>
            <a:ext cx="798512" cy="806450"/>
          </a:xfrm>
          <a:custGeom>
            <a:avLst/>
            <a:gdLst>
              <a:gd name="T0" fmla="*/ 2147483647 w 620"/>
              <a:gd name="T1" fmla="*/ 2147483647 h 584"/>
              <a:gd name="T2" fmla="*/ 2147483647 w 620"/>
              <a:gd name="T3" fmla="*/ 2147483647 h 584"/>
              <a:gd name="T4" fmla="*/ 2147483647 w 620"/>
              <a:gd name="T5" fmla="*/ 2147483647 h 584"/>
              <a:gd name="T6" fmla="*/ 2147483647 w 620"/>
              <a:gd name="T7" fmla="*/ 2147483647 h 584"/>
              <a:gd name="T8" fmla="*/ 2147483647 w 620"/>
              <a:gd name="T9" fmla="*/ 2147483647 h 584"/>
              <a:gd name="T10" fmla="*/ 2147483647 w 620"/>
              <a:gd name="T11" fmla="*/ 2147483647 h 584"/>
              <a:gd name="T12" fmla="*/ 2147483647 w 620"/>
              <a:gd name="T13" fmla="*/ 2147483647 h 584"/>
              <a:gd name="T14" fmla="*/ 2147483647 w 620"/>
              <a:gd name="T15" fmla="*/ 2147483647 h 584"/>
              <a:gd name="T16" fmla="*/ 2147483647 w 620"/>
              <a:gd name="T17" fmla="*/ 2147483647 h 584"/>
              <a:gd name="T18" fmla="*/ 2147483647 w 620"/>
              <a:gd name="T19" fmla="*/ 2147483647 h 584"/>
              <a:gd name="T20" fmla="*/ 2147483647 w 620"/>
              <a:gd name="T21" fmla="*/ 2147483647 h 584"/>
              <a:gd name="T22" fmla="*/ 2147483647 w 620"/>
              <a:gd name="T23" fmla="*/ 2147483647 h 584"/>
              <a:gd name="T24" fmla="*/ 2147483647 w 620"/>
              <a:gd name="T25" fmla="*/ 2147483647 h 584"/>
              <a:gd name="T26" fmla="*/ 2147483647 w 620"/>
              <a:gd name="T27" fmla="*/ 2147483647 h 584"/>
              <a:gd name="T28" fmla="*/ 2147483647 w 620"/>
              <a:gd name="T29" fmla="*/ 2147483647 h 584"/>
              <a:gd name="T30" fmla="*/ 2147483647 w 620"/>
              <a:gd name="T31" fmla="*/ 2147483647 h 584"/>
              <a:gd name="T32" fmla="*/ 2147483647 w 620"/>
              <a:gd name="T33" fmla="*/ 2147483647 h 584"/>
              <a:gd name="T34" fmla="*/ 2147483647 w 620"/>
              <a:gd name="T35" fmla="*/ 2147483647 h 584"/>
              <a:gd name="T36" fmla="*/ 2147483647 w 620"/>
              <a:gd name="T37" fmla="*/ 2147483647 h 584"/>
              <a:gd name="T38" fmla="*/ 2147483647 w 620"/>
              <a:gd name="T39" fmla="*/ 2147483647 h 584"/>
              <a:gd name="T40" fmla="*/ 2147483647 w 620"/>
              <a:gd name="T41" fmla="*/ 2147483647 h 584"/>
              <a:gd name="T42" fmla="*/ 2147483647 w 620"/>
              <a:gd name="T43" fmla="*/ 2147483647 h 584"/>
              <a:gd name="T44" fmla="*/ 2147483647 w 620"/>
              <a:gd name="T45" fmla="*/ 2147483647 h 584"/>
              <a:gd name="T46" fmla="*/ 2147483647 w 620"/>
              <a:gd name="T47" fmla="*/ 2147483647 h 584"/>
              <a:gd name="T48" fmla="*/ 2147483647 w 620"/>
              <a:gd name="T49" fmla="*/ 2147483647 h 584"/>
              <a:gd name="T50" fmla="*/ 2147483647 w 620"/>
              <a:gd name="T51" fmla="*/ 0 h 584"/>
              <a:gd name="T52" fmla="*/ 2147483647 w 620"/>
              <a:gd name="T53" fmla="*/ 2147483647 h 584"/>
              <a:gd name="T54" fmla="*/ 2147483647 w 620"/>
              <a:gd name="T55" fmla="*/ 2147483647 h 584"/>
              <a:gd name="T56" fmla="*/ 2147483647 w 620"/>
              <a:gd name="T57" fmla="*/ 2147483647 h 584"/>
              <a:gd name="T58" fmla="*/ 2147483647 w 620"/>
              <a:gd name="T59" fmla="*/ 2147483647 h 584"/>
              <a:gd name="T60" fmla="*/ 2147483647 w 620"/>
              <a:gd name="T61" fmla="*/ 2147483647 h 584"/>
              <a:gd name="T62" fmla="*/ 2147483647 w 620"/>
              <a:gd name="T63" fmla="*/ 2147483647 h 584"/>
              <a:gd name="T64" fmla="*/ 2147483647 w 620"/>
              <a:gd name="T65" fmla="*/ 2147483647 h 584"/>
              <a:gd name="T66" fmla="*/ 2147483647 w 620"/>
              <a:gd name="T67" fmla="*/ 2147483647 h 584"/>
              <a:gd name="T68" fmla="*/ 2147483647 w 620"/>
              <a:gd name="T69" fmla="*/ 2147483647 h 584"/>
              <a:gd name="T70" fmla="*/ 2147483647 w 620"/>
              <a:gd name="T71" fmla="*/ 2147483647 h 584"/>
              <a:gd name="T72" fmla="*/ 2147483647 w 620"/>
              <a:gd name="T73" fmla="*/ 2147483647 h 584"/>
              <a:gd name="T74" fmla="*/ 2147483647 w 620"/>
              <a:gd name="T75" fmla="*/ 2147483647 h 584"/>
              <a:gd name="T76" fmla="*/ 2147483647 w 620"/>
              <a:gd name="T77" fmla="*/ 2147483647 h 584"/>
              <a:gd name="T78" fmla="*/ 2147483647 w 620"/>
              <a:gd name="T79" fmla="*/ 2147483647 h 584"/>
              <a:gd name="T80" fmla="*/ 2147483647 w 620"/>
              <a:gd name="T81" fmla="*/ 2147483647 h 584"/>
              <a:gd name="T82" fmla="*/ 2147483647 w 620"/>
              <a:gd name="T83" fmla="*/ 2147483647 h 584"/>
              <a:gd name="T84" fmla="*/ 2147483647 w 620"/>
              <a:gd name="T85" fmla="*/ 2147483647 h 584"/>
              <a:gd name="T86" fmla="*/ 2147483647 w 620"/>
              <a:gd name="T87" fmla="*/ 2147483647 h 584"/>
              <a:gd name="T88" fmla="*/ 2147483647 w 620"/>
              <a:gd name="T89" fmla="*/ 2147483647 h 584"/>
              <a:gd name="T90" fmla="*/ 2147483647 w 620"/>
              <a:gd name="T91" fmla="*/ 2147483647 h 584"/>
              <a:gd name="T92" fmla="*/ 2147483647 w 620"/>
              <a:gd name="T93" fmla="*/ 2147483647 h 584"/>
              <a:gd name="T94" fmla="*/ 2147483647 w 620"/>
              <a:gd name="T95" fmla="*/ 2147483647 h 584"/>
              <a:gd name="T96" fmla="*/ 2147483647 w 620"/>
              <a:gd name="T97" fmla="*/ 2147483647 h 584"/>
              <a:gd name="T98" fmla="*/ 2147483647 w 620"/>
              <a:gd name="T99" fmla="*/ 2147483647 h 584"/>
              <a:gd name="T100" fmla="*/ 2147483647 w 620"/>
              <a:gd name="T101" fmla="*/ 2147483647 h 584"/>
              <a:gd name="T102" fmla="*/ 2147483647 w 620"/>
              <a:gd name="T103" fmla="*/ 2147483647 h 584"/>
              <a:gd name="T104" fmla="*/ 2147483647 w 620"/>
              <a:gd name="T105" fmla="*/ 2147483647 h 584"/>
              <a:gd name="T106" fmla="*/ 2147483647 w 620"/>
              <a:gd name="T107" fmla="*/ 2147483647 h 5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0"/>
              <a:gd name="T163" fmla="*/ 0 h 584"/>
              <a:gd name="T164" fmla="*/ 620 w 620"/>
              <a:gd name="T165" fmla="*/ 584 h 5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0" h="584">
                <a:moveTo>
                  <a:pt x="456" y="556"/>
                </a:moveTo>
                <a:lnTo>
                  <a:pt x="427" y="584"/>
                </a:lnTo>
                <a:lnTo>
                  <a:pt x="421" y="580"/>
                </a:lnTo>
                <a:lnTo>
                  <a:pt x="417" y="575"/>
                </a:lnTo>
                <a:lnTo>
                  <a:pt x="412" y="571"/>
                </a:lnTo>
                <a:lnTo>
                  <a:pt x="401" y="571"/>
                </a:lnTo>
                <a:lnTo>
                  <a:pt x="397" y="571"/>
                </a:lnTo>
                <a:lnTo>
                  <a:pt x="392" y="571"/>
                </a:lnTo>
                <a:lnTo>
                  <a:pt x="372" y="571"/>
                </a:lnTo>
                <a:lnTo>
                  <a:pt x="358" y="575"/>
                </a:lnTo>
                <a:lnTo>
                  <a:pt x="342" y="584"/>
                </a:lnTo>
                <a:lnTo>
                  <a:pt x="327" y="580"/>
                </a:lnTo>
                <a:lnTo>
                  <a:pt x="312" y="580"/>
                </a:lnTo>
                <a:lnTo>
                  <a:pt x="303" y="575"/>
                </a:lnTo>
                <a:lnTo>
                  <a:pt x="293" y="575"/>
                </a:lnTo>
                <a:lnTo>
                  <a:pt x="288" y="575"/>
                </a:lnTo>
                <a:lnTo>
                  <a:pt x="282" y="575"/>
                </a:lnTo>
                <a:lnTo>
                  <a:pt x="277" y="575"/>
                </a:lnTo>
                <a:lnTo>
                  <a:pt x="263" y="561"/>
                </a:lnTo>
                <a:lnTo>
                  <a:pt x="249" y="541"/>
                </a:lnTo>
                <a:lnTo>
                  <a:pt x="243" y="537"/>
                </a:lnTo>
                <a:lnTo>
                  <a:pt x="243" y="531"/>
                </a:lnTo>
                <a:lnTo>
                  <a:pt x="238" y="531"/>
                </a:lnTo>
                <a:lnTo>
                  <a:pt x="234" y="527"/>
                </a:lnTo>
                <a:lnTo>
                  <a:pt x="228" y="527"/>
                </a:lnTo>
                <a:lnTo>
                  <a:pt x="223" y="527"/>
                </a:lnTo>
                <a:lnTo>
                  <a:pt x="219" y="527"/>
                </a:lnTo>
                <a:lnTo>
                  <a:pt x="214" y="527"/>
                </a:lnTo>
                <a:lnTo>
                  <a:pt x="214" y="531"/>
                </a:lnTo>
                <a:lnTo>
                  <a:pt x="208" y="531"/>
                </a:lnTo>
                <a:lnTo>
                  <a:pt x="203" y="537"/>
                </a:lnTo>
                <a:lnTo>
                  <a:pt x="199" y="537"/>
                </a:lnTo>
                <a:lnTo>
                  <a:pt x="193" y="537"/>
                </a:lnTo>
                <a:lnTo>
                  <a:pt x="189" y="531"/>
                </a:lnTo>
                <a:lnTo>
                  <a:pt x="184" y="531"/>
                </a:lnTo>
                <a:lnTo>
                  <a:pt x="174" y="527"/>
                </a:lnTo>
                <a:lnTo>
                  <a:pt x="169" y="522"/>
                </a:lnTo>
                <a:lnTo>
                  <a:pt x="169" y="516"/>
                </a:lnTo>
                <a:lnTo>
                  <a:pt x="164" y="516"/>
                </a:lnTo>
                <a:lnTo>
                  <a:pt x="164" y="512"/>
                </a:lnTo>
                <a:lnTo>
                  <a:pt x="164" y="507"/>
                </a:lnTo>
                <a:lnTo>
                  <a:pt x="169" y="503"/>
                </a:lnTo>
                <a:lnTo>
                  <a:pt x="174" y="503"/>
                </a:lnTo>
                <a:lnTo>
                  <a:pt x="184" y="497"/>
                </a:lnTo>
                <a:lnTo>
                  <a:pt x="189" y="497"/>
                </a:lnTo>
                <a:lnTo>
                  <a:pt x="193" y="493"/>
                </a:lnTo>
                <a:lnTo>
                  <a:pt x="193" y="488"/>
                </a:lnTo>
                <a:lnTo>
                  <a:pt x="199" y="488"/>
                </a:lnTo>
                <a:lnTo>
                  <a:pt x="199" y="483"/>
                </a:lnTo>
                <a:lnTo>
                  <a:pt x="199" y="478"/>
                </a:lnTo>
                <a:lnTo>
                  <a:pt x="199" y="473"/>
                </a:lnTo>
                <a:lnTo>
                  <a:pt x="193" y="469"/>
                </a:lnTo>
                <a:lnTo>
                  <a:pt x="193" y="459"/>
                </a:lnTo>
                <a:lnTo>
                  <a:pt x="189" y="454"/>
                </a:lnTo>
                <a:lnTo>
                  <a:pt x="184" y="449"/>
                </a:lnTo>
                <a:lnTo>
                  <a:pt x="184" y="444"/>
                </a:lnTo>
                <a:lnTo>
                  <a:pt x="179" y="440"/>
                </a:lnTo>
                <a:lnTo>
                  <a:pt x="174" y="435"/>
                </a:lnTo>
                <a:lnTo>
                  <a:pt x="164" y="435"/>
                </a:lnTo>
                <a:lnTo>
                  <a:pt x="158" y="435"/>
                </a:lnTo>
                <a:lnTo>
                  <a:pt x="139" y="430"/>
                </a:lnTo>
                <a:lnTo>
                  <a:pt x="129" y="430"/>
                </a:lnTo>
                <a:lnTo>
                  <a:pt x="124" y="425"/>
                </a:lnTo>
                <a:lnTo>
                  <a:pt x="119" y="420"/>
                </a:lnTo>
                <a:lnTo>
                  <a:pt x="119" y="416"/>
                </a:lnTo>
                <a:lnTo>
                  <a:pt x="115" y="410"/>
                </a:lnTo>
                <a:lnTo>
                  <a:pt x="119" y="401"/>
                </a:lnTo>
                <a:lnTo>
                  <a:pt x="119" y="391"/>
                </a:lnTo>
                <a:lnTo>
                  <a:pt x="119" y="372"/>
                </a:lnTo>
                <a:lnTo>
                  <a:pt x="119" y="367"/>
                </a:lnTo>
                <a:lnTo>
                  <a:pt x="119" y="362"/>
                </a:lnTo>
                <a:lnTo>
                  <a:pt x="119" y="357"/>
                </a:lnTo>
                <a:lnTo>
                  <a:pt x="115" y="353"/>
                </a:lnTo>
                <a:lnTo>
                  <a:pt x="110" y="348"/>
                </a:lnTo>
                <a:lnTo>
                  <a:pt x="104" y="343"/>
                </a:lnTo>
                <a:lnTo>
                  <a:pt x="100" y="334"/>
                </a:lnTo>
                <a:lnTo>
                  <a:pt x="95" y="328"/>
                </a:lnTo>
                <a:lnTo>
                  <a:pt x="89" y="319"/>
                </a:lnTo>
                <a:lnTo>
                  <a:pt x="80" y="300"/>
                </a:lnTo>
                <a:lnTo>
                  <a:pt x="75" y="294"/>
                </a:lnTo>
                <a:lnTo>
                  <a:pt x="35" y="256"/>
                </a:lnTo>
                <a:lnTo>
                  <a:pt x="35" y="251"/>
                </a:lnTo>
                <a:lnTo>
                  <a:pt x="35" y="247"/>
                </a:lnTo>
                <a:lnTo>
                  <a:pt x="35" y="241"/>
                </a:lnTo>
                <a:lnTo>
                  <a:pt x="30" y="237"/>
                </a:lnTo>
                <a:lnTo>
                  <a:pt x="30" y="232"/>
                </a:lnTo>
                <a:lnTo>
                  <a:pt x="35" y="226"/>
                </a:lnTo>
                <a:lnTo>
                  <a:pt x="35" y="222"/>
                </a:lnTo>
                <a:lnTo>
                  <a:pt x="35" y="217"/>
                </a:lnTo>
                <a:lnTo>
                  <a:pt x="41" y="213"/>
                </a:lnTo>
                <a:lnTo>
                  <a:pt x="41" y="207"/>
                </a:lnTo>
                <a:lnTo>
                  <a:pt x="41" y="198"/>
                </a:lnTo>
                <a:lnTo>
                  <a:pt x="35" y="193"/>
                </a:lnTo>
                <a:lnTo>
                  <a:pt x="35" y="183"/>
                </a:lnTo>
                <a:lnTo>
                  <a:pt x="30" y="179"/>
                </a:lnTo>
                <a:lnTo>
                  <a:pt x="0" y="135"/>
                </a:lnTo>
                <a:lnTo>
                  <a:pt x="0" y="68"/>
                </a:lnTo>
                <a:lnTo>
                  <a:pt x="21" y="58"/>
                </a:lnTo>
                <a:lnTo>
                  <a:pt x="41" y="53"/>
                </a:lnTo>
                <a:lnTo>
                  <a:pt x="50" y="53"/>
                </a:lnTo>
                <a:lnTo>
                  <a:pt x="60" y="53"/>
                </a:lnTo>
                <a:lnTo>
                  <a:pt x="75" y="48"/>
                </a:lnTo>
                <a:lnTo>
                  <a:pt x="89" y="44"/>
                </a:lnTo>
                <a:lnTo>
                  <a:pt x="110" y="34"/>
                </a:lnTo>
                <a:lnTo>
                  <a:pt x="119" y="34"/>
                </a:lnTo>
                <a:lnTo>
                  <a:pt x="124" y="34"/>
                </a:lnTo>
                <a:lnTo>
                  <a:pt x="139" y="34"/>
                </a:lnTo>
                <a:lnTo>
                  <a:pt x="149" y="34"/>
                </a:lnTo>
                <a:lnTo>
                  <a:pt x="158" y="34"/>
                </a:lnTo>
                <a:lnTo>
                  <a:pt x="164" y="34"/>
                </a:lnTo>
                <a:lnTo>
                  <a:pt x="169" y="38"/>
                </a:lnTo>
                <a:lnTo>
                  <a:pt x="174" y="38"/>
                </a:lnTo>
                <a:lnTo>
                  <a:pt x="179" y="44"/>
                </a:lnTo>
                <a:lnTo>
                  <a:pt x="184" y="53"/>
                </a:lnTo>
                <a:lnTo>
                  <a:pt x="193" y="58"/>
                </a:lnTo>
                <a:lnTo>
                  <a:pt x="199" y="63"/>
                </a:lnTo>
                <a:lnTo>
                  <a:pt x="203" y="68"/>
                </a:lnTo>
                <a:lnTo>
                  <a:pt x="208" y="68"/>
                </a:lnTo>
                <a:lnTo>
                  <a:pt x="214" y="68"/>
                </a:lnTo>
                <a:lnTo>
                  <a:pt x="219" y="68"/>
                </a:lnTo>
                <a:lnTo>
                  <a:pt x="223" y="68"/>
                </a:lnTo>
                <a:lnTo>
                  <a:pt x="228" y="68"/>
                </a:lnTo>
                <a:lnTo>
                  <a:pt x="234" y="63"/>
                </a:lnTo>
                <a:lnTo>
                  <a:pt x="234" y="58"/>
                </a:lnTo>
                <a:lnTo>
                  <a:pt x="238" y="48"/>
                </a:lnTo>
                <a:lnTo>
                  <a:pt x="238" y="44"/>
                </a:lnTo>
                <a:lnTo>
                  <a:pt x="249" y="15"/>
                </a:lnTo>
                <a:lnTo>
                  <a:pt x="253" y="10"/>
                </a:lnTo>
                <a:lnTo>
                  <a:pt x="253" y="4"/>
                </a:lnTo>
                <a:lnTo>
                  <a:pt x="258" y="0"/>
                </a:lnTo>
                <a:lnTo>
                  <a:pt x="263" y="0"/>
                </a:lnTo>
                <a:lnTo>
                  <a:pt x="268" y="0"/>
                </a:lnTo>
                <a:lnTo>
                  <a:pt x="273" y="4"/>
                </a:lnTo>
                <a:lnTo>
                  <a:pt x="297" y="19"/>
                </a:lnTo>
                <a:lnTo>
                  <a:pt x="312" y="29"/>
                </a:lnTo>
                <a:lnTo>
                  <a:pt x="317" y="29"/>
                </a:lnTo>
                <a:lnTo>
                  <a:pt x="327" y="29"/>
                </a:lnTo>
                <a:lnTo>
                  <a:pt x="332" y="29"/>
                </a:lnTo>
                <a:lnTo>
                  <a:pt x="338" y="29"/>
                </a:lnTo>
                <a:lnTo>
                  <a:pt x="338" y="34"/>
                </a:lnTo>
                <a:lnTo>
                  <a:pt x="342" y="34"/>
                </a:lnTo>
                <a:lnTo>
                  <a:pt x="347" y="38"/>
                </a:lnTo>
                <a:lnTo>
                  <a:pt x="347" y="44"/>
                </a:lnTo>
                <a:lnTo>
                  <a:pt x="358" y="53"/>
                </a:lnTo>
                <a:lnTo>
                  <a:pt x="367" y="68"/>
                </a:lnTo>
                <a:lnTo>
                  <a:pt x="372" y="78"/>
                </a:lnTo>
                <a:lnTo>
                  <a:pt x="372" y="82"/>
                </a:lnTo>
                <a:lnTo>
                  <a:pt x="377" y="87"/>
                </a:lnTo>
                <a:lnTo>
                  <a:pt x="377" y="92"/>
                </a:lnTo>
                <a:lnTo>
                  <a:pt x="377" y="97"/>
                </a:lnTo>
                <a:lnTo>
                  <a:pt x="372" y="101"/>
                </a:lnTo>
                <a:lnTo>
                  <a:pt x="372" y="106"/>
                </a:lnTo>
                <a:lnTo>
                  <a:pt x="367" y="111"/>
                </a:lnTo>
                <a:lnTo>
                  <a:pt x="367" y="116"/>
                </a:lnTo>
                <a:lnTo>
                  <a:pt x="367" y="121"/>
                </a:lnTo>
                <a:lnTo>
                  <a:pt x="367" y="126"/>
                </a:lnTo>
                <a:lnTo>
                  <a:pt x="367" y="131"/>
                </a:lnTo>
                <a:lnTo>
                  <a:pt x="372" y="135"/>
                </a:lnTo>
                <a:lnTo>
                  <a:pt x="377" y="140"/>
                </a:lnTo>
                <a:lnTo>
                  <a:pt x="386" y="145"/>
                </a:lnTo>
                <a:lnTo>
                  <a:pt x="392" y="150"/>
                </a:lnTo>
                <a:lnTo>
                  <a:pt x="401" y="154"/>
                </a:lnTo>
                <a:lnTo>
                  <a:pt x="407" y="159"/>
                </a:lnTo>
                <a:lnTo>
                  <a:pt x="407" y="164"/>
                </a:lnTo>
                <a:lnTo>
                  <a:pt x="412" y="169"/>
                </a:lnTo>
                <a:lnTo>
                  <a:pt x="417" y="173"/>
                </a:lnTo>
                <a:lnTo>
                  <a:pt x="417" y="179"/>
                </a:lnTo>
                <a:lnTo>
                  <a:pt x="417" y="183"/>
                </a:lnTo>
                <a:lnTo>
                  <a:pt x="417" y="188"/>
                </a:lnTo>
                <a:lnTo>
                  <a:pt x="417" y="193"/>
                </a:lnTo>
                <a:lnTo>
                  <a:pt x="417" y="198"/>
                </a:lnTo>
                <a:lnTo>
                  <a:pt x="412" y="203"/>
                </a:lnTo>
                <a:lnTo>
                  <a:pt x="412" y="207"/>
                </a:lnTo>
                <a:lnTo>
                  <a:pt x="412" y="217"/>
                </a:lnTo>
                <a:lnTo>
                  <a:pt x="412" y="222"/>
                </a:lnTo>
                <a:lnTo>
                  <a:pt x="412" y="226"/>
                </a:lnTo>
                <a:lnTo>
                  <a:pt x="412" y="232"/>
                </a:lnTo>
                <a:lnTo>
                  <a:pt x="417" y="232"/>
                </a:lnTo>
                <a:lnTo>
                  <a:pt x="417" y="237"/>
                </a:lnTo>
                <a:lnTo>
                  <a:pt x="421" y="241"/>
                </a:lnTo>
                <a:lnTo>
                  <a:pt x="427" y="247"/>
                </a:lnTo>
                <a:lnTo>
                  <a:pt x="436" y="247"/>
                </a:lnTo>
                <a:lnTo>
                  <a:pt x="446" y="251"/>
                </a:lnTo>
                <a:lnTo>
                  <a:pt x="451" y="251"/>
                </a:lnTo>
                <a:lnTo>
                  <a:pt x="451" y="256"/>
                </a:lnTo>
                <a:lnTo>
                  <a:pt x="456" y="256"/>
                </a:lnTo>
                <a:lnTo>
                  <a:pt x="456" y="260"/>
                </a:lnTo>
                <a:lnTo>
                  <a:pt x="456" y="266"/>
                </a:lnTo>
                <a:lnTo>
                  <a:pt x="462" y="266"/>
                </a:lnTo>
                <a:lnTo>
                  <a:pt x="462" y="271"/>
                </a:lnTo>
                <a:lnTo>
                  <a:pt x="466" y="271"/>
                </a:lnTo>
                <a:lnTo>
                  <a:pt x="466" y="275"/>
                </a:lnTo>
                <a:lnTo>
                  <a:pt x="471" y="275"/>
                </a:lnTo>
                <a:lnTo>
                  <a:pt x="477" y="275"/>
                </a:lnTo>
                <a:lnTo>
                  <a:pt x="477" y="281"/>
                </a:lnTo>
                <a:lnTo>
                  <a:pt x="481" y="281"/>
                </a:lnTo>
                <a:lnTo>
                  <a:pt x="486" y="281"/>
                </a:lnTo>
                <a:lnTo>
                  <a:pt x="486" y="275"/>
                </a:lnTo>
                <a:lnTo>
                  <a:pt x="491" y="275"/>
                </a:lnTo>
                <a:lnTo>
                  <a:pt x="496" y="271"/>
                </a:lnTo>
                <a:lnTo>
                  <a:pt x="501" y="266"/>
                </a:lnTo>
                <a:lnTo>
                  <a:pt x="506" y="266"/>
                </a:lnTo>
                <a:lnTo>
                  <a:pt x="510" y="260"/>
                </a:lnTo>
                <a:lnTo>
                  <a:pt x="510" y="266"/>
                </a:lnTo>
                <a:lnTo>
                  <a:pt x="516" y="266"/>
                </a:lnTo>
                <a:lnTo>
                  <a:pt x="516" y="271"/>
                </a:lnTo>
                <a:lnTo>
                  <a:pt x="520" y="275"/>
                </a:lnTo>
                <a:lnTo>
                  <a:pt x="520" y="281"/>
                </a:lnTo>
                <a:lnTo>
                  <a:pt x="520" y="290"/>
                </a:lnTo>
                <a:lnTo>
                  <a:pt x="525" y="309"/>
                </a:lnTo>
                <a:lnTo>
                  <a:pt x="531" y="328"/>
                </a:lnTo>
                <a:lnTo>
                  <a:pt x="531" y="334"/>
                </a:lnTo>
                <a:lnTo>
                  <a:pt x="536" y="338"/>
                </a:lnTo>
                <a:lnTo>
                  <a:pt x="536" y="343"/>
                </a:lnTo>
                <a:lnTo>
                  <a:pt x="540" y="348"/>
                </a:lnTo>
                <a:lnTo>
                  <a:pt x="551" y="353"/>
                </a:lnTo>
                <a:lnTo>
                  <a:pt x="555" y="357"/>
                </a:lnTo>
                <a:lnTo>
                  <a:pt x="570" y="367"/>
                </a:lnTo>
                <a:lnTo>
                  <a:pt x="585" y="377"/>
                </a:lnTo>
                <a:lnTo>
                  <a:pt x="595" y="377"/>
                </a:lnTo>
                <a:lnTo>
                  <a:pt x="595" y="382"/>
                </a:lnTo>
                <a:lnTo>
                  <a:pt x="601" y="387"/>
                </a:lnTo>
                <a:lnTo>
                  <a:pt x="601" y="391"/>
                </a:lnTo>
                <a:lnTo>
                  <a:pt x="601" y="396"/>
                </a:lnTo>
                <a:lnTo>
                  <a:pt x="601" y="401"/>
                </a:lnTo>
                <a:lnTo>
                  <a:pt x="595" y="401"/>
                </a:lnTo>
                <a:lnTo>
                  <a:pt x="595" y="406"/>
                </a:lnTo>
                <a:lnTo>
                  <a:pt x="590" y="406"/>
                </a:lnTo>
                <a:lnTo>
                  <a:pt x="585" y="406"/>
                </a:lnTo>
                <a:lnTo>
                  <a:pt x="585" y="410"/>
                </a:lnTo>
                <a:lnTo>
                  <a:pt x="580" y="416"/>
                </a:lnTo>
                <a:lnTo>
                  <a:pt x="580" y="420"/>
                </a:lnTo>
                <a:lnTo>
                  <a:pt x="580" y="425"/>
                </a:lnTo>
                <a:lnTo>
                  <a:pt x="580" y="430"/>
                </a:lnTo>
                <a:lnTo>
                  <a:pt x="585" y="435"/>
                </a:lnTo>
                <a:lnTo>
                  <a:pt x="590" y="440"/>
                </a:lnTo>
                <a:lnTo>
                  <a:pt x="595" y="444"/>
                </a:lnTo>
                <a:lnTo>
                  <a:pt x="601" y="454"/>
                </a:lnTo>
                <a:lnTo>
                  <a:pt x="610" y="469"/>
                </a:lnTo>
                <a:lnTo>
                  <a:pt x="620" y="488"/>
                </a:lnTo>
                <a:lnTo>
                  <a:pt x="614" y="483"/>
                </a:lnTo>
                <a:lnTo>
                  <a:pt x="610" y="483"/>
                </a:lnTo>
                <a:lnTo>
                  <a:pt x="605" y="483"/>
                </a:lnTo>
                <a:lnTo>
                  <a:pt x="601" y="483"/>
                </a:lnTo>
                <a:lnTo>
                  <a:pt x="595" y="488"/>
                </a:lnTo>
                <a:lnTo>
                  <a:pt x="590" y="488"/>
                </a:lnTo>
                <a:lnTo>
                  <a:pt x="585" y="488"/>
                </a:lnTo>
                <a:lnTo>
                  <a:pt x="585" y="493"/>
                </a:lnTo>
                <a:lnTo>
                  <a:pt x="580" y="497"/>
                </a:lnTo>
                <a:lnTo>
                  <a:pt x="575" y="503"/>
                </a:lnTo>
                <a:lnTo>
                  <a:pt x="570" y="507"/>
                </a:lnTo>
                <a:lnTo>
                  <a:pt x="566" y="516"/>
                </a:lnTo>
                <a:lnTo>
                  <a:pt x="560" y="522"/>
                </a:lnTo>
                <a:lnTo>
                  <a:pt x="555" y="522"/>
                </a:lnTo>
                <a:lnTo>
                  <a:pt x="555" y="527"/>
                </a:lnTo>
                <a:lnTo>
                  <a:pt x="551" y="527"/>
                </a:lnTo>
                <a:lnTo>
                  <a:pt x="545" y="527"/>
                </a:lnTo>
                <a:lnTo>
                  <a:pt x="531" y="527"/>
                </a:lnTo>
                <a:lnTo>
                  <a:pt x="516" y="527"/>
                </a:lnTo>
                <a:lnTo>
                  <a:pt x="506" y="527"/>
                </a:lnTo>
                <a:lnTo>
                  <a:pt x="496" y="527"/>
                </a:lnTo>
                <a:lnTo>
                  <a:pt x="486" y="531"/>
                </a:lnTo>
                <a:lnTo>
                  <a:pt x="481" y="531"/>
                </a:lnTo>
                <a:lnTo>
                  <a:pt x="477" y="537"/>
                </a:lnTo>
                <a:lnTo>
                  <a:pt x="471" y="537"/>
                </a:lnTo>
                <a:lnTo>
                  <a:pt x="466" y="541"/>
                </a:lnTo>
                <a:lnTo>
                  <a:pt x="466" y="546"/>
                </a:lnTo>
                <a:lnTo>
                  <a:pt x="462" y="546"/>
                </a:lnTo>
                <a:lnTo>
                  <a:pt x="462" y="550"/>
                </a:lnTo>
                <a:lnTo>
                  <a:pt x="456" y="556"/>
                </a:lnTo>
                <a:close/>
              </a:path>
            </a:pathLst>
          </a:custGeom>
          <a:solidFill>
            <a:srgbClr val="005027"/>
          </a:solidFill>
          <a:ln w="9525">
            <a:solidFill>
              <a:schemeClr val="bg1"/>
            </a:solidFill>
            <a:round/>
            <a:headEnd/>
            <a:tailEnd/>
          </a:ln>
        </p:spPr>
        <p:txBody>
          <a:bodyPr/>
          <a:lstStyle/>
          <a:p>
            <a:endParaRPr lang="ro-RO"/>
          </a:p>
        </p:txBody>
      </p:sp>
      <p:sp>
        <p:nvSpPr>
          <p:cNvPr id="12331" name="Freeform 41"/>
          <p:cNvSpPr>
            <a:spLocks/>
          </p:cNvSpPr>
          <p:nvPr/>
        </p:nvSpPr>
        <p:spPr bwMode="auto">
          <a:xfrm>
            <a:off x="3068638" y="3663950"/>
            <a:ext cx="601662" cy="1249363"/>
          </a:xfrm>
          <a:custGeom>
            <a:avLst/>
            <a:gdLst>
              <a:gd name="T0" fmla="*/ 2147483647 w 468"/>
              <a:gd name="T1" fmla="*/ 2147483647 h 904"/>
              <a:gd name="T2" fmla="*/ 2147483647 w 468"/>
              <a:gd name="T3" fmla="*/ 2147483647 h 904"/>
              <a:gd name="T4" fmla="*/ 2147483647 w 468"/>
              <a:gd name="T5" fmla="*/ 2147483647 h 904"/>
              <a:gd name="T6" fmla="*/ 2147483647 w 468"/>
              <a:gd name="T7" fmla="*/ 2147483647 h 904"/>
              <a:gd name="T8" fmla="*/ 2147483647 w 468"/>
              <a:gd name="T9" fmla="*/ 2147483647 h 904"/>
              <a:gd name="T10" fmla="*/ 2147483647 w 468"/>
              <a:gd name="T11" fmla="*/ 2147483647 h 904"/>
              <a:gd name="T12" fmla="*/ 2147483647 w 468"/>
              <a:gd name="T13" fmla="*/ 2147483647 h 904"/>
              <a:gd name="T14" fmla="*/ 2147483647 w 468"/>
              <a:gd name="T15" fmla="*/ 2147483647 h 904"/>
              <a:gd name="T16" fmla="*/ 2147483647 w 468"/>
              <a:gd name="T17" fmla="*/ 2147483647 h 904"/>
              <a:gd name="T18" fmla="*/ 2147483647 w 468"/>
              <a:gd name="T19" fmla="*/ 2147483647 h 904"/>
              <a:gd name="T20" fmla="*/ 2147483647 w 468"/>
              <a:gd name="T21" fmla="*/ 2147483647 h 904"/>
              <a:gd name="T22" fmla="*/ 2147483647 w 468"/>
              <a:gd name="T23" fmla="*/ 2147483647 h 904"/>
              <a:gd name="T24" fmla="*/ 0 w 468"/>
              <a:gd name="T25" fmla="*/ 2147483647 h 904"/>
              <a:gd name="T26" fmla="*/ 2147483647 w 468"/>
              <a:gd name="T27" fmla="*/ 2147483647 h 904"/>
              <a:gd name="T28" fmla="*/ 2147483647 w 468"/>
              <a:gd name="T29" fmla="*/ 2147483647 h 904"/>
              <a:gd name="T30" fmla="*/ 2147483647 w 468"/>
              <a:gd name="T31" fmla="*/ 2147483647 h 904"/>
              <a:gd name="T32" fmla="*/ 2147483647 w 468"/>
              <a:gd name="T33" fmla="*/ 2147483647 h 904"/>
              <a:gd name="T34" fmla="*/ 2147483647 w 468"/>
              <a:gd name="T35" fmla="*/ 2147483647 h 904"/>
              <a:gd name="T36" fmla="*/ 2147483647 w 468"/>
              <a:gd name="T37" fmla="*/ 2147483647 h 904"/>
              <a:gd name="T38" fmla="*/ 2147483647 w 468"/>
              <a:gd name="T39" fmla="*/ 2147483647 h 904"/>
              <a:gd name="T40" fmla="*/ 2147483647 w 468"/>
              <a:gd name="T41" fmla="*/ 2147483647 h 904"/>
              <a:gd name="T42" fmla="*/ 2147483647 w 468"/>
              <a:gd name="T43" fmla="*/ 2147483647 h 904"/>
              <a:gd name="T44" fmla="*/ 2147483647 w 468"/>
              <a:gd name="T45" fmla="*/ 2147483647 h 904"/>
              <a:gd name="T46" fmla="*/ 2147483647 w 468"/>
              <a:gd name="T47" fmla="*/ 2147483647 h 904"/>
              <a:gd name="T48" fmla="*/ 2147483647 w 468"/>
              <a:gd name="T49" fmla="*/ 2147483647 h 904"/>
              <a:gd name="T50" fmla="*/ 2147483647 w 468"/>
              <a:gd name="T51" fmla="*/ 0 h 904"/>
              <a:gd name="T52" fmla="*/ 2147483647 w 468"/>
              <a:gd name="T53" fmla="*/ 2147483647 h 904"/>
              <a:gd name="T54" fmla="*/ 2147483647 w 468"/>
              <a:gd name="T55" fmla="*/ 2147483647 h 904"/>
              <a:gd name="T56" fmla="*/ 2147483647 w 468"/>
              <a:gd name="T57" fmla="*/ 2147483647 h 904"/>
              <a:gd name="T58" fmla="*/ 2147483647 w 468"/>
              <a:gd name="T59" fmla="*/ 2147483647 h 904"/>
              <a:gd name="T60" fmla="*/ 2147483647 w 468"/>
              <a:gd name="T61" fmla="*/ 2147483647 h 904"/>
              <a:gd name="T62" fmla="*/ 2147483647 w 468"/>
              <a:gd name="T63" fmla="*/ 2147483647 h 904"/>
              <a:gd name="T64" fmla="*/ 2147483647 w 468"/>
              <a:gd name="T65" fmla="*/ 2147483647 h 904"/>
              <a:gd name="T66" fmla="*/ 2147483647 w 468"/>
              <a:gd name="T67" fmla="*/ 2147483647 h 904"/>
              <a:gd name="T68" fmla="*/ 2147483647 w 468"/>
              <a:gd name="T69" fmla="*/ 2147483647 h 904"/>
              <a:gd name="T70" fmla="*/ 2147483647 w 468"/>
              <a:gd name="T71" fmla="*/ 2147483647 h 904"/>
              <a:gd name="T72" fmla="*/ 2147483647 w 468"/>
              <a:gd name="T73" fmla="*/ 2147483647 h 904"/>
              <a:gd name="T74" fmla="*/ 2147483647 w 468"/>
              <a:gd name="T75" fmla="*/ 2147483647 h 904"/>
              <a:gd name="T76" fmla="*/ 2147483647 w 468"/>
              <a:gd name="T77" fmla="*/ 2147483647 h 904"/>
              <a:gd name="T78" fmla="*/ 2147483647 w 468"/>
              <a:gd name="T79" fmla="*/ 2147483647 h 904"/>
              <a:gd name="T80" fmla="*/ 2147483647 w 468"/>
              <a:gd name="T81" fmla="*/ 2147483647 h 904"/>
              <a:gd name="T82" fmla="*/ 2147483647 w 468"/>
              <a:gd name="T83" fmla="*/ 2147483647 h 904"/>
              <a:gd name="T84" fmla="*/ 2147483647 w 468"/>
              <a:gd name="T85" fmla="*/ 2147483647 h 904"/>
              <a:gd name="T86" fmla="*/ 2147483647 w 468"/>
              <a:gd name="T87" fmla="*/ 2147483647 h 904"/>
              <a:gd name="T88" fmla="*/ 2147483647 w 468"/>
              <a:gd name="T89" fmla="*/ 2147483647 h 904"/>
              <a:gd name="T90" fmla="*/ 2147483647 w 468"/>
              <a:gd name="T91" fmla="*/ 2147483647 h 904"/>
              <a:gd name="T92" fmla="*/ 2147483647 w 468"/>
              <a:gd name="T93" fmla="*/ 2147483647 h 904"/>
              <a:gd name="T94" fmla="*/ 2147483647 w 468"/>
              <a:gd name="T95" fmla="*/ 2147483647 h 904"/>
              <a:gd name="T96" fmla="*/ 2147483647 w 468"/>
              <a:gd name="T97" fmla="*/ 2147483647 h 904"/>
              <a:gd name="T98" fmla="*/ 2147483647 w 468"/>
              <a:gd name="T99" fmla="*/ 2147483647 h 904"/>
              <a:gd name="T100" fmla="*/ 2147483647 w 468"/>
              <a:gd name="T101" fmla="*/ 2147483647 h 904"/>
              <a:gd name="T102" fmla="*/ 2147483647 w 468"/>
              <a:gd name="T103" fmla="*/ 2147483647 h 904"/>
              <a:gd name="T104" fmla="*/ 2147483647 w 468"/>
              <a:gd name="T105" fmla="*/ 2147483647 h 904"/>
              <a:gd name="T106" fmla="*/ 2147483647 w 468"/>
              <a:gd name="T107" fmla="*/ 2147483647 h 904"/>
              <a:gd name="T108" fmla="*/ 2147483647 w 468"/>
              <a:gd name="T109" fmla="*/ 2147483647 h 904"/>
              <a:gd name="T110" fmla="*/ 2147483647 w 468"/>
              <a:gd name="T111" fmla="*/ 2147483647 h 904"/>
              <a:gd name="T112" fmla="*/ 2147483647 w 468"/>
              <a:gd name="T113" fmla="*/ 2147483647 h 904"/>
              <a:gd name="T114" fmla="*/ 2147483647 w 468"/>
              <a:gd name="T115" fmla="*/ 2147483647 h 904"/>
              <a:gd name="T116" fmla="*/ 2147483647 w 468"/>
              <a:gd name="T117" fmla="*/ 2147483647 h 904"/>
              <a:gd name="T118" fmla="*/ 2147483647 w 468"/>
              <a:gd name="T119" fmla="*/ 2147483647 h 9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8"/>
              <a:gd name="T181" fmla="*/ 0 h 904"/>
              <a:gd name="T182" fmla="*/ 468 w 468"/>
              <a:gd name="T183" fmla="*/ 904 h 9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8" h="904">
                <a:moveTo>
                  <a:pt x="239" y="904"/>
                </a:moveTo>
                <a:lnTo>
                  <a:pt x="244" y="904"/>
                </a:lnTo>
                <a:lnTo>
                  <a:pt x="244" y="900"/>
                </a:lnTo>
                <a:lnTo>
                  <a:pt x="239" y="894"/>
                </a:lnTo>
                <a:lnTo>
                  <a:pt x="234" y="890"/>
                </a:lnTo>
                <a:lnTo>
                  <a:pt x="224" y="890"/>
                </a:lnTo>
                <a:lnTo>
                  <a:pt x="199" y="890"/>
                </a:lnTo>
                <a:lnTo>
                  <a:pt x="190" y="890"/>
                </a:lnTo>
                <a:lnTo>
                  <a:pt x="179" y="881"/>
                </a:lnTo>
                <a:lnTo>
                  <a:pt x="174" y="871"/>
                </a:lnTo>
                <a:lnTo>
                  <a:pt x="170" y="856"/>
                </a:lnTo>
                <a:lnTo>
                  <a:pt x="159" y="822"/>
                </a:lnTo>
                <a:lnTo>
                  <a:pt x="155" y="793"/>
                </a:lnTo>
                <a:lnTo>
                  <a:pt x="155" y="765"/>
                </a:lnTo>
                <a:lnTo>
                  <a:pt x="155" y="745"/>
                </a:lnTo>
                <a:lnTo>
                  <a:pt x="150" y="731"/>
                </a:lnTo>
                <a:lnTo>
                  <a:pt x="144" y="706"/>
                </a:lnTo>
                <a:lnTo>
                  <a:pt x="140" y="686"/>
                </a:lnTo>
                <a:lnTo>
                  <a:pt x="140" y="667"/>
                </a:lnTo>
                <a:lnTo>
                  <a:pt x="140" y="658"/>
                </a:lnTo>
                <a:lnTo>
                  <a:pt x="135" y="644"/>
                </a:lnTo>
                <a:lnTo>
                  <a:pt x="124" y="638"/>
                </a:lnTo>
                <a:lnTo>
                  <a:pt x="115" y="633"/>
                </a:lnTo>
                <a:lnTo>
                  <a:pt x="110" y="629"/>
                </a:lnTo>
                <a:lnTo>
                  <a:pt x="100" y="624"/>
                </a:lnTo>
                <a:lnTo>
                  <a:pt x="85" y="599"/>
                </a:lnTo>
                <a:lnTo>
                  <a:pt x="75" y="576"/>
                </a:lnTo>
                <a:lnTo>
                  <a:pt x="70" y="556"/>
                </a:lnTo>
                <a:lnTo>
                  <a:pt x="70" y="546"/>
                </a:lnTo>
                <a:lnTo>
                  <a:pt x="70" y="532"/>
                </a:lnTo>
                <a:lnTo>
                  <a:pt x="70" y="527"/>
                </a:lnTo>
                <a:lnTo>
                  <a:pt x="65" y="527"/>
                </a:lnTo>
                <a:lnTo>
                  <a:pt x="55" y="532"/>
                </a:lnTo>
                <a:lnTo>
                  <a:pt x="46" y="546"/>
                </a:lnTo>
                <a:lnTo>
                  <a:pt x="30" y="570"/>
                </a:lnTo>
                <a:lnTo>
                  <a:pt x="15" y="580"/>
                </a:lnTo>
                <a:lnTo>
                  <a:pt x="11" y="580"/>
                </a:lnTo>
                <a:lnTo>
                  <a:pt x="5" y="570"/>
                </a:lnTo>
                <a:lnTo>
                  <a:pt x="0" y="556"/>
                </a:lnTo>
                <a:lnTo>
                  <a:pt x="5" y="551"/>
                </a:lnTo>
                <a:lnTo>
                  <a:pt x="20" y="532"/>
                </a:lnTo>
                <a:lnTo>
                  <a:pt x="35" y="508"/>
                </a:lnTo>
                <a:lnTo>
                  <a:pt x="46" y="479"/>
                </a:lnTo>
                <a:lnTo>
                  <a:pt x="46" y="455"/>
                </a:lnTo>
                <a:lnTo>
                  <a:pt x="50" y="436"/>
                </a:lnTo>
                <a:lnTo>
                  <a:pt x="50" y="415"/>
                </a:lnTo>
                <a:lnTo>
                  <a:pt x="50" y="392"/>
                </a:lnTo>
                <a:lnTo>
                  <a:pt x="55" y="368"/>
                </a:lnTo>
                <a:lnTo>
                  <a:pt x="55" y="339"/>
                </a:lnTo>
                <a:lnTo>
                  <a:pt x="50" y="314"/>
                </a:lnTo>
                <a:lnTo>
                  <a:pt x="40" y="300"/>
                </a:lnTo>
                <a:lnTo>
                  <a:pt x="35" y="290"/>
                </a:lnTo>
                <a:lnTo>
                  <a:pt x="35" y="275"/>
                </a:lnTo>
                <a:lnTo>
                  <a:pt x="40" y="246"/>
                </a:lnTo>
                <a:lnTo>
                  <a:pt x="40" y="237"/>
                </a:lnTo>
                <a:lnTo>
                  <a:pt x="40" y="227"/>
                </a:lnTo>
                <a:lnTo>
                  <a:pt x="35" y="218"/>
                </a:lnTo>
                <a:lnTo>
                  <a:pt x="35" y="203"/>
                </a:lnTo>
                <a:lnTo>
                  <a:pt x="40" y="188"/>
                </a:lnTo>
                <a:lnTo>
                  <a:pt x="40" y="169"/>
                </a:lnTo>
                <a:lnTo>
                  <a:pt x="40" y="155"/>
                </a:lnTo>
                <a:lnTo>
                  <a:pt x="40" y="150"/>
                </a:lnTo>
                <a:lnTo>
                  <a:pt x="40" y="145"/>
                </a:lnTo>
                <a:lnTo>
                  <a:pt x="40" y="131"/>
                </a:lnTo>
                <a:lnTo>
                  <a:pt x="40" y="111"/>
                </a:lnTo>
                <a:lnTo>
                  <a:pt x="55" y="106"/>
                </a:lnTo>
                <a:lnTo>
                  <a:pt x="65" y="101"/>
                </a:lnTo>
                <a:lnTo>
                  <a:pt x="70" y="87"/>
                </a:lnTo>
                <a:lnTo>
                  <a:pt x="65" y="78"/>
                </a:lnTo>
                <a:lnTo>
                  <a:pt x="65" y="68"/>
                </a:lnTo>
                <a:lnTo>
                  <a:pt x="65" y="53"/>
                </a:lnTo>
                <a:lnTo>
                  <a:pt x="61" y="34"/>
                </a:lnTo>
                <a:lnTo>
                  <a:pt x="65" y="19"/>
                </a:lnTo>
                <a:lnTo>
                  <a:pt x="85" y="15"/>
                </a:lnTo>
                <a:lnTo>
                  <a:pt x="110" y="15"/>
                </a:lnTo>
                <a:lnTo>
                  <a:pt x="129" y="10"/>
                </a:lnTo>
                <a:lnTo>
                  <a:pt x="140" y="4"/>
                </a:lnTo>
                <a:lnTo>
                  <a:pt x="144" y="0"/>
                </a:lnTo>
                <a:lnTo>
                  <a:pt x="150" y="0"/>
                </a:lnTo>
                <a:lnTo>
                  <a:pt x="155" y="4"/>
                </a:lnTo>
                <a:lnTo>
                  <a:pt x="185" y="15"/>
                </a:lnTo>
                <a:lnTo>
                  <a:pt x="214" y="19"/>
                </a:lnTo>
                <a:lnTo>
                  <a:pt x="229" y="23"/>
                </a:lnTo>
                <a:lnTo>
                  <a:pt x="239" y="23"/>
                </a:lnTo>
                <a:lnTo>
                  <a:pt x="274" y="29"/>
                </a:lnTo>
                <a:lnTo>
                  <a:pt x="303" y="23"/>
                </a:lnTo>
                <a:lnTo>
                  <a:pt x="318" y="23"/>
                </a:lnTo>
                <a:lnTo>
                  <a:pt x="344" y="29"/>
                </a:lnTo>
                <a:lnTo>
                  <a:pt x="364" y="38"/>
                </a:lnTo>
                <a:lnTo>
                  <a:pt x="379" y="48"/>
                </a:lnTo>
                <a:lnTo>
                  <a:pt x="403" y="78"/>
                </a:lnTo>
                <a:lnTo>
                  <a:pt x="418" y="91"/>
                </a:lnTo>
                <a:lnTo>
                  <a:pt x="427" y="106"/>
                </a:lnTo>
                <a:lnTo>
                  <a:pt x="438" y="135"/>
                </a:lnTo>
                <a:lnTo>
                  <a:pt x="442" y="145"/>
                </a:lnTo>
                <a:lnTo>
                  <a:pt x="442" y="150"/>
                </a:lnTo>
                <a:lnTo>
                  <a:pt x="468" y="165"/>
                </a:lnTo>
                <a:lnTo>
                  <a:pt x="462" y="169"/>
                </a:lnTo>
                <a:lnTo>
                  <a:pt x="462" y="179"/>
                </a:lnTo>
                <a:lnTo>
                  <a:pt x="462" y="193"/>
                </a:lnTo>
                <a:lnTo>
                  <a:pt x="453" y="212"/>
                </a:lnTo>
                <a:lnTo>
                  <a:pt x="448" y="233"/>
                </a:lnTo>
                <a:lnTo>
                  <a:pt x="442" y="241"/>
                </a:lnTo>
                <a:lnTo>
                  <a:pt x="442" y="266"/>
                </a:lnTo>
                <a:lnTo>
                  <a:pt x="438" y="290"/>
                </a:lnTo>
                <a:lnTo>
                  <a:pt x="427" y="305"/>
                </a:lnTo>
                <a:lnTo>
                  <a:pt x="413" y="320"/>
                </a:lnTo>
                <a:lnTo>
                  <a:pt x="403" y="328"/>
                </a:lnTo>
                <a:lnTo>
                  <a:pt x="398" y="339"/>
                </a:lnTo>
                <a:lnTo>
                  <a:pt x="393" y="339"/>
                </a:lnTo>
                <a:lnTo>
                  <a:pt x="388" y="324"/>
                </a:lnTo>
                <a:lnTo>
                  <a:pt x="383" y="305"/>
                </a:lnTo>
                <a:lnTo>
                  <a:pt x="383" y="294"/>
                </a:lnTo>
                <a:lnTo>
                  <a:pt x="379" y="290"/>
                </a:lnTo>
                <a:lnTo>
                  <a:pt x="373" y="286"/>
                </a:lnTo>
                <a:lnTo>
                  <a:pt x="368" y="294"/>
                </a:lnTo>
                <a:lnTo>
                  <a:pt x="368" y="309"/>
                </a:lnTo>
                <a:lnTo>
                  <a:pt x="368" y="339"/>
                </a:lnTo>
                <a:lnTo>
                  <a:pt x="373" y="368"/>
                </a:lnTo>
                <a:lnTo>
                  <a:pt x="373" y="381"/>
                </a:lnTo>
                <a:lnTo>
                  <a:pt x="379" y="387"/>
                </a:lnTo>
                <a:lnTo>
                  <a:pt x="379" y="392"/>
                </a:lnTo>
                <a:lnTo>
                  <a:pt x="379" y="381"/>
                </a:lnTo>
                <a:lnTo>
                  <a:pt x="379" y="377"/>
                </a:lnTo>
                <a:lnTo>
                  <a:pt x="379" y="381"/>
                </a:lnTo>
                <a:lnTo>
                  <a:pt x="373" y="396"/>
                </a:lnTo>
                <a:lnTo>
                  <a:pt x="373" y="411"/>
                </a:lnTo>
                <a:lnTo>
                  <a:pt x="379" y="426"/>
                </a:lnTo>
                <a:lnTo>
                  <a:pt x="383" y="440"/>
                </a:lnTo>
                <a:lnTo>
                  <a:pt x="388" y="455"/>
                </a:lnTo>
                <a:lnTo>
                  <a:pt x="393" y="464"/>
                </a:lnTo>
                <a:lnTo>
                  <a:pt x="393" y="470"/>
                </a:lnTo>
                <a:lnTo>
                  <a:pt x="388" y="474"/>
                </a:lnTo>
                <a:lnTo>
                  <a:pt x="388" y="483"/>
                </a:lnTo>
                <a:lnTo>
                  <a:pt x="383" y="498"/>
                </a:lnTo>
                <a:lnTo>
                  <a:pt x="383" y="517"/>
                </a:lnTo>
                <a:lnTo>
                  <a:pt x="388" y="536"/>
                </a:lnTo>
                <a:lnTo>
                  <a:pt x="393" y="551"/>
                </a:lnTo>
                <a:lnTo>
                  <a:pt x="393" y="556"/>
                </a:lnTo>
                <a:lnTo>
                  <a:pt x="393" y="566"/>
                </a:lnTo>
                <a:lnTo>
                  <a:pt x="388" y="585"/>
                </a:lnTo>
                <a:lnTo>
                  <a:pt x="388" y="604"/>
                </a:lnTo>
                <a:lnTo>
                  <a:pt x="393" y="624"/>
                </a:lnTo>
                <a:lnTo>
                  <a:pt x="398" y="638"/>
                </a:lnTo>
                <a:lnTo>
                  <a:pt x="403" y="644"/>
                </a:lnTo>
                <a:lnTo>
                  <a:pt x="403" y="648"/>
                </a:lnTo>
                <a:lnTo>
                  <a:pt x="408" y="658"/>
                </a:lnTo>
                <a:lnTo>
                  <a:pt x="408" y="672"/>
                </a:lnTo>
                <a:lnTo>
                  <a:pt x="408" y="678"/>
                </a:lnTo>
                <a:lnTo>
                  <a:pt x="408" y="682"/>
                </a:lnTo>
                <a:lnTo>
                  <a:pt x="403" y="682"/>
                </a:lnTo>
                <a:lnTo>
                  <a:pt x="398" y="678"/>
                </a:lnTo>
                <a:lnTo>
                  <a:pt x="388" y="682"/>
                </a:lnTo>
                <a:lnTo>
                  <a:pt x="383" y="692"/>
                </a:lnTo>
                <a:lnTo>
                  <a:pt x="388" y="701"/>
                </a:lnTo>
                <a:lnTo>
                  <a:pt x="398" y="711"/>
                </a:lnTo>
                <a:lnTo>
                  <a:pt x="403" y="720"/>
                </a:lnTo>
                <a:lnTo>
                  <a:pt x="408" y="720"/>
                </a:lnTo>
                <a:lnTo>
                  <a:pt x="413" y="726"/>
                </a:lnTo>
                <a:lnTo>
                  <a:pt x="418" y="735"/>
                </a:lnTo>
                <a:lnTo>
                  <a:pt x="423" y="750"/>
                </a:lnTo>
                <a:lnTo>
                  <a:pt x="433" y="765"/>
                </a:lnTo>
                <a:lnTo>
                  <a:pt x="438" y="773"/>
                </a:lnTo>
                <a:lnTo>
                  <a:pt x="442" y="779"/>
                </a:lnTo>
                <a:lnTo>
                  <a:pt x="442" y="788"/>
                </a:lnTo>
                <a:lnTo>
                  <a:pt x="438" y="803"/>
                </a:lnTo>
                <a:lnTo>
                  <a:pt x="438" y="822"/>
                </a:lnTo>
                <a:lnTo>
                  <a:pt x="433" y="837"/>
                </a:lnTo>
                <a:lnTo>
                  <a:pt x="427" y="847"/>
                </a:lnTo>
                <a:lnTo>
                  <a:pt x="423" y="851"/>
                </a:lnTo>
                <a:lnTo>
                  <a:pt x="403" y="860"/>
                </a:lnTo>
                <a:lnTo>
                  <a:pt x="398" y="851"/>
                </a:lnTo>
                <a:lnTo>
                  <a:pt x="388" y="847"/>
                </a:lnTo>
                <a:lnTo>
                  <a:pt x="373" y="851"/>
                </a:lnTo>
                <a:lnTo>
                  <a:pt x="358" y="860"/>
                </a:lnTo>
                <a:lnTo>
                  <a:pt x="344" y="866"/>
                </a:lnTo>
                <a:lnTo>
                  <a:pt x="324" y="871"/>
                </a:lnTo>
                <a:lnTo>
                  <a:pt x="299" y="881"/>
                </a:lnTo>
                <a:lnTo>
                  <a:pt x="274" y="890"/>
                </a:lnTo>
                <a:lnTo>
                  <a:pt x="268" y="894"/>
                </a:lnTo>
                <a:lnTo>
                  <a:pt x="264" y="894"/>
                </a:lnTo>
                <a:lnTo>
                  <a:pt x="239" y="904"/>
                </a:lnTo>
                <a:close/>
              </a:path>
            </a:pathLst>
          </a:custGeom>
          <a:solidFill>
            <a:srgbClr val="005027"/>
          </a:solidFill>
          <a:ln w="9525">
            <a:solidFill>
              <a:schemeClr val="bg1"/>
            </a:solidFill>
            <a:round/>
            <a:headEnd/>
            <a:tailEnd/>
          </a:ln>
        </p:spPr>
        <p:txBody>
          <a:bodyPr/>
          <a:lstStyle/>
          <a:p>
            <a:endParaRPr lang="ro-RO"/>
          </a:p>
        </p:txBody>
      </p:sp>
      <p:sp>
        <p:nvSpPr>
          <p:cNvPr id="12332" name="Freeform 42"/>
          <p:cNvSpPr>
            <a:spLocks/>
          </p:cNvSpPr>
          <p:nvPr/>
        </p:nvSpPr>
        <p:spPr bwMode="auto">
          <a:xfrm>
            <a:off x="3238500" y="3108325"/>
            <a:ext cx="960438" cy="787400"/>
          </a:xfrm>
          <a:custGeom>
            <a:avLst/>
            <a:gdLst>
              <a:gd name="T0" fmla="*/ 2147483647 w 747"/>
              <a:gd name="T1" fmla="*/ 2147483647 h 569"/>
              <a:gd name="T2" fmla="*/ 2147483647 w 747"/>
              <a:gd name="T3" fmla="*/ 2147483647 h 569"/>
              <a:gd name="T4" fmla="*/ 2147483647 w 747"/>
              <a:gd name="T5" fmla="*/ 2147483647 h 569"/>
              <a:gd name="T6" fmla="*/ 2147483647 w 747"/>
              <a:gd name="T7" fmla="*/ 2147483647 h 569"/>
              <a:gd name="T8" fmla="*/ 2147483647 w 747"/>
              <a:gd name="T9" fmla="*/ 2147483647 h 569"/>
              <a:gd name="T10" fmla="*/ 2147483647 w 747"/>
              <a:gd name="T11" fmla="*/ 2147483647 h 569"/>
              <a:gd name="T12" fmla="*/ 2147483647 w 747"/>
              <a:gd name="T13" fmla="*/ 2147483647 h 569"/>
              <a:gd name="T14" fmla="*/ 2147483647 w 747"/>
              <a:gd name="T15" fmla="*/ 2147483647 h 569"/>
              <a:gd name="T16" fmla="*/ 2147483647 w 747"/>
              <a:gd name="T17" fmla="*/ 2147483647 h 569"/>
              <a:gd name="T18" fmla="*/ 2147483647 w 747"/>
              <a:gd name="T19" fmla="*/ 2147483647 h 569"/>
              <a:gd name="T20" fmla="*/ 2147483647 w 747"/>
              <a:gd name="T21" fmla="*/ 2147483647 h 569"/>
              <a:gd name="T22" fmla="*/ 2147483647 w 747"/>
              <a:gd name="T23" fmla="*/ 2147483647 h 569"/>
              <a:gd name="T24" fmla="*/ 2147483647 w 747"/>
              <a:gd name="T25" fmla="*/ 2147483647 h 569"/>
              <a:gd name="T26" fmla="*/ 2147483647 w 747"/>
              <a:gd name="T27" fmla="*/ 2147483647 h 569"/>
              <a:gd name="T28" fmla="*/ 2147483647 w 747"/>
              <a:gd name="T29" fmla="*/ 2147483647 h 569"/>
              <a:gd name="T30" fmla="*/ 2147483647 w 747"/>
              <a:gd name="T31" fmla="*/ 2147483647 h 569"/>
              <a:gd name="T32" fmla="*/ 2147483647 w 747"/>
              <a:gd name="T33" fmla="*/ 2147483647 h 569"/>
              <a:gd name="T34" fmla="*/ 2147483647 w 747"/>
              <a:gd name="T35" fmla="*/ 2147483647 h 569"/>
              <a:gd name="T36" fmla="*/ 2147483647 w 747"/>
              <a:gd name="T37" fmla="*/ 2147483647 h 569"/>
              <a:gd name="T38" fmla="*/ 2147483647 w 747"/>
              <a:gd name="T39" fmla="*/ 2147483647 h 569"/>
              <a:gd name="T40" fmla="*/ 2147483647 w 747"/>
              <a:gd name="T41" fmla="*/ 2147483647 h 569"/>
              <a:gd name="T42" fmla="*/ 2147483647 w 747"/>
              <a:gd name="T43" fmla="*/ 2147483647 h 569"/>
              <a:gd name="T44" fmla="*/ 2147483647 w 747"/>
              <a:gd name="T45" fmla="*/ 2147483647 h 569"/>
              <a:gd name="T46" fmla="*/ 2147483647 w 747"/>
              <a:gd name="T47" fmla="*/ 2147483647 h 569"/>
              <a:gd name="T48" fmla="*/ 2147483647 w 747"/>
              <a:gd name="T49" fmla="*/ 2147483647 h 569"/>
              <a:gd name="T50" fmla="*/ 2147483647 w 747"/>
              <a:gd name="T51" fmla="*/ 2147483647 h 569"/>
              <a:gd name="T52" fmla="*/ 2147483647 w 747"/>
              <a:gd name="T53" fmla="*/ 2147483647 h 569"/>
              <a:gd name="T54" fmla="*/ 2147483647 w 747"/>
              <a:gd name="T55" fmla="*/ 2147483647 h 569"/>
              <a:gd name="T56" fmla="*/ 2147483647 w 747"/>
              <a:gd name="T57" fmla="*/ 2147483647 h 569"/>
              <a:gd name="T58" fmla="*/ 2147483647 w 747"/>
              <a:gd name="T59" fmla="*/ 2147483647 h 569"/>
              <a:gd name="T60" fmla="*/ 2147483647 w 747"/>
              <a:gd name="T61" fmla="*/ 0 h 569"/>
              <a:gd name="T62" fmla="*/ 2147483647 w 747"/>
              <a:gd name="T63" fmla="*/ 2147483647 h 569"/>
              <a:gd name="T64" fmla="*/ 2147483647 w 747"/>
              <a:gd name="T65" fmla="*/ 2147483647 h 569"/>
              <a:gd name="T66" fmla="*/ 2147483647 w 747"/>
              <a:gd name="T67" fmla="*/ 2147483647 h 569"/>
              <a:gd name="T68" fmla="*/ 2147483647 w 747"/>
              <a:gd name="T69" fmla="*/ 2147483647 h 569"/>
              <a:gd name="T70" fmla="*/ 2147483647 w 747"/>
              <a:gd name="T71" fmla="*/ 2147483647 h 569"/>
              <a:gd name="T72" fmla="*/ 2147483647 w 747"/>
              <a:gd name="T73" fmla="*/ 2147483647 h 569"/>
              <a:gd name="T74" fmla="*/ 2147483647 w 747"/>
              <a:gd name="T75" fmla="*/ 2147483647 h 569"/>
              <a:gd name="T76" fmla="*/ 2147483647 w 747"/>
              <a:gd name="T77" fmla="*/ 2147483647 h 569"/>
              <a:gd name="T78" fmla="*/ 2147483647 w 747"/>
              <a:gd name="T79" fmla="*/ 2147483647 h 569"/>
              <a:gd name="T80" fmla="*/ 2147483647 w 747"/>
              <a:gd name="T81" fmla="*/ 2147483647 h 569"/>
              <a:gd name="T82" fmla="*/ 2147483647 w 747"/>
              <a:gd name="T83" fmla="*/ 2147483647 h 569"/>
              <a:gd name="T84" fmla="*/ 2147483647 w 747"/>
              <a:gd name="T85" fmla="*/ 2147483647 h 569"/>
              <a:gd name="T86" fmla="*/ 2147483647 w 747"/>
              <a:gd name="T87" fmla="*/ 2147483647 h 569"/>
              <a:gd name="T88" fmla="*/ 0 w 747"/>
              <a:gd name="T89" fmla="*/ 2147483647 h 569"/>
              <a:gd name="T90" fmla="*/ 2147483647 w 747"/>
              <a:gd name="T91" fmla="*/ 2147483647 h 569"/>
              <a:gd name="T92" fmla="*/ 2147483647 w 747"/>
              <a:gd name="T93" fmla="*/ 2147483647 h 569"/>
              <a:gd name="T94" fmla="*/ 2147483647 w 747"/>
              <a:gd name="T95" fmla="*/ 2147483647 h 569"/>
              <a:gd name="T96" fmla="*/ 2147483647 w 747"/>
              <a:gd name="T97" fmla="*/ 2147483647 h 569"/>
              <a:gd name="T98" fmla="*/ 2147483647 w 747"/>
              <a:gd name="T99" fmla="*/ 2147483647 h 569"/>
              <a:gd name="T100" fmla="*/ 2147483647 w 747"/>
              <a:gd name="T101" fmla="*/ 2147483647 h 569"/>
              <a:gd name="T102" fmla="*/ 2147483647 w 747"/>
              <a:gd name="T103" fmla="*/ 2147483647 h 56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47"/>
              <a:gd name="T157" fmla="*/ 0 h 569"/>
              <a:gd name="T158" fmla="*/ 747 w 747"/>
              <a:gd name="T159" fmla="*/ 569 h 56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47" h="569">
                <a:moveTo>
                  <a:pt x="338" y="569"/>
                </a:moveTo>
                <a:lnTo>
                  <a:pt x="347" y="564"/>
                </a:lnTo>
                <a:lnTo>
                  <a:pt x="357" y="564"/>
                </a:lnTo>
                <a:lnTo>
                  <a:pt x="362" y="564"/>
                </a:lnTo>
                <a:lnTo>
                  <a:pt x="372" y="555"/>
                </a:lnTo>
                <a:lnTo>
                  <a:pt x="382" y="545"/>
                </a:lnTo>
                <a:lnTo>
                  <a:pt x="387" y="536"/>
                </a:lnTo>
                <a:lnTo>
                  <a:pt x="392" y="526"/>
                </a:lnTo>
                <a:lnTo>
                  <a:pt x="396" y="526"/>
                </a:lnTo>
                <a:lnTo>
                  <a:pt x="401" y="526"/>
                </a:lnTo>
                <a:lnTo>
                  <a:pt x="407" y="526"/>
                </a:lnTo>
                <a:lnTo>
                  <a:pt x="427" y="521"/>
                </a:lnTo>
                <a:lnTo>
                  <a:pt x="442" y="517"/>
                </a:lnTo>
                <a:lnTo>
                  <a:pt x="461" y="511"/>
                </a:lnTo>
                <a:lnTo>
                  <a:pt x="476" y="506"/>
                </a:lnTo>
                <a:lnTo>
                  <a:pt x="490" y="502"/>
                </a:lnTo>
                <a:lnTo>
                  <a:pt x="505" y="496"/>
                </a:lnTo>
                <a:lnTo>
                  <a:pt x="511" y="492"/>
                </a:lnTo>
                <a:lnTo>
                  <a:pt x="520" y="492"/>
                </a:lnTo>
                <a:lnTo>
                  <a:pt x="540" y="492"/>
                </a:lnTo>
                <a:lnTo>
                  <a:pt x="559" y="492"/>
                </a:lnTo>
                <a:lnTo>
                  <a:pt x="580" y="502"/>
                </a:lnTo>
                <a:lnTo>
                  <a:pt x="594" y="521"/>
                </a:lnTo>
                <a:lnTo>
                  <a:pt x="615" y="530"/>
                </a:lnTo>
                <a:lnTo>
                  <a:pt x="619" y="530"/>
                </a:lnTo>
                <a:lnTo>
                  <a:pt x="629" y="526"/>
                </a:lnTo>
                <a:lnTo>
                  <a:pt x="634" y="517"/>
                </a:lnTo>
                <a:lnTo>
                  <a:pt x="639" y="502"/>
                </a:lnTo>
                <a:lnTo>
                  <a:pt x="649" y="473"/>
                </a:lnTo>
                <a:lnTo>
                  <a:pt x="659" y="463"/>
                </a:lnTo>
                <a:lnTo>
                  <a:pt x="669" y="458"/>
                </a:lnTo>
                <a:lnTo>
                  <a:pt x="674" y="463"/>
                </a:lnTo>
                <a:lnTo>
                  <a:pt x="689" y="477"/>
                </a:lnTo>
                <a:lnTo>
                  <a:pt x="708" y="483"/>
                </a:lnTo>
                <a:lnTo>
                  <a:pt x="723" y="487"/>
                </a:lnTo>
                <a:lnTo>
                  <a:pt x="733" y="487"/>
                </a:lnTo>
                <a:lnTo>
                  <a:pt x="743" y="487"/>
                </a:lnTo>
                <a:lnTo>
                  <a:pt x="743" y="483"/>
                </a:lnTo>
                <a:lnTo>
                  <a:pt x="743" y="477"/>
                </a:lnTo>
                <a:lnTo>
                  <a:pt x="743" y="468"/>
                </a:lnTo>
                <a:lnTo>
                  <a:pt x="747" y="458"/>
                </a:lnTo>
                <a:lnTo>
                  <a:pt x="747" y="449"/>
                </a:lnTo>
                <a:lnTo>
                  <a:pt x="747" y="434"/>
                </a:lnTo>
                <a:lnTo>
                  <a:pt x="743" y="434"/>
                </a:lnTo>
                <a:lnTo>
                  <a:pt x="738" y="429"/>
                </a:lnTo>
                <a:lnTo>
                  <a:pt x="733" y="425"/>
                </a:lnTo>
                <a:lnTo>
                  <a:pt x="733" y="410"/>
                </a:lnTo>
                <a:lnTo>
                  <a:pt x="728" y="401"/>
                </a:lnTo>
                <a:lnTo>
                  <a:pt x="718" y="395"/>
                </a:lnTo>
                <a:lnTo>
                  <a:pt x="698" y="391"/>
                </a:lnTo>
                <a:lnTo>
                  <a:pt x="683" y="382"/>
                </a:lnTo>
                <a:lnTo>
                  <a:pt x="669" y="367"/>
                </a:lnTo>
                <a:lnTo>
                  <a:pt x="644" y="352"/>
                </a:lnTo>
                <a:lnTo>
                  <a:pt x="624" y="338"/>
                </a:lnTo>
                <a:lnTo>
                  <a:pt x="605" y="323"/>
                </a:lnTo>
                <a:lnTo>
                  <a:pt x="594" y="314"/>
                </a:lnTo>
                <a:lnTo>
                  <a:pt x="589" y="309"/>
                </a:lnTo>
                <a:lnTo>
                  <a:pt x="580" y="304"/>
                </a:lnTo>
                <a:lnTo>
                  <a:pt x="565" y="304"/>
                </a:lnTo>
                <a:lnTo>
                  <a:pt x="550" y="309"/>
                </a:lnTo>
                <a:lnTo>
                  <a:pt x="535" y="319"/>
                </a:lnTo>
                <a:lnTo>
                  <a:pt x="531" y="314"/>
                </a:lnTo>
                <a:lnTo>
                  <a:pt x="520" y="309"/>
                </a:lnTo>
                <a:lnTo>
                  <a:pt x="516" y="300"/>
                </a:lnTo>
                <a:lnTo>
                  <a:pt x="511" y="285"/>
                </a:lnTo>
                <a:lnTo>
                  <a:pt x="481" y="266"/>
                </a:lnTo>
                <a:lnTo>
                  <a:pt x="476" y="261"/>
                </a:lnTo>
                <a:lnTo>
                  <a:pt x="466" y="247"/>
                </a:lnTo>
                <a:lnTo>
                  <a:pt x="461" y="222"/>
                </a:lnTo>
                <a:lnTo>
                  <a:pt x="461" y="194"/>
                </a:lnTo>
                <a:lnTo>
                  <a:pt x="466" y="165"/>
                </a:lnTo>
                <a:lnTo>
                  <a:pt x="466" y="145"/>
                </a:lnTo>
                <a:lnTo>
                  <a:pt x="466" y="135"/>
                </a:lnTo>
                <a:lnTo>
                  <a:pt x="466" y="131"/>
                </a:lnTo>
                <a:lnTo>
                  <a:pt x="466" y="126"/>
                </a:lnTo>
                <a:lnTo>
                  <a:pt x="466" y="112"/>
                </a:lnTo>
                <a:lnTo>
                  <a:pt x="461" y="102"/>
                </a:lnTo>
                <a:lnTo>
                  <a:pt x="451" y="97"/>
                </a:lnTo>
                <a:lnTo>
                  <a:pt x="436" y="102"/>
                </a:lnTo>
                <a:lnTo>
                  <a:pt x="422" y="106"/>
                </a:lnTo>
                <a:lnTo>
                  <a:pt x="412" y="106"/>
                </a:lnTo>
                <a:lnTo>
                  <a:pt x="407" y="97"/>
                </a:lnTo>
                <a:lnTo>
                  <a:pt x="407" y="82"/>
                </a:lnTo>
                <a:lnTo>
                  <a:pt x="407" y="72"/>
                </a:lnTo>
                <a:lnTo>
                  <a:pt x="401" y="68"/>
                </a:lnTo>
                <a:lnTo>
                  <a:pt x="387" y="53"/>
                </a:lnTo>
                <a:lnTo>
                  <a:pt x="372" y="44"/>
                </a:lnTo>
                <a:lnTo>
                  <a:pt x="357" y="34"/>
                </a:lnTo>
                <a:lnTo>
                  <a:pt x="342" y="25"/>
                </a:lnTo>
                <a:lnTo>
                  <a:pt x="327" y="15"/>
                </a:lnTo>
                <a:lnTo>
                  <a:pt x="318" y="6"/>
                </a:lnTo>
                <a:lnTo>
                  <a:pt x="312" y="0"/>
                </a:lnTo>
                <a:lnTo>
                  <a:pt x="308" y="0"/>
                </a:lnTo>
                <a:lnTo>
                  <a:pt x="303" y="0"/>
                </a:lnTo>
                <a:lnTo>
                  <a:pt x="303" y="10"/>
                </a:lnTo>
                <a:lnTo>
                  <a:pt x="297" y="25"/>
                </a:lnTo>
                <a:lnTo>
                  <a:pt x="293" y="30"/>
                </a:lnTo>
                <a:lnTo>
                  <a:pt x="283" y="30"/>
                </a:lnTo>
                <a:lnTo>
                  <a:pt x="278" y="25"/>
                </a:lnTo>
                <a:lnTo>
                  <a:pt x="273" y="15"/>
                </a:lnTo>
                <a:lnTo>
                  <a:pt x="268" y="10"/>
                </a:lnTo>
                <a:lnTo>
                  <a:pt x="263" y="15"/>
                </a:lnTo>
                <a:lnTo>
                  <a:pt x="254" y="20"/>
                </a:lnTo>
                <a:lnTo>
                  <a:pt x="238" y="30"/>
                </a:lnTo>
                <a:lnTo>
                  <a:pt x="219" y="30"/>
                </a:lnTo>
                <a:lnTo>
                  <a:pt x="199" y="30"/>
                </a:lnTo>
                <a:lnTo>
                  <a:pt x="194" y="30"/>
                </a:lnTo>
                <a:lnTo>
                  <a:pt x="189" y="30"/>
                </a:lnTo>
                <a:lnTo>
                  <a:pt x="180" y="30"/>
                </a:lnTo>
                <a:lnTo>
                  <a:pt x="169" y="34"/>
                </a:lnTo>
                <a:lnTo>
                  <a:pt x="160" y="44"/>
                </a:lnTo>
                <a:lnTo>
                  <a:pt x="160" y="72"/>
                </a:lnTo>
                <a:lnTo>
                  <a:pt x="154" y="82"/>
                </a:lnTo>
                <a:lnTo>
                  <a:pt x="145" y="93"/>
                </a:lnTo>
                <a:lnTo>
                  <a:pt x="130" y="102"/>
                </a:lnTo>
                <a:lnTo>
                  <a:pt x="110" y="112"/>
                </a:lnTo>
                <a:lnTo>
                  <a:pt x="91" y="121"/>
                </a:lnTo>
                <a:lnTo>
                  <a:pt x="85" y="126"/>
                </a:lnTo>
                <a:lnTo>
                  <a:pt x="65" y="160"/>
                </a:lnTo>
                <a:lnTo>
                  <a:pt x="61" y="160"/>
                </a:lnTo>
                <a:lnTo>
                  <a:pt x="56" y="160"/>
                </a:lnTo>
                <a:lnTo>
                  <a:pt x="45" y="160"/>
                </a:lnTo>
                <a:lnTo>
                  <a:pt x="35" y="169"/>
                </a:lnTo>
                <a:lnTo>
                  <a:pt x="31" y="184"/>
                </a:lnTo>
                <a:lnTo>
                  <a:pt x="35" y="198"/>
                </a:lnTo>
                <a:lnTo>
                  <a:pt x="41" y="207"/>
                </a:lnTo>
                <a:lnTo>
                  <a:pt x="41" y="217"/>
                </a:lnTo>
                <a:lnTo>
                  <a:pt x="41" y="232"/>
                </a:lnTo>
                <a:lnTo>
                  <a:pt x="35" y="247"/>
                </a:lnTo>
                <a:lnTo>
                  <a:pt x="31" y="251"/>
                </a:lnTo>
                <a:lnTo>
                  <a:pt x="26" y="256"/>
                </a:lnTo>
                <a:lnTo>
                  <a:pt x="21" y="261"/>
                </a:lnTo>
                <a:lnTo>
                  <a:pt x="11" y="270"/>
                </a:lnTo>
                <a:lnTo>
                  <a:pt x="0" y="295"/>
                </a:lnTo>
                <a:lnTo>
                  <a:pt x="0" y="328"/>
                </a:lnTo>
                <a:lnTo>
                  <a:pt x="11" y="361"/>
                </a:lnTo>
                <a:lnTo>
                  <a:pt x="16" y="386"/>
                </a:lnTo>
                <a:lnTo>
                  <a:pt x="16" y="401"/>
                </a:lnTo>
                <a:lnTo>
                  <a:pt x="16" y="405"/>
                </a:lnTo>
                <a:lnTo>
                  <a:pt x="21" y="405"/>
                </a:lnTo>
                <a:lnTo>
                  <a:pt x="26" y="410"/>
                </a:lnTo>
                <a:lnTo>
                  <a:pt x="56" y="420"/>
                </a:lnTo>
                <a:lnTo>
                  <a:pt x="85" y="425"/>
                </a:lnTo>
                <a:lnTo>
                  <a:pt x="100" y="429"/>
                </a:lnTo>
                <a:lnTo>
                  <a:pt x="110" y="429"/>
                </a:lnTo>
                <a:lnTo>
                  <a:pt x="145" y="434"/>
                </a:lnTo>
                <a:lnTo>
                  <a:pt x="174" y="429"/>
                </a:lnTo>
                <a:lnTo>
                  <a:pt x="189" y="429"/>
                </a:lnTo>
                <a:lnTo>
                  <a:pt x="214" y="434"/>
                </a:lnTo>
                <a:lnTo>
                  <a:pt x="234" y="444"/>
                </a:lnTo>
                <a:lnTo>
                  <a:pt x="249" y="454"/>
                </a:lnTo>
                <a:lnTo>
                  <a:pt x="273" y="483"/>
                </a:lnTo>
                <a:lnTo>
                  <a:pt x="288" y="496"/>
                </a:lnTo>
                <a:lnTo>
                  <a:pt x="297" y="511"/>
                </a:lnTo>
                <a:lnTo>
                  <a:pt x="308" y="540"/>
                </a:lnTo>
                <a:lnTo>
                  <a:pt x="312" y="550"/>
                </a:lnTo>
                <a:lnTo>
                  <a:pt x="312" y="555"/>
                </a:lnTo>
                <a:lnTo>
                  <a:pt x="338" y="569"/>
                </a:lnTo>
                <a:close/>
              </a:path>
            </a:pathLst>
          </a:custGeom>
          <a:solidFill>
            <a:srgbClr val="005027"/>
          </a:solidFill>
          <a:ln w="9525">
            <a:solidFill>
              <a:schemeClr val="bg1"/>
            </a:solidFill>
            <a:round/>
            <a:headEnd/>
            <a:tailEnd/>
          </a:ln>
        </p:spPr>
        <p:txBody>
          <a:bodyPr/>
          <a:lstStyle/>
          <a:p>
            <a:endParaRPr lang="ro-RO"/>
          </a:p>
        </p:txBody>
      </p:sp>
      <p:sp>
        <p:nvSpPr>
          <p:cNvPr id="12333" name="Freeform 43"/>
          <p:cNvSpPr>
            <a:spLocks/>
          </p:cNvSpPr>
          <p:nvPr/>
        </p:nvSpPr>
        <p:spPr bwMode="auto">
          <a:xfrm>
            <a:off x="2506663" y="3698875"/>
            <a:ext cx="652462" cy="1074738"/>
          </a:xfrm>
          <a:custGeom>
            <a:avLst/>
            <a:gdLst>
              <a:gd name="T0" fmla="*/ 2147483647 w 508"/>
              <a:gd name="T1" fmla="*/ 2147483647 h 778"/>
              <a:gd name="T2" fmla="*/ 2147483647 w 508"/>
              <a:gd name="T3" fmla="*/ 2147483647 h 778"/>
              <a:gd name="T4" fmla="*/ 2147483647 w 508"/>
              <a:gd name="T5" fmla="*/ 2147483647 h 778"/>
              <a:gd name="T6" fmla="*/ 2147483647 w 508"/>
              <a:gd name="T7" fmla="*/ 2147483647 h 778"/>
              <a:gd name="T8" fmla="*/ 2147483647 w 508"/>
              <a:gd name="T9" fmla="*/ 2147483647 h 778"/>
              <a:gd name="T10" fmla="*/ 2147483647 w 508"/>
              <a:gd name="T11" fmla="*/ 2147483647 h 778"/>
              <a:gd name="T12" fmla="*/ 2147483647 w 508"/>
              <a:gd name="T13" fmla="*/ 2147483647 h 778"/>
              <a:gd name="T14" fmla="*/ 2147483647 w 508"/>
              <a:gd name="T15" fmla="*/ 2147483647 h 778"/>
              <a:gd name="T16" fmla="*/ 2147483647 w 508"/>
              <a:gd name="T17" fmla="*/ 2147483647 h 778"/>
              <a:gd name="T18" fmla="*/ 2147483647 w 508"/>
              <a:gd name="T19" fmla="*/ 2147483647 h 778"/>
              <a:gd name="T20" fmla="*/ 2147483647 w 508"/>
              <a:gd name="T21" fmla="*/ 2147483647 h 778"/>
              <a:gd name="T22" fmla="*/ 2147483647 w 508"/>
              <a:gd name="T23" fmla="*/ 2147483647 h 778"/>
              <a:gd name="T24" fmla="*/ 2147483647 w 508"/>
              <a:gd name="T25" fmla="*/ 2147483647 h 778"/>
              <a:gd name="T26" fmla="*/ 2147483647 w 508"/>
              <a:gd name="T27" fmla="*/ 2147483647 h 778"/>
              <a:gd name="T28" fmla="*/ 2147483647 w 508"/>
              <a:gd name="T29" fmla="*/ 2147483647 h 778"/>
              <a:gd name="T30" fmla="*/ 2147483647 w 508"/>
              <a:gd name="T31" fmla="*/ 2147483647 h 778"/>
              <a:gd name="T32" fmla="*/ 2147483647 w 508"/>
              <a:gd name="T33" fmla="*/ 2147483647 h 778"/>
              <a:gd name="T34" fmla="*/ 2147483647 w 508"/>
              <a:gd name="T35" fmla="*/ 2147483647 h 778"/>
              <a:gd name="T36" fmla="*/ 2147483647 w 508"/>
              <a:gd name="T37" fmla="*/ 2147483647 h 778"/>
              <a:gd name="T38" fmla="*/ 2147483647 w 508"/>
              <a:gd name="T39" fmla="*/ 2147483647 h 778"/>
              <a:gd name="T40" fmla="*/ 2147483647 w 508"/>
              <a:gd name="T41" fmla="*/ 2147483647 h 778"/>
              <a:gd name="T42" fmla="*/ 2147483647 w 508"/>
              <a:gd name="T43" fmla="*/ 2147483647 h 778"/>
              <a:gd name="T44" fmla="*/ 2147483647 w 508"/>
              <a:gd name="T45" fmla="*/ 2147483647 h 778"/>
              <a:gd name="T46" fmla="*/ 2147483647 w 508"/>
              <a:gd name="T47" fmla="*/ 2147483647 h 778"/>
              <a:gd name="T48" fmla="*/ 2147483647 w 508"/>
              <a:gd name="T49" fmla="*/ 2147483647 h 778"/>
              <a:gd name="T50" fmla="*/ 2147483647 w 508"/>
              <a:gd name="T51" fmla="*/ 2147483647 h 778"/>
              <a:gd name="T52" fmla="*/ 2147483647 w 508"/>
              <a:gd name="T53" fmla="*/ 2147483647 h 778"/>
              <a:gd name="T54" fmla="*/ 2147483647 w 508"/>
              <a:gd name="T55" fmla="*/ 2147483647 h 778"/>
              <a:gd name="T56" fmla="*/ 2147483647 w 508"/>
              <a:gd name="T57" fmla="*/ 2147483647 h 778"/>
              <a:gd name="T58" fmla="*/ 2147483647 w 508"/>
              <a:gd name="T59" fmla="*/ 2147483647 h 778"/>
              <a:gd name="T60" fmla="*/ 2147483647 w 508"/>
              <a:gd name="T61" fmla="*/ 0 h 778"/>
              <a:gd name="T62" fmla="*/ 2147483647 w 508"/>
              <a:gd name="T63" fmla="*/ 2147483647 h 778"/>
              <a:gd name="T64" fmla="*/ 2147483647 w 508"/>
              <a:gd name="T65" fmla="*/ 2147483647 h 778"/>
              <a:gd name="T66" fmla="*/ 2147483647 w 508"/>
              <a:gd name="T67" fmla="*/ 2147483647 h 778"/>
              <a:gd name="T68" fmla="*/ 2147483647 w 508"/>
              <a:gd name="T69" fmla="*/ 2147483647 h 778"/>
              <a:gd name="T70" fmla="*/ 2147483647 w 508"/>
              <a:gd name="T71" fmla="*/ 2147483647 h 778"/>
              <a:gd name="T72" fmla="*/ 2147483647 w 508"/>
              <a:gd name="T73" fmla="*/ 2147483647 h 778"/>
              <a:gd name="T74" fmla="*/ 2147483647 w 508"/>
              <a:gd name="T75" fmla="*/ 2147483647 h 778"/>
              <a:gd name="T76" fmla="*/ 2147483647 w 508"/>
              <a:gd name="T77" fmla="*/ 2147483647 h 778"/>
              <a:gd name="T78" fmla="*/ 2147483647 w 508"/>
              <a:gd name="T79" fmla="*/ 2147483647 h 778"/>
              <a:gd name="T80" fmla="*/ 2147483647 w 508"/>
              <a:gd name="T81" fmla="*/ 2147483647 h 778"/>
              <a:gd name="T82" fmla="*/ 2147483647 w 508"/>
              <a:gd name="T83" fmla="*/ 2147483647 h 778"/>
              <a:gd name="T84" fmla="*/ 2147483647 w 508"/>
              <a:gd name="T85" fmla="*/ 2147483647 h 778"/>
              <a:gd name="T86" fmla="*/ 2147483647 w 508"/>
              <a:gd name="T87" fmla="*/ 2147483647 h 778"/>
              <a:gd name="T88" fmla="*/ 2147483647 w 508"/>
              <a:gd name="T89" fmla="*/ 2147483647 h 778"/>
              <a:gd name="T90" fmla="*/ 2147483647 w 508"/>
              <a:gd name="T91" fmla="*/ 2147483647 h 778"/>
              <a:gd name="T92" fmla="*/ 2147483647 w 508"/>
              <a:gd name="T93" fmla="*/ 2147483647 h 778"/>
              <a:gd name="T94" fmla="*/ 2147483647 w 508"/>
              <a:gd name="T95" fmla="*/ 2147483647 h 778"/>
              <a:gd name="T96" fmla="*/ 2147483647 w 508"/>
              <a:gd name="T97" fmla="*/ 2147483647 h 778"/>
              <a:gd name="T98" fmla="*/ 2147483647 w 508"/>
              <a:gd name="T99" fmla="*/ 2147483647 h 778"/>
              <a:gd name="T100" fmla="*/ 2147483647 w 508"/>
              <a:gd name="T101" fmla="*/ 2147483647 h 778"/>
              <a:gd name="T102" fmla="*/ 2147483647 w 508"/>
              <a:gd name="T103" fmla="*/ 2147483647 h 778"/>
              <a:gd name="T104" fmla="*/ 2147483647 w 508"/>
              <a:gd name="T105" fmla="*/ 2147483647 h 778"/>
              <a:gd name="T106" fmla="*/ 2147483647 w 508"/>
              <a:gd name="T107" fmla="*/ 2147483647 h 7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08"/>
              <a:gd name="T163" fmla="*/ 0 h 778"/>
              <a:gd name="T164" fmla="*/ 508 w 508"/>
              <a:gd name="T165" fmla="*/ 778 h 7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08" h="778">
                <a:moveTo>
                  <a:pt x="90" y="609"/>
                </a:moveTo>
                <a:lnTo>
                  <a:pt x="96" y="619"/>
                </a:lnTo>
                <a:lnTo>
                  <a:pt x="100" y="633"/>
                </a:lnTo>
                <a:lnTo>
                  <a:pt x="100" y="647"/>
                </a:lnTo>
                <a:lnTo>
                  <a:pt x="105" y="662"/>
                </a:lnTo>
                <a:lnTo>
                  <a:pt x="115" y="672"/>
                </a:lnTo>
                <a:lnTo>
                  <a:pt x="125" y="676"/>
                </a:lnTo>
                <a:lnTo>
                  <a:pt x="131" y="676"/>
                </a:lnTo>
                <a:lnTo>
                  <a:pt x="160" y="691"/>
                </a:lnTo>
                <a:lnTo>
                  <a:pt x="160" y="687"/>
                </a:lnTo>
                <a:lnTo>
                  <a:pt x="155" y="687"/>
                </a:lnTo>
                <a:lnTo>
                  <a:pt x="155" y="691"/>
                </a:lnTo>
                <a:lnTo>
                  <a:pt x="160" y="701"/>
                </a:lnTo>
                <a:lnTo>
                  <a:pt x="170" y="715"/>
                </a:lnTo>
                <a:lnTo>
                  <a:pt x="179" y="740"/>
                </a:lnTo>
                <a:lnTo>
                  <a:pt x="179" y="754"/>
                </a:lnTo>
                <a:lnTo>
                  <a:pt x="185" y="754"/>
                </a:lnTo>
                <a:lnTo>
                  <a:pt x="200" y="754"/>
                </a:lnTo>
                <a:lnTo>
                  <a:pt x="214" y="754"/>
                </a:lnTo>
                <a:lnTo>
                  <a:pt x="229" y="763"/>
                </a:lnTo>
                <a:lnTo>
                  <a:pt x="240" y="773"/>
                </a:lnTo>
                <a:lnTo>
                  <a:pt x="249" y="778"/>
                </a:lnTo>
                <a:lnTo>
                  <a:pt x="260" y="773"/>
                </a:lnTo>
                <a:lnTo>
                  <a:pt x="270" y="759"/>
                </a:lnTo>
                <a:lnTo>
                  <a:pt x="279" y="748"/>
                </a:lnTo>
                <a:lnTo>
                  <a:pt x="279" y="744"/>
                </a:lnTo>
                <a:lnTo>
                  <a:pt x="290" y="744"/>
                </a:lnTo>
                <a:lnTo>
                  <a:pt x="304" y="740"/>
                </a:lnTo>
                <a:lnTo>
                  <a:pt x="325" y="734"/>
                </a:lnTo>
                <a:lnTo>
                  <a:pt x="330" y="734"/>
                </a:lnTo>
                <a:lnTo>
                  <a:pt x="334" y="729"/>
                </a:lnTo>
                <a:lnTo>
                  <a:pt x="339" y="710"/>
                </a:lnTo>
                <a:lnTo>
                  <a:pt x="349" y="695"/>
                </a:lnTo>
                <a:lnTo>
                  <a:pt x="354" y="691"/>
                </a:lnTo>
                <a:lnTo>
                  <a:pt x="360" y="695"/>
                </a:lnTo>
                <a:lnTo>
                  <a:pt x="364" y="706"/>
                </a:lnTo>
                <a:lnTo>
                  <a:pt x="364" y="715"/>
                </a:lnTo>
                <a:lnTo>
                  <a:pt x="379" y="715"/>
                </a:lnTo>
                <a:lnTo>
                  <a:pt x="384" y="701"/>
                </a:lnTo>
                <a:lnTo>
                  <a:pt x="384" y="687"/>
                </a:lnTo>
                <a:lnTo>
                  <a:pt x="374" y="672"/>
                </a:lnTo>
                <a:lnTo>
                  <a:pt x="369" y="653"/>
                </a:lnTo>
                <a:lnTo>
                  <a:pt x="369" y="623"/>
                </a:lnTo>
                <a:lnTo>
                  <a:pt x="369" y="600"/>
                </a:lnTo>
                <a:lnTo>
                  <a:pt x="374" y="579"/>
                </a:lnTo>
                <a:lnTo>
                  <a:pt x="384" y="571"/>
                </a:lnTo>
                <a:lnTo>
                  <a:pt x="389" y="566"/>
                </a:lnTo>
                <a:lnTo>
                  <a:pt x="389" y="560"/>
                </a:lnTo>
                <a:lnTo>
                  <a:pt x="389" y="556"/>
                </a:lnTo>
                <a:lnTo>
                  <a:pt x="404" y="518"/>
                </a:lnTo>
                <a:lnTo>
                  <a:pt x="409" y="512"/>
                </a:lnTo>
                <a:lnTo>
                  <a:pt x="419" y="503"/>
                </a:lnTo>
                <a:lnTo>
                  <a:pt x="424" y="493"/>
                </a:lnTo>
                <a:lnTo>
                  <a:pt x="429" y="498"/>
                </a:lnTo>
                <a:lnTo>
                  <a:pt x="434" y="518"/>
                </a:lnTo>
                <a:lnTo>
                  <a:pt x="439" y="532"/>
                </a:lnTo>
                <a:lnTo>
                  <a:pt x="443" y="526"/>
                </a:lnTo>
                <a:lnTo>
                  <a:pt x="459" y="507"/>
                </a:lnTo>
                <a:lnTo>
                  <a:pt x="474" y="484"/>
                </a:lnTo>
                <a:lnTo>
                  <a:pt x="484" y="454"/>
                </a:lnTo>
                <a:lnTo>
                  <a:pt x="484" y="431"/>
                </a:lnTo>
                <a:lnTo>
                  <a:pt x="489" y="411"/>
                </a:lnTo>
                <a:lnTo>
                  <a:pt x="489" y="391"/>
                </a:lnTo>
                <a:lnTo>
                  <a:pt x="489" y="368"/>
                </a:lnTo>
                <a:lnTo>
                  <a:pt x="493" y="344"/>
                </a:lnTo>
                <a:lnTo>
                  <a:pt x="493" y="315"/>
                </a:lnTo>
                <a:lnTo>
                  <a:pt x="489" y="290"/>
                </a:lnTo>
                <a:lnTo>
                  <a:pt x="478" y="276"/>
                </a:lnTo>
                <a:lnTo>
                  <a:pt x="474" y="266"/>
                </a:lnTo>
                <a:lnTo>
                  <a:pt x="474" y="252"/>
                </a:lnTo>
                <a:lnTo>
                  <a:pt x="478" y="222"/>
                </a:lnTo>
                <a:lnTo>
                  <a:pt x="478" y="213"/>
                </a:lnTo>
                <a:lnTo>
                  <a:pt x="478" y="203"/>
                </a:lnTo>
                <a:lnTo>
                  <a:pt x="474" y="194"/>
                </a:lnTo>
                <a:lnTo>
                  <a:pt x="474" y="180"/>
                </a:lnTo>
                <a:lnTo>
                  <a:pt x="478" y="165"/>
                </a:lnTo>
                <a:lnTo>
                  <a:pt x="478" y="146"/>
                </a:lnTo>
                <a:lnTo>
                  <a:pt x="478" y="131"/>
                </a:lnTo>
                <a:lnTo>
                  <a:pt x="478" y="127"/>
                </a:lnTo>
                <a:lnTo>
                  <a:pt x="478" y="122"/>
                </a:lnTo>
                <a:lnTo>
                  <a:pt x="478" y="107"/>
                </a:lnTo>
                <a:lnTo>
                  <a:pt x="478" y="88"/>
                </a:lnTo>
                <a:lnTo>
                  <a:pt x="493" y="82"/>
                </a:lnTo>
                <a:lnTo>
                  <a:pt x="504" y="78"/>
                </a:lnTo>
                <a:lnTo>
                  <a:pt x="508" y="63"/>
                </a:lnTo>
                <a:lnTo>
                  <a:pt x="504" y="54"/>
                </a:lnTo>
                <a:lnTo>
                  <a:pt x="504" y="44"/>
                </a:lnTo>
                <a:lnTo>
                  <a:pt x="499" y="25"/>
                </a:lnTo>
                <a:lnTo>
                  <a:pt x="499" y="15"/>
                </a:lnTo>
                <a:lnTo>
                  <a:pt x="504" y="6"/>
                </a:lnTo>
                <a:lnTo>
                  <a:pt x="499" y="6"/>
                </a:lnTo>
                <a:lnTo>
                  <a:pt x="489" y="0"/>
                </a:lnTo>
                <a:lnTo>
                  <a:pt x="474" y="0"/>
                </a:lnTo>
                <a:lnTo>
                  <a:pt x="454" y="6"/>
                </a:lnTo>
                <a:lnTo>
                  <a:pt x="409" y="10"/>
                </a:lnTo>
                <a:lnTo>
                  <a:pt x="395" y="10"/>
                </a:lnTo>
                <a:lnTo>
                  <a:pt x="379" y="20"/>
                </a:lnTo>
                <a:lnTo>
                  <a:pt x="349" y="34"/>
                </a:lnTo>
                <a:lnTo>
                  <a:pt x="314" y="44"/>
                </a:lnTo>
                <a:lnTo>
                  <a:pt x="290" y="49"/>
                </a:lnTo>
                <a:lnTo>
                  <a:pt x="260" y="49"/>
                </a:lnTo>
                <a:lnTo>
                  <a:pt x="235" y="49"/>
                </a:lnTo>
                <a:lnTo>
                  <a:pt x="214" y="49"/>
                </a:lnTo>
                <a:lnTo>
                  <a:pt x="190" y="49"/>
                </a:lnTo>
                <a:lnTo>
                  <a:pt x="175" y="49"/>
                </a:lnTo>
                <a:lnTo>
                  <a:pt x="160" y="44"/>
                </a:lnTo>
                <a:lnTo>
                  <a:pt x="144" y="40"/>
                </a:lnTo>
                <a:lnTo>
                  <a:pt x="131" y="40"/>
                </a:lnTo>
                <a:lnTo>
                  <a:pt x="120" y="40"/>
                </a:lnTo>
                <a:lnTo>
                  <a:pt x="100" y="49"/>
                </a:lnTo>
                <a:lnTo>
                  <a:pt x="81" y="54"/>
                </a:lnTo>
                <a:lnTo>
                  <a:pt x="66" y="59"/>
                </a:lnTo>
                <a:lnTo>
                  <a:pt x="61" y="59"/>
                </a:lnTo>
                <a:lnTo>
                  <a:pt x="55" y="63"/>
                </a:lnTo>
                <a:lnTo>
                  <a:pt x="46" y="78"/>
                </a:lnTo>
                <a:lnTo>
                  <a:pt x="26" y="82"/>
                </a:lnTo>
                <a:lnTo>
                  <a:pt x="20" y="82"/>
                </a:lnTo>
                <a:lnTo>
                  <a:pt x="15" y="93"/>
                </a:lnTo>
                <a:lnTo>
                  <a:pt x="11" y="112"/>
                </a:lnTo>
                <a:lnTo>
                  <a:pt x="11" y="135"/>
                </a:lnTo>
                <a:lnTo>
                  <a:pt x="11" y="146"/>
                </a:lnTo>
                <a:lnTo>
                  <a:pt x="11" y="150"/>
                </a:lnTo>
                <a:lnTo>
                  <a:pt x="6" y="156"/>
                </a:lnTo>
                <a:lnTo>
                  <a:pt x="0" y="165"/>
                </a:lnTo>
                <a:lnTo>
                  <a:pt x="6" y="169"/>
                </a:lnTo>
                <a:lnTo>
                  <a:pt x="11" y="169"/>
                </a:lnTo>
                <a:lnTo>
                  <a:pt x="26" y="175"/>
                </a:lnTo>
                <a:lnTo>
                  <a:pt x="50" y="175"/>
                </a:lnTo>
                <a:lnTo>
                  <a:pt x="61" y="175"/>
                </a:lnTo>
                <a:lnTo>
                  <a:pt x="66" y="175"/>
                </a:lnTo>
                <a:lnTo>
                  <a:pt x="75" y="175"/>
                </a:lnTo>
                <a:lnTo>
                  <a:pt x="85" y="175"/>
                </a:lnTo>
                <a:lnTo>
                  <a:pt x="100" y="175"/>
                </a:lnTo>
                <a:lnTo>
                  <a:pt x="115" y="175"/>
                </a:lnTo>
                <a:lnTo>
                  <a:pt x="131" y="175"/>
                </a:lnTo>
                <a:lnTo>
                  <a:pt x="135" y="184"/>
                </a:lnTo>
                <a:lnTo>
                  <a:pt x="131" y="203"/>
                </a:lnTo>
                <a:lnTo>
                  <a:pt x="120" y="228"/>
                </a:lnTo>
                <a:lnTo>
                  <a:pt x="115" y="242"/>
                </a:lnTo>
                <a:lnTo>
                  <a:pt x="115" y="252"/>
                </a:lnTo>
                <a:lnTo>
                  <a:pt x="120" y="262"/>
                </a:lnTo>
                <a:lnTo>
                  <a:pt x="135" y="285"/>
                </a:lnTo>
                <a:lnTo>
                  <a:pt x="135" y="295"/>
                </a:lnTo>
                <a:lnTo>
                  <a:pt x="131" y="310"/>
                </a:lnTo>
                <a:lnTo>
                  <a:pt x="120" y="329"/>
                </a:lnTo>
                <a:lnTo>
                  <a:pt x="120" y="344"/>
                </a:lnTo>
                <a:lnTo>
                  <a:pt x="125" y="368"/>
                </a:lnTo>
                <a:lnTo>
                  <a:pt x="131" y="372"/>
                </a:lnTo>
                <a:lnTo>
                  <a:pt x="120" y="378"/>
                </a:lnTo>
                <a:lnTo>
                  <a:pt x="110" y="382"/>
                </a:lnTo>
                <a:lnTo>
                  <a:pt x="100" y="397"/>
                </a:lnTo>
                <a:lnTo>
                  <a:pt x="90" y="416"/>
                </a:lnTo>
                <a:lnTo>
                  <a:pt x="81" y="431"/>
                </a:lnTo>
                <a:lnTo>
                  <a:pt x="75" y="454"/>
                </a:lnTo>
                <a:lnTo>
                  <a:pt x="81" y="478"/>
                </a:lnTo>
                <a:lnTo>
                  <a:pt x="85" y="493"/>
                </a:lnTo>
                <a:lnTo>
                  <a:pt x="90" y="498"/>
                </a:lnTo>
                <a:lnTo>
                  <a:pt x="96" y="507"/>
                </a:lnTo>
                <a:lnTo>
                  <a:pt x="96" y="518"/>
                </a:lnTo>
                <a:lnTo>
                  <a:pt x="100" y="532"/>
                </a:lnTo>
                <a:lnTo>
                  <a:pt x="100" y="556"/>
                </a:lnTo>
                <a:lnTo>
                  <a:pt x="96" y="579"/>
                </a:lnTo>
                <a:lnTo>
                  <a:pt x="90" y="600"/>
                </a:lnTo>
                <a:lnTo>
                  <a:pt x="90" y="609"/>
                </a:lnTo>
                <a:close/>
              </a:path>
            </a:pathLst>
          </a:custGeom>
          <a:solidFill>
            <a:srgbClr val="005027"/>
          </a:solidFill>
          <a:ln w="9525">
            <a:solidFill>
              <a:schemeClr val="bg1"/>
            </a:solidFill>
            <a:round/>
            <a:headEnd/>
            <a:tailEnd/>
          </a:ln>
        </p:spPr>
        <p:txBody>
          <a:bodyPr/>
          <a:lstStyle/>
          <a:p>
            <a:endParaRPr lang="ro-RO"/>
          </a:p>
        </p:txBody>
      </p:sp>
      <p:sp>
        <p:nvSpPr>
          <p:cNvPr id="12334" name="Freeform 44"/>
          <p:cNvSpPr>
            <a:spLocks/>
          </p:cNvSpPr>
          <p:nvPr/>
        </p:nvSpPr>
        <p:spPr bwMode="auto">
          <a:xfrm>
            <a:off x="1827213" y="3910013"/>
            <a:ext cx="855662" cy="779462"/>
          </a:xfrm>
          <a:custGeom>
            <a:avLst/>
            <a:gdLst>
              <a:gd name="T0" fmla="*/ 2147483647 w 665"/>
              <a:gd name="T1" fmla="*/ 2147483647 h 564"/>
              <a:gd name="T2" fmla="*/ 2147483647 w 665"/>
              <a:gd name="T3" fmla="*/ 2147483647 h 564"/>
              <a:gd name="T4" fmla="*/ 2147483647 w 665"/>
              <a:gd name="T5" fmla="*/ 2147483647 h 564"/>
              <a:gd name="T6" fmla="*/ 2147483647 w 665"/>
              <a:gd name="T7" fmla="*/ 2147483647 h 564"/>
              <a:gd name="T8" fmla="*/ 2147483647 w 665"/>
              <a:gd name="T9" fmla="*/ 2147483647 h 564"/>
              <a:gd name="T10" fmla="*/ 2147483647 w 665"/>
              <a:gd name="T11" fmla="*/ 2147483647 h 564"/>
              <a:gd name="T12" fmla="*/ 2147483647 w 665"/>
              <a:gd name="T13" fmla="*/ 2147483647 h 564"/>
              <a:gd name="T14" fmla="*/ 2147483647 w 665"/>
              <a:gd name="T15" fmla="*/ 2147483647 h 564"/>
              <a:gd name="T16" fmla="*/ 2147483647 w 665"/>
              <a:gd name="T17" fmla="*/ 2147483647 h 564"/>
              <a:gd name="T18" fmla="*/ 2147483647 w 665"/>
              <a:gd name="T19" fmla="*/ 2147483647 h 564"/>
              <a:gd name="T20" fmla="*/ 2147483647 w 665"/>
              <a:gd name="T21" fmla="*/ 2147483647 h 564"/>
              <a:gd name="T22" fmla="*/ 2147483647 w 665"/>
              <a:gd name="T23" fmla="*/ 2147483647 h 564"/>
              <a:gd name="T24" fmla="*/ 2147483647 w 665"/>
              <a:gd name="T25" fmla="*/ 2147483647 h 564"/>
              <a:gd name="T26" fmla="*/ 2147483647 w 665"/>
              <a:gd name="T27" fmla="*/ 2147483647 h 564"/>
              <a:gd name="T28" fmla="*/ 2147483647 w 665"/>
              <a:gd name="T29" fmla="*/ 2147483647 h 564"/>
              <a:gd name="T30" fmla="*/ 2147483647 w 665"/>
              <a:gd name="T31" fmla="*/ 2147483647 h 564"/>
              <a:gd name="T32" fmla="*/ 2147483647 w 665"/>
              <a:gd name="T33" fmla="*/ 2147483647 h 564"/>
              <a:gd name="T34" fmla="*/ 2147483647 w 665"/>
              <a:gd name="T35" fmla="*/ 2147483647 h 564"/>
              <a:gd name="T36" fmla="*/ 2147483647 w 665"/>
              <a:gd name="T37" fmla="*/ 2147483647 h 564"/>
              <a:gd name="T38" fmla="*/ 2147483647 w 665"/>
              <a:gd name="T39" fmla="*/ 2147483647 h 564"/>
              <a:gd name="T40" fmla="*/ 2147483647 w 665"/>
              <a:gd name="T41" fmla="*/ 2147483647 h 564"/>
              <a:gd name="T42" fmla="*/ 2147483647 w 665"/>
              <a:gd name="T43" fmla="*/ 0 h 564"/>
              <a:gd name="T44" fmla="*/ 2147483647 w 665"/>
              <a:gd name="T45" fmla="*/ 2147483647 h 564"/>
              <a:gd name="T46" fmla="*/ 2147483647 w 665"/>
              <a:gd name="T47" fmla="*/ 2147483647 h 564"/>
              <a:gd name="T48" fmla="*/ 2147483647 w 665"/>
              <a:gd name="T49" fmla="*/ 2147483647 h 564"/>
              <a:gd name="T50" fmla="*/ 2147483647 w 665"/>
              <a:gd name="T51" fmla="*/ 2147483647 h 564"/>
              <a:gd name="T52" fmla="*/ 2147483647 w 665"/>
              <a:gd name="T53" fmla="*/ 2147483647 h 564"/>
              <a:gd name="T54" fmla="*/ 2147483647 w 665"/>
              <a:gd name="T55" fmla="*/ 2147483647 h 564"/>
              <a:gd name="T56" fmla="*/ 2147483647 w 665"/>
              <a:gd name="T57" fmla="*/ 2147483647 h 564"/>
              <a:gd name="T58" fmla="*/ 2147483647 w 665"/>
              <a:gd name="T59" fmla="*/ 2147483647 h 564"/>
              <a:gd name="T60" fmla="*/ 2147483647 w 665"/>
              <a:gd name="T61" fmla="*/ 2147483647 h 564"/>
              <a:gd name="T62" fmla="*/ 2147483647 w 665"/>
              <a:gd name="T63" fmla="*/ 2147483647 h 564"/>
              <a:gd name="T64" fmla="*/ 2147483647 w 665"/>
              <a:gd name="T65" fmla="*/ 2147483647 h 564"/>
              <a:gd name="T66" fmla="*/ 2147483647 w 665"/>
              <a:gd name="T67" fmla="*/ 2147483647 h 564"/>
              <a:gd name="T68" fmla="*/ 2147483647 w 665"/>
              <a:gd name="T69" fmla="*/ 2147483647 h 564"/>
              <a:gd name="T70" fmla="*/ 2147483647 w 665"/>
              <a:gd name="T71" fmla="*/ 2147483647 h 564"/>
              <a:gd name="T72" fmla="*/ 2147483647 w 665"/>
              <a:gd name="T73" fmla="*/ 2147483647 h 564"/>
              <a:gd name="T74" fmla="*/ 2147483647 w 665"/>
              <a:gd name="T75" fmla="*/ 2147483647 h 564"/>
              <a:gd name="T76" fmla="*/ 2147483647 w 665"/>
              <a:gd name="T77" fmla="*/ 2147483647 h 564"/>
              <a:gd name="T78" fmla="*/ 2147483647 w 665"/>
              <a:gd name="T79" fmla="*/ 2147483647 h 564"/>
              <a:gd name="T80" fmla="*/ 2147483647 w 665"/>
              <a:gd name="T81" fmla="*/ 2147483647 h 564"/>
              <a:gd name="T82" fmla="*/ 2147483647 w 665"/>
              <a:gd name="T83" fmla="*/ 2147483647 h 564"/>
              <a:gd name="T84" fmla="*/ 2147483647 w 665"/>
              <a:gd name="T85" fmla="*/ 2147483647 h 564"/>
              <a:gd name="T86" fmla="*/ 2147483647 w 665"/>
              <a:gd name="T87" fmla="*/ 2147483647 h 564"/>
              <a:gd name="T88" fmla="*/ 2147483647 w 665"/>
              <a:gd name="T89" fmla="*/ 2147483647 h 564"/>
              <a:gd name="T90" fmla="*/ 2147483647 w 665"/>
              <a:gd name="T91" fmla="*/ 2147483647 h 564"/>
              <a:gd name="T92" fmla="*/ 2147483647 w 665"/>
              <a:gd name="T93" fmla="*/ 2147483647 h 564"/>
              <a:gd name="T94" fmla="*/ 2147483647 w 665"/>
              <a:gd name="T95" fmla="*/ 2147483647 h 564"/>
              <a:gd name="T96" fmla="*/ 2147483647 w 665"/>
              <a:gd name="T97" fmla="*/ 2147483647 h 56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5"/>
              <a:gd name="T148" fmla="*/ 0 h 564"/>
              <a:gd name="T149" fmla="*/ 665 w 665"/>
              <a:gd name="T150" fmla="*/ 564 h 56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5" h="564">
                <a:moveTo>
                  <a:pt x="452" y="564"/>
                </a:moveTo>
                <a:lnTo>
                  <a:pt x="472" y="545"/>
                </a:lnTo>
                <a:lnTo>
                  <a:pt x="487" y="540"/>
                </a:lnTo>
                <a:lnTo>
                  <a:pt x="496" y="540"/>
                </a:lnTo>
                <a:lnTo>
                  <a:pt x="502" y="540"/>
                </a:lnTo>
                <a:lnTo>
                  <a:pt x="507" y="540"/>
                </a:lnTo>
                <a:lnTo>
                  <a:pt x="522" y="545"/>
                </a:lnTo>
                <a:lnTo>
                  <a:pt x="537" y="545"/>
                </a:lnTo>
                <a:lnTo>
                  <a:pt x="556" y="550"/>
                </a:lnTo>
                <a:lnTo>
                  <a:pt x="576" y="550"/>
                </a:lnTo>
                <a:lnTo>
                  <a:pt x="586" y="550"/>
                </a:lnTo>
                <a:lnTo>
                  <a:pt x="591" y="545"/>
                </a:lnTo>
                <a:lnTo>
                  <a:pt x="596" y="540"/>
                </a:lnTo>
                <a:lnTo>
                  <a:pt x="591" y="526"/>
                </a:lnTo>
                <a:lnTo>
                  <a:pt x="586" y="521"/>
                </a:lnTo>
                <a:lnTo>
                  <a:pt x="591" y="517"/>
                </a:lnTo>
                <a:lnTo>
                  <a:pt x="596" y="507"/>
                </a:lnTo>
                <a:lnTo>
                  <a:pt x="601" y="496"/>
                </a:lnTo>
                <a:lnTo>
                  <a:pt x="596" y="487"/>
                </a:lnTo>
                <a:lnTo>
                  <a:pt x="596" y="477"/>
                </a:lnTo>
                <a:lnTo>
                  <a:pt x="601" y="468"/>
                </a:lnTo>
                <a:lnTo>
                  <a:pt x="611" y="462"/>
                </a:lnTo>
                <a:lnTo>
                  <a:pt x="620" y="458"/>
                </a:lnTo>
                <a:lnTo>
                  <a:pt x="620" y="449"/>
                </a:lnTo>
                <a:lnTo>
                  <a:pt x="626" y="429"/>
                </a:lnTo>
                <a:lnTo>
                  <a:pt x="631" y="405"/>
                </a:lnTo>
                <a:lnTo>
                  <a:pt x="631" y="381"/>
                </a:lnTo>
                <a:lnTo>
                  <a:pt x="626" y="367"/>
                </a:lnTo>
                <a:lnTo>
                  <a:pt x="626" y="357"/>
                </a:lnTo>
                <a:lnTo>
                  <a:pt x="620" y="348"/>
                </a:lnTo>
                <a:lnTo>
                  <a:pt x="616" y="342"/>
                </a:lnTo>
                <a:lnTo>
                  <a:pt x="611" y="327"/>
                </a:lnTo>
                <a:lnTo>
                  <a:pt x="605" y="304"/>
                </a:lnTo>
                <a:lnTo>
                  <a:pt x="611" y="280"/>
                </a:lnTo>
                <a:lnTo>
                  <a:pt x="620" y="265"/>
                </a:lnTo>
                <a:lnTo>
                  <a:pt x="631" y="246"/>
                </a:lnTo>
                <a:lnTo>
                  <a:pt x="640" y="232"/>
                </a:lnTo>
                <a:lnTo>
                  <a:pt x="650" y="227"/>
                </a:lnTo>
                <a:lnTo>
                  <a:pt x="661" y="222"/>
                </a:lnTo>
                <a:lnTo>
                  <a:pt x="655" y="217"/>
                </a:lnTo>
                <a:lnTo>
                  <a:pt x="650" y="193"/>
                </a:lnTo>
                <a:lnTo>
                  <a:pt x="650" y="179"/>
                </a:lnTo>
                <a:lnTo>
                  <a:pt x="661" y="160"/>
                </a:lnTo>
                <a:lnTo>
                  <a:pt x="665" y="145"/>
                </a:lnTo>
                <a:lnTo>
                  <a:pt x="665" y="135"/>
                </a:lnTo>
                <a:lnTo>
                  <a:pt x="650" y="111"/>
                </a:lnTo>
                <a:lnTo>
                  <a:pt x="646" y="101"/>
                </a:lnTo>
                <a:lnTo>
                  <a:pt x="646" y="92"/>
                </a:lnTo>
                <a:lnTo>
                  <a:pt x="650" y="77"/>
                </a:lnTo>
                <a:lnTo>
                  <a:pt x="661" y="53"/>
                </a:lnTo>
                <a:lnTo>
                  <a:pt x="665" y="34"/>
                </a:lnTo>
                <a:lnTo>
                  <a:pt x="661" y="24"/>
                </a:lnTo>
                <a:lnTo>
                  <a:pt x="646" y="24"/>
                </a:lnTo>
                <a:lnTo>
                  <a:pt x="631" y="24"/>
                </a:lnTo>
                <a:lnTo>
                  <a:pt x="616" y="24"/>
                </a:lnTo>
                <a:lnTo>
                  <a:pt x="605" y="24"/>
                </a:lnTo>
                <a:lnTo>
                  <a:pt x="596" y="24"/>
                </a:lnTo>
                <a:lnTo>
                  <a:pt x="591" y="24"/>
                </a:lnTo>
                <a:lnTo>
                  <a:pt x="581" y="24"/>
                </a:lnTo>
                <a:lnTo>
                  <a:pt x="556" y="24"/>
                </a:lnTo>
                <a:lnTo>
                  <a:pt x="541" y="19"/>
                </a:lnTo>
                <a:lnTo>
                  <a:pt x="537" y="19"/>
                </a:lnTo>
                <a:lnTo>
                  <a:pt x="531" y="14"/>
                </a:lnTo>
                <a:lnTo>
                  <a:pt x="537" y="5"/>
                </a:lnTo>
                <a:lnTo>
                  <a:pt x="541" y="0"/>
                </a:lnTo>
                <a:lnTo>
                  <a:pt x="531" y="0"/>
                </a:lnTo>
                <a:lnTo>
                  <a:pt x="516" y="5"/>
                </a:lnTo>
                <a:lnTo>
                  <a:pt x="492" y="10"/>
                </a:lnTo>
                <a:lnTo>
                  <a:pt x="476" y="19"/>
                </a:lnTo>
                <a:lnTo>
                  <a:pt x="472" y="29"/>
                </a:lnTo>
                <a:lnTo>
                  <a:pt x="461" y="29"/>
                </a:lnTo>
                <a:lnTo>
                  <a:pt x="457" y="29"/>
                </a:lnTo>
                <a:lnTo>
                  <a:pt x="442" y="24"/>
                </a:lnTo>
                <a:lnTo>
                  <a:pt x="422" y="14"/>
                </a:lnTo>
                <a:lnTo>
                  <a:pt x="417" y="14"/>
                </a:lnTo>
                <a:lnTo>
                  <a:pt x="402" y="19"/>
                </a:lnTo>
                <a:lnTo>
                  <a:pt x="367" y="29"/>
                </a:lnTo>
                <a:lnTo>
                  <a:pt x="352" y="34"/>
                </a:lnTo>
                <a:lnTo>
                  <a:pt x="337" y="38"/>
                </a:lnTo>
                <a:lnTo>
                  <a:pt x="308" y="48"/>
                </a:lnTo>
                <a:lnTo>
                  <a:pt x="273" y="53"/>
                </a:lnTo>
                <a:lnTo>
                  <a:pt x="239" y="53"/>
                </a:lnTo>
                <a:lnTo>
                  <a:pt x="209" y="48"/>
                </a:lnTo>
                <a:lnTo>
                  <a:pt x="198" y="53"/>
                </a:lnTo>
                <a:lnTo>
                  <a:pt x="183" y="53"/>
                </a:lnTo>
                <a:lnTo>
                  <a:pt x="169" y="53"/>
                </a:lnTo>
                <a:lnTo>
                  <a:pt x="163" y="53"/>
                </a:lnTo>
                <a:lnTo>
                  <a:pt x="159" y="53"/>
                </a:lnTo>
                <a:lnTo>
                  <a:pt x="148" y="53"/>
                </a:lnTo>
                <a:lnTo>
                  <a:pt x="119" y="53"/>
                </a:lnTo>
                <a:lnTo>
                  <a:pt x="89" y="58"/>
                </a:lnTo>
                <a:lnTo>
                  <a:pt x="69" y="63"/>
                </a:lnTo>
                <a:lnTo>
                  <a:pt x="49" y="67"/>
                </a:lnTo>
                <a:lnTo>
                  <a:pt x="39" y="72"/>
                </a:lnTo>
                <a:lnTo>
                  <a:pt x="30" y="82"/>
                </a:lnTo>
                <a:lnTo>
                  <a:pt x="10" y="101"/>
                </a:lnTo>
                <a:lnTo>
                  <a:pt x="0" y="111"/>
                </a:lnTo>
                <a:lnTo>
                  <a:pt x="0" y="120"/>
                </a:lnTo>
                <a:lnTo>
                  <a:pt x="4" y="130"/>
                </a:lnTo>
                <a:lnTo>
                  <a:pt x="15" y="135"/>
                </a:lnTo>
                <a:lnTo>
                  <a:pt x="20" y="139"/>
                </a:lnTo>
                <a:lnTo>
                  <a:pt x="30" y="149"/>
                </a:lnTo>
                <a:lnTo>
                  <a:pt x="35" y="164"/>
                </a:lnTo>
                <a:lnTo>
                  <a:pt x="35" y="179"/>
                </a:lnTo>
                <a:lnTo>
                  <a:pt x="30" y="188"/>
                </a:lnTo>
                <a:lnTo>
                  <a:pt x="30" y="193"/>
                </a:lnTo>
                <a:lnTo>
                  <a:pt x="30" y="188"/>
                </a:lnTo>
                <a:lnTo>
                  <a:pt x="39" y="188"/>
                </a:lnTo>
                <a:lnTo>
                  <a:pt x="49" y="193"/>
                </a:lnTo>
                <a:lnTo>
                  <a:pt x="59" y="193"/>
                </a:lnTo>
                <a:lnTo>
                  <a:pt x="84" y="198"/>
                </a:lnTo>
                <a:lnTo>
                  <a:pt x="104" y="212"/>
                </a:lnTo>
                <a:lnTo>
                  <a:pt x="124" y="227"/>
                </a:lnTo>
                <a:lnTo>
                  <a:pt x="134" y="241"/>
                </a:lnTo>
                <a:lnTo>
                  <a:pt x="159" y="261"/>
                </a:lnTo>
                <a:lnTo>
                  <a:pt x="163" y="274"/>
                </a:lnTo>
                <a:lnTo>
                  <a:pt x="163" y="289"/>
                </a:lnTo>
                <a:lnTo>
                  <a:pt x="154" y="327"/>
                </a:lnTo>
                <a:lnTo>
                  <a:pt x="154" y="342"/>
                </a:lnTo>
                <a:lnTo>
                  <a:pt x="163" y="361"/>
                </a:lnTo>
                <a:lnTo>
                  <a:pt x="174" y="376"/>
                </a:lnTo>
                <a:lnTo>
                  <a:pt x="178" y="391"/>
                </a:lnTo>
                <a:lnTo>
                  <a:pt x="189" y="400"/>
                </a:lnTo>
                <a:lnTo>
                  <a:pt x="198" y="410"/>
                </a:lnTo>
                <a:lnTo>
                  <a:pt x="213" y="420"/>
                </a:lnTo>
                <a:lnTo>
                  <a:pt x="228" y="429"/>
                </a:lnTo>
                <a:lnTo>
                  <a:pt x="233" y="439"/>
                </a:lnTo>
                <a:lnTo>
                  <a:pt x="239" y="443"/>
                </a:lnTo>
                <a:lnTo>
                  <a:pt x="239" y="449"/>
                </a:lnTo>
                <a:lnTo>
                  <a:pt x="248" y="462"/>
                </a:lnTo>
                <a:lnTo>
                  <a:pt x="268" y="473"/>
                </a:lnTo>
                <a:lnTo>
                  <a:pt x="293" y="477"/>
                </a:lnTo>
                <a:lnTo>
                  <a:pt x="308" y="477"/>
                </a:lnTo>
                <a:lnTo>
                  <a:pt x="318" y="477"/>
                </a:lnTo>
                <a:lnTo>
                  <a:pt x="328" y="483"/>
                </a:lnTo>
                <a:lnTo>
                  <a:pt x="332" y="487"/>
                </a:lnTo>
                <a:lnTo>
                  <a:pt x="343" y="492"/>
                </a:lnTo>
                <a:lnTo>
                  <a:pt x="357" y="496"/>
                </a:lnTo>
                <a:lnTo>
                  <a:pt x="372" y="502"/>
                </a:lnTo>
                <a:lnTo>
                  <a:pt x="387" y="511"/>
                </a:lnTo>
                <a:lnTo>
                  <a:pt x="398" y="517"/>
                </a:lnTo>
                <a:lnTo>
                  <a:pt x="407" y="521"/>
                </a:lnTo>
                <a:lnTo>
                  <a:pt x="412" y="530"/>
                </a:lnTo>
                <a:lnTo>
                  <a:pt x="417" y="545"/>
                </a:lnTo>
                <a:lnTo>
                  <a:pt x="433" y="555"/>
                </a:lnTo>
                <a:lnTo>
                  <a:pt x="442" y="559"/>
                </a:lnTo>
                <a:lnTo>
                  <a:pt x="452" y="564"/>
                </a:lnTo>
                <a:close/>
              </a:path>
            </a:pathLst>
          </a:custGeom>
          <a:solidFill>
            <a:srgbClr val="005027"/>
          </a:solidFill>
          <a:ln w="9525">
            <a:solidFill>
              <a:schemeClr val="bg1"/>
            </a:solidFill>
            <a:round/>
            <a:headEnd/>
            <a:tailEnd/>
          </a:ln>
        </p:spPr>
        <p:txBody>
          <a:bodyPr/>
          <a:lstStyle/>
          <a:p>
            <a:endParaRPr lang="ro-RO"/>
          </a:p>
        </p:txBody>
      </p:sp>
      <p:sp>
        <p:nvSpPr>
          <p:cNvPr id="12335" name="Freeform 45"/>
          <p:cNvSpPr>
            <a:spLocks/>
          </p:cNvSpPr>
          <p:nvPr/>
        </p:nvSpPr>
        <p:spPr bwMode="auto">
          <a:xfrm>
            <a:off x="3892550" y="1971675"/>
            <a:ext cx="1052513" cy="688975"/>
          </a:xfrm>
          <a:custGeom>
            <a:avLst/>
            <a:gdLst>
              <a:gd name="T0" fmla="*/ 2147483647 w 818"/>
              <a:gd name="T1" fmla="*/ 2147483647 h 498"/>
              <a:gd name="T2" fmla="*/ 2147483647 w 818"/>
              <a:gd name="T3" fmla="*/ 2147483647 h 498"/>
              <a:gd name="T4" fmla="*/ 2147483647 w 818"/>
              <a:gd name="T5" fmla="*/ 2147483647 h 498"/>
              <a:gd name="T6" fmla="*/ 2147483647 w 818"/>
              <a:gd name="T7" fmla="*/ 2147483647 h 498"/>
              <a:gd name="T8" fmla="*/ 2147483647 w 818"/>
              <a:gd name="T9" fmla="*/ 2147483647 h 498"/>
              <a:gd name="T10" fmla="*/ 2147483647 w 818"/>
              <a:gd name="T11" fmla="*/ 2147483647 h 498"/>
              <a:gd name="T12" fmla="*/ 2147483647 w 818"/>
              <a:gd name="T13" fmla="*/ 2147483647 h 498"/>
              <a:gd name="T14" fmla="*/ 2147483647 w 818"/>
              <a:gd name="T15" fmla="*/ 2147483647 h 498"/>
              <a:gd name="T16" fmla="*/ 2147483647 w 818"/>
              <a:gd name="T17" fmla="*/ 2147483647 h 498"/>
              <a:gd name="T18" fmla="*/ 2147483647 w 818"/>
              <a:gd name="T19" fmla="*/ 2147483647 h 498"/>
              <a:gd name="T20" fmla="*/ 2147483647 w 818"/>
              <a:gd name="T21" fmla="*/ 2147483647 h 498"/>
              <a:gd name="T22" fmla="*/ 2147483647 w 818"/>
              <a:gd name="T23" fmla="*/ 2147483647 h 498"/>
              <a:gd name="T24" fmla="*/ 2147483647 w 818"/>
              <a:gd name="T25" fmla="*/ 2147483647 h 498"/>
              <a:gd name="T26" fmla="*/ 2147483647 w 818"/>
              <a:gd name="T27" fmla="*/ 2147483647 h 498"/>
              <a:gd name="T28" fmla="*/ 2147483647 w 818"/>
              <a:gd name="T29" fmla="*/ 2147483647 h 498"/>
              <a:gd name="T30" fmla="*/ 2147483647 w 818"/>
              <a:gd name="T31" fmla="*/ 2147483647 h 498"/>
              <a:gd name="T32" fmla="*/ 2147483647 w 818"/>
              <a:gd name="T33" fmla="*/ 2147483647 h 498"/>
              <a:gd name="T34" fmla="*/ 2147483647 w 818"/>
              <a:gd name="T35" fmla="*/ 2147483647 h 498"/>
              <a:gd name="T36" fmla="*/ 2147483647 w 818"/>
              <a:gd name="T37" fmla="*/ 2147483647 h 498"/>
              <a:gd name="T38" fmla="*/ 2147483647 w 818"/>
              <a:gd name="T39" fmla="*/ 2147483647 h 498"/>
              <a:gd name="T40" fmla="*/ 2147483647 w 818"/>
              <a:gd name="T41" fmla="*/ 2147483647 h 498"/>
              <a:gd name="T42" fmla="*/ 2147483647 w 818"/>
              <a:gd name="T43" fmla="*/ 2147483647 h 498"/>
              <a:gd name="T44" fmla="*/ 2147483647 w 818"/>
              <a:gd name="T45" fmla="*/ 2147483647 h 498"/>
              <a:gd name="T46" fmla="*/ 2147483647 w 818"/>
              <a:gd name="T47" fmla="*/ 2147483647 h 498"/>
              <a:gd name="T48" fmla="*/ 2147483647 w 818"/>
              <a:gd name="T49" fmla="*/ 2147483647 h 498"/>
              <a:gd name="T50" fmla="*/ 2147483647 w 818"/>
              <a:gd name="T51" fmla="*/ 2147483647 h 498"/>
              <a:gd name="T52" fmla="*/ 2147483647 w 818"/>
              <a:gd name="T53" fmla="*/ 2147483647 h 498"/>
              <a:gd name="T54" fmla="*/ 2147483647 w 818"/>
              <a:gd name="T55" fmla="*/ 2147483647 h 498"/>
              <a:gd name="T56" fmla="*/ 2147483647 w 818"/>
              <a:gd name="T57" fmla="*/ 2147483647 h 498"/>
              <a:gd name="T58" fmla="*/ 2147483647 w 818"/>
              <a:gd name="T59" fmla="*/ 2147483647 h 498"/>
              <a:gd name="T60" fmla="*/ 2147483647 w 818"/>
              <a:gd name="T61" fmla="*/ 2147483647 h 498"/>
              <a:gd name="T62" fmla="*/ 2147483647 w 818"/>
              <a:gd name="T63" fmla="*/ 2147483647 h 498"/>
              <a:gd name="T64" fmla="*/ 2147483647 w 818"/>
              <a:gd name="T65" fmla="*/ 2147483647 h 498"/>
              <a:gd name="T66" fmla="*/ 2147483647 w 818"/>
              <a:gd name="T67" fmla="*/ 2147483647 h 498"/>
              <a:gd name="T68" fmla="*/ 2147483647 w 818"/>
              <a:gd name="T69" fmla="*/ 2147483647 h 498"/>
              <a:gd name="T70" fmla="*/ 2147483647 w 818"/>
              <a:gd name="T71" fmla="*/ 2147483647 h 498"/>
              <a:gd name="T72" fmla="*/ 2147483647 w 818"/>
              <a:gd name="T73" fmla="*/ 2147483647 h 498"/>
              <a:gd name="T74" fmla="*/ 2147483647 w 818"/>
              <a:gd name="T75" fmla="*/ 2147483647 h 498"/>
              <a:gd name="T76" fmla="*/ 2147483647 w 818"/>
              <a:gd name="T77" fmla="*/ 2147483647 h 498"/>
              <a:gd name="T78" fmla="*/ 2147483647 w 818"/>
              <a:gd name="T79" fmla="*/ 2147483647 h 498"/>
              <a:gd name="T80" fmla="*/ 2147483647 w 818"/>
              <a:gd name="T81" fmla="*/ 2147483647 h 498"/>
              <a:gd name="T82" fmla="*/ 2147483647 w 818"/>
              <a:gd name="T83" fmla="*/ 2147483647 h 498"/>
              <a:gd name="T84" fmla="*/ 2147483647 w 818"/>
              <a:gd name="T85" fmla="*/ 2147483647 h 498"/>
              <a:gd name="T86" fmla="*/ 2147483647 w 818"/>
              <a:gd name="T87" fmla="*/ 2147483647 h 498"/>
              <a:gd name="T88" fmla="*/ 2147483647 w 818"/>
              <a:gd name="T89" fmla="*/ 2147483647 h 498"/>
              <a:gd name="T90" fmla="*/ 2147483647 w 818"/>
              <a:gd name="T91" fmla="*/ 2147483647 h 498"/>
              <a:gd name="T92" fmla="*/ 2147483647 w 818"/>
              <a:gd name="T93" fmla="*/ 2147483647 h 498"/>
              <a:gd name="T94" fmla="*/ 2147483647 w 818"/>
              <a:gd name="T95" fmla="*/ 2147483647 h 49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18"/>
              <a:gd name="T145" fmla="*/ 0 h 498"/>
              <a:gd name="T146" fmla="*/ 818 w 818"/>
              <a:gd name="T147" fmla="*/ 498 h 49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18" h="498">
                <a:moveTo>
                  <a:pt x="803" y="406"/>
                </a:moveTo>
                <a:lnTo>
                  <a:pt x="813" y="387"/>
                </a:lnTo>
                <a:lnTo>
                  <a:pt x="813" y="368"/>
                </a:lnTo>
                <a:lnTo>
                  <a:pt x="813" y="348"/>
                </a:lnTo>
                <a:lnTo>
                  <a:pt x="803" y="339"/>
                </a:lnTo>
                <a:lnTo>
                  <a:pt x="788" y="314"/>
                </a:lnTo>
                <a:lnTo>
                  <a:pt x="783" y="310"/>
                </a:lnTo>
                <a:lnTo>
                  <a:pt x="778" y="310"/>
                </a:lnTo>
                <a:lnTo>
                  <a:pt x="768" y="295"/>
                </a:lnTo>
                <a:lnTo>
                  <a:pt x="763" y="276"/>
                </a:lnTo>
                <a:lnTo>
                  <a:pt x="772" y="261"/>
                </a:lnTo>
                <a:lnTo>
                  <a:pt x="793" y="257"/>
                </a:lnTo>
                <a:lnTo>
                  <a:pt x="807" y="252"/>
                </a:lnTo>
                <a:lnTo>
                  <a:pt x="818" y="242"/>
                </a:lnTo>
                <a:lnTo>
                  <a:pt x="813" y="227"/>
                </a:lnTo>
                <a:lnTo>
                  <a:pt x="803" y="218"/>
                </a:lnTo>
                <a:lnTo>
                  <a:pt x="788" y="208"/>
                </a:lnTo>
                <a:lnTo>
                  <a:pt x="778" y="193"/>
                </a:lnTo>
                <a:lnTo>
                  <a:pt x="763" y="165"/>
                </a:lnTo>
                <a:lnTo>
                  <a:pt x="753" y="159"/>
                </a:lnTo>
                <a:lnTo>
                  <a:pt x="737" y="155"/>
                </a:lnTo>
                <a:lnTo>
                  <a:pt x="728" y="165"/>
                </a:lnTo>
                <a:lnTo>
                  <a:pt x="724" y="174"/>
                </a:lnTo>
                <a:lnTo>
                  <a:pt x="718" y="189"/>
                </a:lnTo>
                <a:lnTo>
                  <a:pt x="709" y="203"/>
                </a:lnTo>
                <a:lnTo>
                  <a:pt x="703" y="208"/>
                </a:lnTo>
                <a:lnTo>
                  <a:pt x="698" y="203"/>
                </a:lnTo>
                <a:lnTo>
                  <a:pt x="693" y="193"/>
                </a:lnTo>
                <a:lnTo>
                  <a:pt x="689" y="180"/>
                </a:lnTo>
                <a:lnTo>
                  <a:pt x="678" y="180"/>
                </a:lnTo>
                <a:lnTo>
                  <a:pt x="668" y="189"/>
                </a:lnTo>
                <a:lnTo>
                  <a:pt x="654" y="203"/>
                </a:lnTo>
                <a:lnTo>
                  <a:pt x="638" y="213"/>
                </a:lnTo>
                <a:lnTo>
                  <a:pt x="628" y="213"/>
                </a:lnTo>
                <a:lnTo>
                  <a:pt x="613" y="199"/>
                </a:lnTo>
                <a:lnTo>
                  <a:pt x="603" y="189"/>
                </a:lnTo>
                <a:lnTo>
                  <a:pt x="593" y="174"/>
                </a:lnTo>
                <a:lnTo>
                  <a:pt x="589" y="165"/>
                </a:lnTo>
                <a:lnTo>
                  <a:pt x="569" y="159"/>
                </a:lnTo>
                <a:lnTo>
                  <a:pt x="553" y="165"/>
                </a:lnTo>
                <a:lnTo>
                  <a:pt x="549" y="165"/>
                </a:lnTo>
                <a:lnTo>
                  <a:pt x="523" y="165"/>
                </a:lnTo>
                <a:lnTo>
                  <a:pt x="508" y="159"/>
                </a:lnTo>
                <a:lnTo>
                  <a:pt x="499" y="150"/>
                </a:lnTo>
                <a:lnTo>
                  <a:pt x="494" y="140"/>
                </a:lnTo>
                <a:lnTo>
                  <a:pt x="494" y="121"/>
                </a:lnTo>
                <a:lnTo>
                  <a:pt x="494" y="101"/>
                </a:lnTo>
                <a:lnTo>
                  <a:pt x="494" y="91"/>
                </a:lnTo>
                <a:lnTo>
                  <a:pt x="488" y="78"/>
                </a:lnTo>
                <a:lnTo>
                  <a:pt x="468" y="53"/>
                </a:lnTo>
                <a:lnTo>
                  <a:pt x="453" y="38"/>
                </a:lnTo>
                <a:lnTo>
                  <a:pt x="448" y="29"/>
                </a:lnTo>
                <a:lnTo>
                  <a:pt x="444" y="29"/>
                </a:lnTo>
                <a:lnTo>
                  <a:pt x="438" y="19"/>
                </a:lnTo>
                <a:lnTo>
                  <a:pt x="429" y="15"/>
                </a:lnTo>
                <a:lnTo>
                  <a:pt x="409" y="5"/>
                </a:lnTo>
                <a:lnTo>
                  <a:pt x="383" y="0"/>
                </a:lnTo>
                <a:lnTo>
                  <a:pt x="369" y="0"/>
                </a:lnTo>
                <a:lnTo>
                  <a:pt x="354" y="10"/>
                </a:lnTo>
                <a:lnTo>
                  <a:pt x="339" y="25"/>
                </a:lnTo>
                <a:lnTo>
                  <a:pt x="334" y="29"/>
                </a:lnTo>
                <a:lnTo>
                  <a:pt x="324" y="34"/>
                </a:lnTo>
                <a:lnTo>
                  <a:pt x="309" y="34"/>
                </a:lnTo>
                <a:lnTo>
                  <a:pt x="284" y="25"/>
                </a:lnTo>
                <a:lnTo>
                  <a:pt x="264" y="25"/>
                </a:lnTo>
                <a:lnTo>
                  <a:pt x="254" y="25"/>
                </a:lnTo>
                <a:lnTo>
                  <a:pt x="249" y="25"/>
                </a:lnTo>
                <a:lnTo>
                  <a:pt x="243" y="29"/>
                </a:lnTo>
                <a:lnTo>
                  <a:pt x="239" y="34"/>
                </a:lnTo>
                <a:lnTo>
                  <a:pt x="234" y="38"/>
                </a:lnTo>
                <a:lnTo>
                  <a:pt x="224" y="38"/>
                </a:lnTo>
                <a:lnTo>
                  <a:pt x="204" y="38"/>
                </a:lnTo>
                <a:lnTo>
                  <a:pt x="189" y="38"/>
                </a:lnTo>
                <a:lnTo>
                  <a:pt x="169" y="38"/>
                </a:lnTo>
                <a:lnTo>
                  <a:pt x="154" y="38"/>
                </a:lnTo>
                <a:lnTo>
                  <a:pt x="144" y="44"/>
                </a:lnTo>
                <a:lnTo>
                  <a:pt x="134" y="44"/>
                </a:lnTo>
                <a:lnTo>
                  <a:pt x="129" y="48"/>
                </a:lnTo>
                <a:lnTo>
                  <a:pt x="129" y="44"/>
                </a:lnTo>
                <a:lnTo>
                  <a:pt x="119" y="34"/>
                </a:lnTo>
                <a:lnTo>
                  <a:pt x="105" y="29"/>
                </a:lnTo>
                <a:lnTo>
                  <a:pt x="89" y="19"/>
                </a:lnTo>
                <a:lnTo>
                  <a:pt x="74" y="15"/>
                </a:lnTo>
                <a:lnTo>
                  <a:pt x="64" y="15"/>
                </a:lnTo>
                <a:lnTo>
                  <a:pt x="59" y="15"/>
                </a:lnTo>
                <a:lnTo>
                  <a:pt x="59" y="19"/>
                </a:lnTo>
                <a:lnTo>
                  <a:pt x="70" y="29"/>
                </a:lnTo>
                <a:lnTo>
                  <a:pt x="79" y="44"/>
                </a:lnTo>
                <a:lnTo>
                  <a:pt x="84" y="58"/>
                </a:lnTo>
                <a:lnTo>
                  <a:pt x="74" y="68"/>
                </a:lnTo>
                <a:lnTo>
                  <a:pt x="64" y="78"/>
                </a:lnTo>
                <a:lnTo>
                  <a:pt x="55" y="82"/>
                </a:lnTo>
                <a:lnTo>
                  <a:pt x="39" y="112"/>
                </a:lnTo>
                <a:lnTo>
                  <a:pt x="14" y="140"/>
                </a:lnTo>
                <a:lnTo>
                  <a:pt x="9" y="150"/>
                </a:lnTo>
                <a:lnTo>
                  <a:pt x="9" y="155"/>
                </a:lnTo>
                <a:lnTo>
                  <a:pt x="4" y="165"/>
                </a:lnTo>
                <a:lnTo>
                  <a:pt x="0" y="169"/>
                </a:lnTo>
                <a:lnTo>
                  <a:pt x="9" y="169"/>
                </a:lnTo>
                <a:lnTo>
                  <a:pt x="29" y="180"/>
                </a:lnTo>
                <a:lnTo>
                  <a:pt x="39" y="189"/>
                </a:lnTo>
                <a:lnTo>
                  <a:pt x="49" y="203"/>
                </a:lnTo>
                <a:lnTo>
                  <a:pt x="59" y="223"/>
                </a:lnTo>
                <a:lnTo>
                  <a:pt x="70" y="252"/>
                </a:lnTo>
                <a:lnTo>
                  <a:pt x="74" y="257"/>
                </a:lnTo>
                <a:lnTo>
                  <a:pt x="84" y="261"/>
                </a:lnTo>
                <a:lnTo>
                  <a:pt x="84" y="267"/>
                </a:lnTo>
                <a:lnTo>
                  <a:pt x="84" y="271"/>
                </a:lnTo>
                <a:lnTo>
                  <a:pt x="79" y="286"/>
                </a:lnTo>
                <a:lnTo>
                  <a:pt x="70" y="305"/>
                </a:lnTo>
                <a:lnTo>
                  <a:pt x="64" y="314"/>
                </a:lnTo>
                <a:lnTo>
                  <a:pt x="59" y="334"/>
                </a:lnTo>
                <a:lnTo>
                  <a:pt x="64" y="363"/>
                </a:lnTo>
                <a:lnTo>
                  <a:pt x="70" y="382"/>
                </a:lnTo>
                <a:lnTo>
                  <a:pt x="79" y="402"/>
                </a:lnTo>
                <a:lnTo>
                  <a:pt x="79" y="411"/>
                </a:lnTo>
                <a:lnTo>
                  <a:pt x="74" y="421"/>
                </a:lnTo>
                <a:lnTo>
                  <a:pt x="74" y="440"/>
                </a:lnTo>
                <a:lnTo>
                  <a:pt x="79" y="455"/>
                </a:lnTo>
                <a:lnTo>
                  <a:pt x="89" y="470"/>
                </a:lnTo>
                <a:lnTo>
                  <a:pt x="99" y="483"/>
                </a:lnTo>
                <a:lnTo>
                  <a:pt x="109" y="498"/>
                </a:lnTo>
                <a:lnTo>
                  <a:pt x="119" y="498"/>
                </a:lnTo>
                <a:lnTo>
                  <a:pt x="129" y="489"/>
                </a:lnTo>
                <a:lnTo>
                  <a:pt x="144" y="479"/>
                </a:lnTo>
                <a:lnTo>
                  <a:pt x="159" y="470"/>
                </a:lnTo>
                <a:lnTo>
                  <a:pt x="164" y="460"/>
                </a:lnTo>
                <a:lnTo>
                  <a:pt x="173" y="460"/>
                </a:lnTo>
                <a:lnTo>
                  <a:pt x="169" y="460"/>
                </a:lnTo>
                <a:lnTo>
                  <a:pt x="169" y="464"/>
                </a:lnTo>
                <a:lnTo>
                  <a:pt x="173" y="455"/>
                </a:lnTo>
                <a:lnTo>
                  <a:pt x="189" y="445"/>
                </a:lnTo>
                <a:lnTo>
                  <a:pt x="199" y="440"/>
                </a:lnTo>
                <a:lnTo>
                  <a:pt x="204" y="440"/>
                </a:lnTo>
                <a:lnTo>
                  <a:pt x="208" y="445"/>
                </a:lnTo>
                <a:lnTo>
                  <a:pt x="214" y="455"/>
                </a:lnTo>
                <a:lnTo>
                  <a:pt x="219" y="470"/>
                </a:lnTo>
                <a:lnTo>
                  <a:pt x="224" y="479"/>
                </a:lnTo>
                <a:lnTo>
                  <a:pt x="243" y="483"/>
                </a:lnTo>
                <a:lnTo>
                  <a:pt x="264" y="479"/>
                </a:lnTo>
                <a:lnTo>
                  <a:pt x="278" y="474"/>
                </a:lnTo>
                <a:lnTo>
                  <a:pt x="284" y="470"/>
                </a:lnTo>
                <a:lnTo>
                  <a:pt x="289" y="460"/>
                </a:lnTo>
                <a:lnTo>
                  <a:pt x="299" y="455"/>
                </a:lnTo>
                <a:lnTo>
                  <a:pt x="309" y="460"/>
                </a:lnTo>
                <a:lnTo>
                  <a:pt x="324" y="470"/>
                </a:lnTo>
                <a:lnTo>
                  <a:pt x="339" y="479"/>
                </a:lnTo>
                <a:lnTo>
                  <a:pt x="354" y="483"/>
                </a:lnTo>
                <a:lnTo>
                  <a:pt x="379" y="483"/>
                </a:lnTo>
                <a:lnTo>
                  <a:pt x="394" y="474"/>
                </a:lnTo>
                <a:lnTo>
                  <a:pt x="409" y="470"/>
                </a:lnTo>
                <a:lnTo>
                  <a:pt x="418" y="464"/>
                </a:lnTo>
                <a:lnTo>
                  <a:pt x="424" y="460"/>
                </a:lnTo>
                <a:lnTo>
                  <a:pt x="434" y="455"/>
                </a:lnTo>
                <a:lnTo>
                  <a:pt x="444" y="460"/>
                </a:lnTo>
                <a:lnTo>
                  <a:pt x="453" y="464"/>
                </a:lnTo>
                <a:lnTo>
                  <a:pt x="468" y="470"/>
                </a:lnTo>
                <a:lnTo>
                  <a:pt x="479" y="474"/>
                </a:lnTo>
                <a:lnTo>
                  <a:pt x="488" y="470"/>
                </a:lnTo>
                <a:lnTo>
                  <a:pt x="488" y="460"/>
                </a:lnTo>
                <a:lnTo>
                  <a:pt x="488" y="455"/>
                </a:lnTo>
                <a:lnTo>
                  <a:pt x="494" y="450"/>
                </a:lnTo>
                <a:lnTo>
                  <a:pt x="503" y="445"/>
                </a:lnTo>
                <a:lnTo>
                  <a:pt x="529" y="416"/>
                </a:lnTo>
                <a:lnTo>
                  <a:pt x="543" y="406"/>
                </a:lnTo>
                <a:lnTo>
                  <a:pt x="549" y="406"/>
                </a:lnTo>
                <a:lnTo>
                  <a:pt x="553" y="411"/>
                </a:lnTo>
                <a:lnTo>
                  <a:pt x="564" y="416"/>
                </a:lnTo>
                <a:lnTo>
                  <a:pt x="578" y="421"/>
                </a:lnTo>
                <a:lnTo>
                  <a:pt x="589" y="426"/>
                </a:lnTo>
                <a:lnTo>
                  <a:pt x="599" y="426"/>
                </a:lnTo>
                <a:lnTo>
                  <a:pt x="599" y="416"/>
                </a:lnTo>
                <a:lnTo>
                  <a:pt x="599" y="406"/>
                </a:lnTo>
                <a:lnTo>
                  <a:pt x="599" y="392"/>
                </a:lnTo>
                <a:lnTo>
                  <a:pt x="603" y="377"/>
                </a:lnTo>
                <a:lnTo>
                  <a:pt x="613" y="363"/>
                </a:lnTo>
                <a:lnTo>
                  <a:pt x="623" y="353"/>
                </a:lnTo>
                <a:lnTo>
                  <a:pt x="628" y="348"/>
                </a:lnTo>
                <a:lnTo>
                  <a:pt x="633" y="353"/>
                </a:lnTo>
                <a:lnTo>
                  <a:pt x="638" y="368"/>
                </a:lnTo>
                <a:lnTo>
                  <a:pt x="643" y="382"/>
                </a:lnTo>
                <a:lnTo>
                  <a:pt x="654" y="392"/>
                </a:lnTo>
                <a:lnTo>
                  <a:pt x="663" y="396"/>
                </a:lnTo>
                <a:lnTo>
                  <a:pt x="678" y="396"/>
                </a:lnTo>
                <a:lnTo>
                  <a:pt x="689" y="392"/>
                </a:lnTo>
                <a:lnTo>
                  <a:pt x="698" y="387"/>
                </a:lnTo>
                <a:lnTo>
                  <a:pt x="703" y="387"/>
                </a:lnTo>
                <a:lnTo>
                  <a:pt x="718" y="387"/>
                </a:lnTo>
                <a:lnTo>
                  <a:pt x="733" y="396"/>
                </a:lnTo>
                <a:lnTo>
                  <a:pt x="748" y="406"/>
                </a:lnTo>
                <a:lnTo>
                  <a:pt x="763" y="416"/>
                </a:lnTo>
                <a:lnTo>
                  <a:pt x="778" y="411"/>
                </a:lnTo>
                <a:lnTo>
                  <a:pt x="793" y="411"/>
                </a:lnTo>
                <a:lnTo>
                  <a:pt x="803" y="406"/>
                </a:lnTo>
                <a:close/>
              </a:path>
            </a:pathLst>
          </a:custGeom>
          <a:solidFill>
            <a:srgbClr val="005027"/>
          </a:solidFill>
          <a:ln w="9525">
            <a:solidFill>
              <a:schemeClr val="bg1"/>
            </a:solidFill>
            <a:round/>
            <a:headEnd/>
            <a:tailEnd/>
          </a:ln>
        </p:spPr>
        <p:txBody>
          <a:bodyPr/>
          <a:lstStyle/>
          <a:p>
            <a:endParaRPr lang="ro-RO"/>
          </a:p>
        </p:txBody>
      </p:sp>
      <p:sp>
        <p:nvSpPr>
          <p:cNvPr id="12336" name="Freeform 46"/>
          <p:cNvSpPr>
            <a:spLocks/>
          </p:cNvSpPr>
          <p:nvPr/>
        </p:nvSpPr>
        <p:spPr bwMode="auto">
          <a:xfrm>
            <a:off x="1930400" y="1916113"/>
            <a:ext cx="1020763" cy="976312"/>
          </a:xfrm>
          <a:custGeom>
            <a:avLst/>
            <a:gdLst>
              <a:gd name="T0" fmla="*/ 2147483647 w 793"/>
              <a:gd name="T1" fmla="*/ 2147483647 h 707"/>
              <a:gd name="T2" fmla="*/ 2147483647 w 793"/>
              <a:gd name="T3" fmla="*/ 2147483647 h 707"/>
              <a:gd name="T4" fmla="*/ 2147483647 w 793"/>
              <a:gd name="T5" fmla="*/ 2147483647 h 707"/>
              <a:gd name="T6" fmla="*/ 2147483647 w 793"/>
              <a:gd name="T7" fmla="*/ 2147483647 h 707"/>
              <a:gd name="T8" fmla="*/ 2147483647 w 793"/>
              <a:gd name="T9" fmla="*/ 2147483647 h 707"/>
              <a:gd name="T10" fmla="*/ 2147483647 w 793"/>
              <a:gd name="T11" fmla="*/ 2147483647 h 707"/>
              <a:gd name="T12" fmla="*/ 2147483647 w 793"/>
              <a:gd name="T13" fmla="*/ 2147483647 h 707"/>
              <a:gd name="T14" fmla="*/ 2147483647 w 793"/>
              <a:gd name="T15" fmla="*/ 2147483647 h 707"/>
              <a:gd name="T16" fmla="*/ 2147483647 w 793"/>
              <a:gd name="T17" fmla="*/ 2147483647 h 707"/>
              <a:gd name="T18" fmla="*/ 2147483647 w 793"/>
              <a:gd name="T19" fmla="*/ 2147483647 h 707"/>
              <a:gd name="T20" fmla="*/ 2147483647 w 793"/>
              <a:gd name="T21" fmla="*/ 2147483647 h 707"/>
              <a:gd name="T22" fmla="*/ 2147483647 w 793"/>
              <a:gd name="T23" fmla="*/ 2147483647 h 707"/>
              <a:gd name="T24" fmla="*/ 2147483647 w 793"/>
              <a:gd name="T25" fmla="*/ 2147483647 h 707"/>
              <a:gd name="T26" fmla="*/ 2147483647 w 793"/>
              <a:gd name="T27" fmla="*/ 2147483647 h 707"/>
              <a:gd name="T28" fmla="*/ 2147483647 w 793"/>
              <a:gd name="T29" fmla="*/ 2147483647 h 707"/>
              <a:gd name="T30" fmla="*/ 2147483647 w 793"/>
              <a:gd name="T31" fmla="*/ 2147483647 h 707"/>
              <a:gd name="T32" fmla="*/ 2147483647 w 793"/>
              <a:gd name="T33" fmla="*/ 2147483647 h 707"/>
              <a:gd name="T34" fmla="*/ 2147483647 w 793"/>
              <a:gd name="T35" fmla="*/ 2147483647 h 707"/>
              <a:gd name="T36" fmla="*/ 2147483647 w 793"/>
              <a:gd name="T37" fmla="*/ 2147483647 h 707"/>
              <a:gd name="T38" fmla="*/ 2147483647 w 793"/>
              <a:gd name="T39" fmla="*/ 2147483647 h 707"/>
              <a:gd name="T40" fmla="*/ 2147483647 w 793"/>
              <a:gd name="T41" fmla="*/ 2147483647 h 707"/>
              <a:gd name="T42" fmla="*/ 2147483647 w 793"/>
              <a:gd name="T43" fmla="*/ 2147483647 h 707"/>
              <a:gd name="T44" fmla="*/ 2147483647 w 793"/>
              <a:gd name="T45" fmla="*/ 2147483647 h 707"/>
              <a:gd name="T46" fmla="*/ 2147483647 w 793"/>
              <a:gd name="T47" fmla="*/ 2147483647 h 707"/>
              <a:gd name="T48" fmla="*/ 2147483647 w 793"/>
              <a:gd name="T49" fmla="*/ 2147483647 h 707"/>
              <a:gd name="T50" fmla="*/ 2147483647 w 793"/>
              <a:gd name="T51" fmla="*/ 2147483647 h 707"/>
              <a:gd name="T52" fmla="*/ 2147483647 w 793"/>
              <a:gd name="T53" fmla="*/ 2147483647 h 707"/>
              <a:gd name="T54" fmla="*/ 2147483647 w 793"/>
              <a:gd name="T55" fmla="*/ 2147483647 h 707"/>
              <a:gd name="T56" fmla="*/ 2147483647 w 793"/>
              <a:gd name="T57" fmla="*/ 2147483647 h 707"/>
              <a:gd name="T58" fmla="*/ 2147483647 w 793"/>
              <a:gd name="T59" fmla="*/ 2147483647 h 707"/>
              <a:gd name="T60" fmla="*/ 2147483647 w 793"/>
              <a:gd name="T61" fmla="*/ 2147483647 h 707"/>
              <a:gd name="T62" fmla="*/ 2147483647 w 793"/>
              <a:gd name="T63" fmla="*/ 2147483647 h 707"/>
              <a:gd name="T64" fmla="*/ 2147483647 w 793"/>
              <a:gd name="T65" fmla="*/ 2147483647 h 707"/>
              <a:gd name="T66" fmla="*/ 2147483647 w 793"/>
              <a:gd name="T67" fmla="*/ 2147483647 h 707"/>
              <a:gd name="T68" fmla="*/ 2147483647 w 793"/>
              <a:gd name="T69" fmla="*/ 2147483647 h 707"/>
              <a:gd name="T70" fmla="*/ 2147483647 w 793"/>
              <a:gd name="T71" fmla="*/ 2147483647 h 707"/>
              <a:gd name="T72" fmla="*/ 2147483647 w 793"/>
              <a:gd name="T73" fmla="*/ 2147483647 h 707"/>
              <a:gd name="T74" fmla="*/ 2147483647 w 793"/>
              <a:gd name="T75" fmla="*/ 2147483647 h 707"/>
              <a:gd name="T76" fmla="*/ 2147483647 w 793"/>
              <a:gd name="T77" fmla="*/ 2147483647 h 707"/>
              <a:gd name="T78" fmla="*/ 2147483647 w 793"/>
              <a:gd name="T79" fmla="*/ 2147483647 h 707"/>
              <a:gd name="T80" fmla="*/ 2147483647 w 793"/>
              <a:gd name="T81" fmla="*/ 2147483647 h 707"/>
              <a:gd name="T82" fmla="*/ 2147483647 w 793"/>
              <a:gd name="T83" fmla="*/ 2147483647 h 707"/>
              <a:gd name="T84" fmla="*/ 2147483647 w 793"/>
              <a:gd name="T85" fmla="*/ 2147483647 h 707"/>
              <a:gd name="T86" fmla="*/ 2147483647 w 793"/>
              <a:gd name="T87" fmla="*/ 2147483647 h 707"/>
              <a:gd name="T88" fmla="*/ 2147483647 w 793"/>
              <a:gd name="T89" fmla="*/ 2147483647 h 707"/>
              <a:gd name="T90" fmla="*/ 2147483647 w 793"/>
              <a:gd name="T91" fmla="*/ 2147483647 h 707"/>
              <a:gd name="T92" fmla="*/ 2147483647 w 793"/>
              <a:gd name="T93" fmla="*/ 2147483647 h 707"/>
              <a:gd name="T94" fmla="*/ 2147483647 w 793"/>
              <a:gd name="T95" fmla="*/ 2147483647 h 707"/>
              <a:gd name="T96" fmla="*/ 2147483647 w 793"/>
              <a:gd name="T97" fmla="*/ 2147483647 h 707"/>
              <a:gd name="T98" fmla="*/ 2147483647 w 793"/>
              <a:gd name="T99" fmla="*/ 2147483647 h 707"/>
              <a:gd name="T100" fmla="*/ 2147483647 w 793"/>
              <a:gd name="T101" fmla="*/ 2147483647 h 707"/>
              <a:gd name="T102" fmla="*/ 2147483647 w 793"/>
              <a:gd name="T103" fmla="*/ 2147483647 h 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3"/>
              <a:gd name="T157" fmla="*/ 0 h 707"/>
              <a:gd name="T158" fmla="*/ 793 w 793"/>
              <a:gd name="T159" fmla="*/ 707 h 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3" h="707">
                <a:moveTo>
                  <a:pt x="600" y="14"/>
                </a:moveTo>
                <a:lnTo>
                  <a:pt x="600" y="24"/>
                </a:lnTo>
                <a:lnTo>
                  <a:pt x="600" y="39"/>
                </a:lnTo>
                <a:lnTo>
                  <a:pt x="600" y="58"/>
                </a:lnTo>
                <a:lnTo>
                  <a:pt x="585" y="68"/>
                </a:lnTo>
                <a:lnTo>
                  <a:pt x="574" y="77"/>
                </a:lnTo>
                <a:lnTo>
                  <a:pt x="565" y="81"/>
                </a:lnTo>
                <a:lnTo>
                  <a:pt x="559" y="81"/>
                </a:lnTo>
                <a:lnTo>
                  <a:pt x="545" y="77"/>
                </a:lnTo>
                <a:lnTo>
                  <a:pt x="530" y="72"/>
                </a:lnTo>
                <a:lnTo>
                  <a:pt x="520" y="72"/>
                </a:lnTo>
                <a:lnTo>
                  <a:pt x="515" y="81"/>
                </a:lnTo>
                <a:lnTo>
                  <a:pt x="515" y="91"/>
                </a:lnTo>
                <a:lnTo>
                  <a:pt x="515" y="115"/>
                </a:lnTo>
                <a:lnTo>
                  <a:pt x="510" y="125"/>
                </a:lnTo>
                <a:lnTo>
                  <a:pt x="500" y="134"/>
                </a:lnTo>
                <a:lnTo>
                  <a:pt x="485" y="140"/>
                </a:lnTo>
                <a:lnTo>
                  <a:pt x="476" y="134"/>
                </a:lnTo>
                <a:lnTo>
                  <a:pt x="470" y="134"/>
                </a:lnTo>
                <a:lnTo>
                  <a:pt x="461" y="144"/>
                </a:lnTo>
                <a:lnTo>
                  <a:pt x="450" y="149"/>
                </a:lnTo>
                <a:lnTo>
                  <a:pt x="441" y="149"/>
                </a:lnTo>
                <a:lnTo>
                  <a:pt x="435" y="154"/>
                </a:lnTo>
                <a:lnTo>
                  <a:pt x="431" y="159"/>
                </a:lnTo>
                <a:lnTo>
                  <a:pt x="431" y="168"/>
                </a:lnTo>
                <a:lnTo>
                  <a:pt x="431" y="188"/>
                </a:lnTo>
                <a:lnTo>
                  <a:pt x="431" y="197"/>
                </a:lnTo>
                <a:lnTo>
                  <a:pt x="426" y="201"/>
                </a:lnTo>
                <a:lnTo>
                  <a:pt x="421" y="197"/>
                </a:lnTo>
                <a:lnTo>
                  <a:pt x="411" y="197"/>
                </a:lnTo>
                <a:lnTo>
                  <a:pt x="406" y="201"/>
                </a:lnTo>
                <a:lnTo>
                  <a:pt x="411" y="211"/>
                </a:lnTo>
                <a:lnTo>
                  <a:pt x="416" y="222"/>
                </a:lnTo>
                <a:lnTo>
                  <a:pt x="421" y="235"/>
                </a:lnTo>
                <a:lnTo>
                  <a:pt x="421" y="245"/>
                </a:lnTo>
                <a:lnTo>
                  <a:pt x="411" y="255"/>
                </a:lnTo>
                <a:lnTo>
                  <a:pt x="396" y="264"/>
                </a:lnTo>
                <a:lnTo>
                  <a:pt x="381" y="274"/>
                </a:lnTo>
                <a:lnTo>
                  <a:pt x="376" y="283"/>
                </a:lnTo>
                <a:lnTo>
                  <a:pt x="376" y="298"/>
                </a:lnTo>
                <a:lnTo>
                  <a:pt x="372" y="308"/>
                </a:lnTo>
                <a:lnTo>
                  <a:pt x="357" y="317"/>
                </a:lnTo>
                <a:lnTo>
                  <a:pt x="341" y="323"/>
                </a:lnTo>
                <a:lnTo>
                  <a:pt x="326" y="317"/>
                </a:lnTo>
                <a:lnTo>
                  <a:pt x="317" y="308"/>
                </a:lnTo>
                <a:lnTo>
                  <a:pt x="312" y="293"/>
                </a:lnTo>
                <a:lnTo>
                  <a:pt x="307" y="289"/>
                </a:lnTo>
                <a:lnTo>
                  <a:pt x="302" y="293"/>
                </a:lnTo>
                <a:lnTo>
                  <a:pt x="296" y="303"/>
                </a:lnTo>
                <a:lnTo>
                  <a:pt x="287" y="327"/>
                </a:lnTo>
                <a:lnTo>
                  <a:pt x="283" y="342"/>
                </a:lnTo>
                <a:lnTo>
                  <a:pt x="283" y="351"/>
                </a:lnTo>
                <a:lnTo>
                  <a:pt x="277" y="351"/>
                </a:lnTo>
                <a:lnTo>
                  <a:pt x="267" y="355"/>
                </a:lnTo>
                <a:lnTo>
                  <a:pt x="257" y="361"/>
                </a:lnTo>
                <a:lnTo>
                  <a:pt x="242" y="361"/>
                </a:lnTo>
                <a:lnTo>
                  <a:pt x="237" y="355"/>
                </a:lnTo>
                <a:lnTo>
                  <a:pt x="237" y="346"/>
                </a:lnTo>
                <a:lnTo>
                  <a:pt x="233" y="332"/>
                </a:lnTo>
                <a:lnTo>
                  <a:pt x="222" y="332"/>
                </a:lnTo>
                <a:lnTo>
                  <a:pt x="213" y="327"/>
                </a:lnTo>
                <a:lnTo>
                  <a:pt x="188" y="323"/>
                </a:lnTo>
                <a:lnTo>
                  <a:pt x="163" y="312"/>
                </a:lnTo>
                <a:lnTo>
                  <a:pt x="143" y="303"/>
                </a:lnTo>
                <a:lnTo>
                  <a:pt x="138" y="289"/>
                </a:lnTo>
                <a:lnTo>
                  <a:pt x="129" y="274"/>
                </a:lnTo>
                <a:lnTo>
                  <a:pt x="118" y="269"/>
                </a:lnTo>
                <a:lnTo>
                  <a:pt x="98" y="269"/>
                </a:lnTo>
                <a:lnTo>
                  <a:pt x="79" y="264"/>
                </a:lnTo>
                <a:lnTo>
                  <a:pt x="59" y="255"/>
                </a:lnTo>
                <a:lnTo>
                  <a:pt x="39" y="245"/>
                </a:lnTo>
                <a:lnTo>
                  <a:pt x="35" y="241"/>
                </a:lnTo>
                <a:lnTo>
                  <a:pt x="29" y="250"/>
                </a:lnTo>
                <a:lnTo>
                  <a:pt x="24" y="255"/>
                </a:lnTo>
                <a:lnTo>
                  <a:pt x="14" y="279"/>
                </a:lnTo>
                <a:lnTo>
                  <a:pt x="20" y="293"/>
                </a:lnTo>
                <a:lnTo>
                  <a:pt x="29" y="303"/>
                </a:lnTo>
                <a:lnTo>
                  <a:pt x="39" y="308"/>
                </a:lnTo>
                <a:lnTo>
                  <a:pt x="59" y="317"/>
                </a:lnTo>
                <a:lnTo>
                  <a:pt x="64" y="327"/>
                </a:lnTo>
                <a:lnTo>
                  <a:pt x="64" y="336"/>
                </a:lnTo>
                <a:lnTo>
                  <a:pt x="64" y="351"/>
                </a:lnTo>
                <a:lnTo>
                  <a:pt x="59" y="370"/>
                </a:lnTo>
                <a:lnTo>
                  <a:pt x="44" y="385"/>
                </a:lnTo>
                <a:lnTo>
                  <a:pt x="35" y="385"/>
                </a:lnTo>
                <a:lnTo>
                  <a:pt x="24" y="385"/>
                </a:lnTo>
                <a:lnTo>
                  <a:pt x="14" y="380"/>
                </a:lnTo>
                <a:lnTo>
                  <a:pt x="9" y="385"/>
                </a:lnTo>
                <a:lnTo>
                  <a:pt x="0" y="395"/>
                </a:lnTo>
                <a:lnTo>
                  <a:pt x="5" y="409"/>
                </a:lnTo>
                <a:lnTo>
                  <a:pt x="20" y="418"/>
                </a:lnTo>
                <a:lnTo>
                  <a:pt x="29" y="428"/>
                </a:lnTo>
                <a:lnTo>
                  <a:pt x="39" y="443"/>
                </a:lnTo>
                <a:lnTo>
                  <a:pt x="55" y="477"/>
                </a:lnTo>
                <a:lnTo>
                  <a:pt x="68" y="515"/>
                </a:lnTo>
                <a:lnTo>
                  <a:pt x="79" y="548"/>
                </a:lnTo>
                <a:lnTo>
                  <a:pt x="83" y="557"/>
                </a:lnTo>
                <a:lnTo>
                  <a:pt x="79" y="568"/>
                </a:lnTo>
                <a:lnTo>
                  <a:pt x="83" y="572"/>
                </a:lnTo>
                <a:lnTo>
                  <a:pt x="94" y="587"/>
                </a:lnTo>
                <a:lnTo>
                  <a:pt x="114" y="591"/>
                </a:lnTo>
                <a:lnTo>
                  <a:pt x="133" y="591"/>
                </a:lnTo>
                <a:lnTo>
                  <a:pt x="153" y="582"/>
                </a:lnTo>
                <a:lnTo>
                  <a:pt x="163" y="582"/>
                </a:lnTo>
                <a:lnTo>
                  <a:pt x="172" y="597"/>
                </a:lnTo>
                <a:lnTo>
                  <a:pt x="178" y="616"/>
                </a:lnTo>
                <a:lnTo>
                  <a:pt x="188" y="630"/>
                </a:lnTo>
                <a:lnTo>
                  <a:pt x="198" y="639"/>
                </a:lnTo>
                <a:lnTo>
                  <a:pt x="213" y="639"/>
                </a:lnTo>
                <a:lnTo>
                  <a:pt x="222" y="635"/>
                </a:lnTo>
                <a:lnTo>
                  <a:pt x="237" y="625"/>
                </a:lnTo>
                <a:lnTo>
                  <a:pt x="252" y="616"/>
                </a:lnTo>
                <a:lnTo>
                  <a:pt x="263" y="616"/>
                </a:lnTo>
                <a:lnTo>
                  <a:pt x="277" y="616"/>
                </a:lnTo>
                <a:lnTo>
                  <a:pt x="292" y="620"/>
                </a:lnTo>
                <a:lnTo>
                  <a:pt x="302" y="616"/>
                </a:lnTo>
                <a:lnTo>
                  <a:pt x="312" y="606"/>
                </a:lnTo>
                <a:lnTo>
                  <a:pt x="326" y="601"/>
                </a:lnTo>
                <a:lnTo>
                  <a:pt x="341" y="601"/>
                </a:lnTo>
                <a:lnTo>
                  <a:pt x="357" y="601"/>
                </a:lnTo>
                <a:lnTo>
                  <a:pt x="376" y="601"/>
                </a:lnTo>
                <a:lnTo>
                  <a:pt x="386" y="606"/>
                </a:lnTo>
                <a:lnTo>
                  <a:pt x="396" y="616"/>
                </a:lnTo>
                <a:lnTo>
                  <a:pt x="406" y="620"/>
                </a:lnTo>
                <a:lnTo>
                  <a:pt x="421" y="625"/>
                </a:lnTo>
                <a:lnTo>
                  <a:pt x="441" y="625"/>
                </a:lnTo>
                <a:lnTo>
                  <a:pt x="465" y="630"/>
                </a:lnTo>
                <a:lnTo>
                  <a:pt x="481" y="639"/>
                </a:lnTo>
                <a:lnTo>
                  <a:pt x="485" y="644"/>
                </a:lnTo>
                <a:lnTo>
                  <a:pt x="481" y="658"/>
                </a:lnTo>
                <a:lnTo>
                  <a:pt x="481" y="673"/>
                </a:lnTo>
                <a:lnTo>
                  <a:pt x="481" y="688"/>
                </a:lnTo>
                <a:lnTo>
                  <a:pt x="495" y="707"/>
                </a:lnTo>
                <a:lnTo>
                  <a:pt x="505" y="707"/>
                </a:lnTo>
                <a:lnTo>
                  <a:pt x="510" y="707"/>
                </a:lnTo>
                <a:lnTo>
                  <a:pt x="515" y="698"/>
                </a:lnTo>
                <a:lnTo>
                  <a:pt x="515" y="678"/>
                </a:lnTo>
                <a:lnTo>
                  <a:pt x="515" y="664"/>
                </a:lnTo>
                <a:lnTo>
                  <a:pt x="520" y="658"/>
                </a:lnTo>
                <a:lnTo>
                  <a:pt x="539" y="654"/>
                </a:lnTo>
                <a:lnTo>
                  <a:pt x="565" y="654"/>
                </a:lnTo>
                <a:lnTo>
                  <a:pt x="585" y="654"/>
                </a:lnTo>
                <a:lnTo>
                  <a:pt x="600" y="654"/>
                </a:lnTo>
                <a:lnTo>
                  <a:pt x="619" y="654"/>
                </a:lnTo>
                <a:lnTo>
                  <a:pt x="649" y="669"/>
                </a:lnTo>
                <a:lnTo>
                  <a:pt x="659" y="673"/>
                </a:lnTo>
                <a:lnTo>
                  <a:pt x="669" y="669"/>
                </a:lnTo>
                <a:lnTo>
                  <a:pt x="669" y="664"/>
                </a:lnTo>
                <a:lnTo>
                  <a:pt x="659" y="644"/>
                </a:lnTo>
                <a:lnTo>
                  <a:pt x="659" y="625"/>
                </a:lnTo>
                <a:lnTo>
                  <a:pt x="669" y="611"/>
                </a:lnTo>
                <a:lnTo>
                  <a:pt x="678" y="606"/>
                </a:lnTo>
                <a:lnTo>
                  <a:pt x="689" y="601"/>
                </a:lnTo>
                <a:lnTo>
                  <a:pt x="704" y="597"/>
                </a:lnTo>
                <a:lnTo>
                  <a:pt x="708" y="582"/>
                </a:lnTo>
                <a:lnTo>
                  <a:pt x="708" y="563"/>
                </a:lnTo>
                <a:lnTo>
                  <a:pt x="704" y="544"/>
                </a:lnTo>
                <a:lnTo>
                  <a:pt x="704" y="529"/>
                </a:lnTo>
                <a:lnTo>
                  <a:pt x="708" y="524"/>
                </a:lnTo>
                <a:lnTo>
                  <a:pt x="719" y="519"/>
                </a:lnTo>
                <a:lnTo>
                  <a:pt x="733" y="515"/>
                </a:lnTo>
                <a:lnTo>
                  <a:pt x="743" y="505"/>
                </a:lnTo>
                <a:lnTo>
                  <a:pt x="748" y="486"/>
                </a:lnTo>
                <a:lnTo>
                  <a:pt x="743" y="481"/>
                </a:lnTo>
                <a:lnTo>
                  <a:pt x="733" y="471"/>
                </a:lnTo>
                <a:lnTo>
                  <a:pt x="728" y="466"/>
                </a:lnTo>
                <a:lnTo>
                  <a:pt x="724" y="456"/>
                </a:lnTo>
                <a:lnTo>
                  <a:pt x="728" y="447"/>
                </a:lnTo>
                <a:lnTo>
                  <a:pt x="738" y="437"/>
                </a:lnTo>
                <a:lnTo>
                  <a:pt x="752" y="428"/>
                </a:lnTo>
                <a:lnTo>
                  <a:pt x="767" y="423"/>
                </a:lnTo>
                <a:lnTo>
                  <a:pt x="783" y="418"/>
                </a:lnTo>
                <a:lnTo>
                  <a:pt x="793" y="380"/>
                </a:lnTo>
                <a:lnTo>
                  <a:pt x="793" y="355"/>
                </a:lnTo>
                <a:lnTo>
                  <a:pt x="787" y="342"/>
                </a:lnTo>
                <a:lnTo>
                  <a:pt x="778" y="327"/>
                </a:lnTo>
                <a:lnTo>
                  <a:pt x="763" y="312"/>
                </a:lnTo>
                <a:lnTo>
                  <a:pt x="752" y="293"/>
                </a:lnTo>
                <a:lnTo>
                  <a:pt x="748" y="269"/>
                </a:lnTo>
                <a:lnTo>
                  <a:pt x="752" y="230"/>
                </a:lnTo>
                <a:lnTo>
                  <a:pt x="758" y="211"/>
                </a:lnTo>
                <a:lnTo>
                  <a:pt x="752" y="201"/>
                </a:lnTo>
                <a:lnTo>
                  <a:pt x="743" y="188"/>
                </a:lnTo>
                <a:lnTo>
                  <a:pt x="728" y="178"/>
                </a:lnTo>
                <a:lnTo>
                  <a:pt x="719" y="173"/>
                </a:lnTo>
                <a:lnTo>
                  <a:pt x="713" y="163"/>
                </a:lnTo>
                <a:lnTo>
                  <a:pt x="708" y="154"/>
                </a:lnTo>
                <a:lnTo>
                  <a:pt x="704" y="149"/>
                </a:lnTo>
                <a:lnTo>
                  <a:pt x="689" y="154"/>
                </a:lnTo>
                <a:lnTo>
                  <a:pt x="678" y="154"/>
                </a:lnTo>
                <a:lnTo>
                  <a:pt x="674" y="154"/>
                </a:lnTo>
                <a:lnTo>
                  <a:pt x="663" y="125"/>
                </a:lnTo>
                <a:lnTo>
                  <a:pt x="659" y="96"/>
                </a:lnTo>
                <a:lnTo>
                  <a:pt x="659" y="77"/>
                </a:lnTo>
                <a:lnTo>
                  <a:pt x="659" y="62"/>
                </a:lnTo>
                <a:lnTo>
                  <a:pt x="669" y="48"/>
                </a:lnTo>
                <a:lnTo>
                  <a:pt x="684" y="43"/>
                </a:lnTo>
                <a:lnTo>
                  <a:pt x="698" y="48"/>
                </a:lnTo>
                <a:lnTo>
                  <a:pt x="708" y="43"/>
                </a:lnTo>
                <a:lnTo>
                  <a:pt x="708" y="39"/>
                </a:lnTo>
                <a:lnTo>
                  <a:pt x="708" y="28"/>
                </a:lnTo>
                <a:lnTo>
                  <a:pt x="704" y="14"/>
                </a:lnTo>
                <a:lnTo>
                  <a:pt x="698" y="5"/>
                </a:lnTo>
                <a:lnTo>
                  <a:pt x="684" y="9"/>
                </a:lnTo>
                <a:lnTo>
                  <a:pt x="659" y="9"/>
                </a:lnTo>
                <a:lnTo>
                  <a:pt x="643" y="9"/>
                </a:lnTo>
                <a:lnTo>
                  <a:pt x="629" y="5"/>
                </a:lnTo>
                <a:lnTo>
                  <a:pt x="619" y="5"/>
                </a:lnTo>
                <a:lnTo>
                  <a:pt x="624" y="0"/>
                </a:lnTo>
                <a:lnTo>
                  <a:pt x="619" y="5"/>
                </a:lnTo>
                <a:lnTo>
                  <a:pt x="600" y="14"/>
                </a:lnTo>
                <a:close/>
              </a:path>
            </a:pathLst>
          </a:custGeom>
          <a:solidFill>
            <a:srgbClr val="005027"/>
          </a:solidFill>
          <a:ln w="9525">
            <a:solidFill>
              <a:schemeClr val="bg1"/>
            </a:solidFill>
            <a:round/>
            <a:headEnd/>
            <a:tailEnd/>
          </a:ln>
        </p:spPr>
        <p:txBody>
          <a:bodyPr/>
          <a:lstStyle/>
          <a:p>
            <a:endParaRPr lang="ro-RO"/>
          </a:p>
        </p:txBody>
      </p:sp>
      <p:sp>
        <p:nvSpPr>
          <p:cNvPr id="12337" name="Freeform 47"/>
          <p:cNvSpPr>
            <a:spLocks/>
          </p:cNvSpPr>
          <p:nvPr/>
        </p:nvSpPr>
        <p:spPr bwMode="auto">
          <a:xfrm>
            <a:off x="3375025" y="2147888"/>
            <a:ext cx="947738" cy="1081087"/>
          </a:xfrm>
          <a:custGeom>
            <a:avLst/>
            <a:gdLst>
              <a:gd name="T0" fmla="*/ 2147483647 w 737"/>
              <a:gd name="T1" fmla="*/ 2147483647 h 783"/>
              <a:gd name="T2" fmla="*/ 2147483647 w 737"/>
              <a:gd name="T3" fmla="*/ 2147483647 h 783"/>
              <a:gd name="T4" fmla="*/ 2147483647 w 737"/>
              <a:gd name="T5" fmla="*/ 2147483647 h 783"/>
              <a:gd name="T6" fmla="*/ 2147483647 w 737"/>
              <a:gd name="T7" fmla="*/ 2147483647 h 783"/>
              <a:gd name="T8" fmla="*/ 2147483647 w 737"/>
              <a:gd name="T9" fmla="*/ 2147483647 h 783"/>
              <a:gd name="T10" fmla="*/ 2147483647 w 737"/>
              <a:gd name="T11" fmla="*/ 2147483647 h 783"/>
              <a:gd name="T12" fmla="*/ 2147483647 w 737"/>
              <a:gd name="T13" fmla="*/ 2147483647 h 783"/>
              <a:gd name="T14" fmla="*/ 2147483647 w 737"/>
              <a:gd name="T15" fmla="*/ 2147483647 h 783"/>
              <a:gd name="T16" fmla="*/ 2147483647 w 737"/>
              <a:gd name="T17" fmla="*/ 2147483647 h 783"/>
              <a:gd name="T18" fmla="*/ 2147483647 w 737"/>
              <a:gd name="T19" fmla="*/ 2147483647 h 783"/>
              <a:gd name="T20" fmla="*/ 0 w 737"/>
              <a:gd name="T21" fmla="*/ 2147483647 h 783"/>
              <a:gd name="T22" fmla="*/ 2147483647 w 737"/>
              <a:gd name="T23" fmla="*/ 2147483647 h 783"/>
              <a:gd name="T24" fmla="*/ 2147483647 w 737"/>
              <a:gd name="T25" fmla="*/ 2147483647 h 783"/>
              <a:gd name="T26" fmla="*/ 2147483647 w 737"/>
              <a:gd name="T27" fmla="*/ 2147483647 h 783"/>
              <a:gd name="T28" fmla="*/ 2147483647 w 737"/>
              <a:gd name="T29" fmla="*/ 2147483647 h 783"/>
              <a:gd name="T30" fmla="*/ 2147483647 w 737"/>
              <a:gd name="T31" fmla="*/ 2147483647 h 783"/>
              <a:gd name="T32" fmla="*/ 2147483647 w 737"/>
              <a:gd name="T33" fmla="*/ 2147483647 h 783"/>
              <a:gd name="T34" fmla="*/ 2147483647 w 737"/>
              <a:gd name="T35" fmla="*/ 2147483647 h 783"/>
              <a:gd name="T36" fmla="*/ 2147483647 w 737"/>
              <a:gd name="T37" fmla="*/ 2147483647 h 783"/>
              <a:gd name="T38" fmla="*/ 2147483647 w 737"/>
              <a:gd name="T39" fmla="*/ 2147483647 h 783"/>
              <a:gd name="T40" fmla="*/ 2147483647 w 737"/>
              <a:gd name="T41" fmla="*/ 2147483647 h 783"/>
              <a:gd name="T42" fmla="*/ 2147483647 w 737"/>
              <a:gd name="T43" fmla="*/ 2147483647 h 783"/>
              <a:gd name="T44" fmla="*/ 2147483647 w 737"/>
              <a:gd name="T45" fmla="*/ 2147483647 h 783"/>
              <a:gd name="T46" fmla="*/ 2147483647 w 737"/>
              <a:gd name="T47" fmla="*/ 2147483647 h 783"/>
              <a:gd name="T48" fmla="*/ 2147483647 w 737"/>
              <a:gd name="T49" fmla="*/ 2147483647 h 783"/>
              <a:gd name="T50" fmla="*/ 2147483647 w 737"/>
              <a:gd name="T51" fmla="*/ 2147483647 h 783"/>
              <a:gd name="T52" fmla="*/ 2147483647 w 737"/>
              <a:gd name="T53" fmla="*/ 2147483647 h 783"/>
              <a:gd name="T54" fmla="*/ 2147483647 w 737"/>
              <a:gd name="T55" fmla="*/ 2147483647 h 783"/>
              <a:gd name="T56" fmla="*/ 2147483647 w 737"/>
              <a:gd name="T57" fmla="*/ 2147483647 h 783"/>
              <a:gd name="T58" fmla="*/ 2147483647 w 737"/>
              <a:gd name="T59" fmla="*/ 2147483647 h 783"/>
              <a:gd name="T60" fmla="*/ 2147483647 w 737"/>
              <a:gd name="T61" fmla="*/ 2147483647 h 783"/>
              <a:gd name="T62" fmla="*/ 2147483647 w 737"/>
              <a:gd name="T63" fmla="*/ 2147483647 h 783"/>
              <a:gd name="T64" fmla="*/ 2147483647 w 737"/>
              <a:gd name="T65" fmla="*/ 2147483647 h 783"/>
              <a:gd name="T66" fmla="*/ 2147483647 w 737"/>
              <a:gd name="T67" fmla="*/ 2147483647 h 783"/>
              <a:gd name="T68" fmla="*/ 2147483647 w 737"/>
              <a:gd name="T69" fmla="*/ 2147483647 h 783"/>
              <a:gd name="T70" fmla="*/ 2147483647 w 737"/>
              <a:gd name="T71" fmla="*/ 2147483647 h 783"/>
              <a:gd name="T72" fmla="*/ 2147483647 w 737"/>
              <a:gd name="T73" fmla="*/ 2147483647 h 783"/>
              <a:gd name="T74" fmla="*/ 2147483647 w 737"/>
              <a:gd name="T75" fmla="*/ 2147483647 h 783"/>
              <a:gd name="T76" fmla="*/ 2147483647 w 737"/>
              <a:gd name="T77" fmla="*/ 2147483647 h 783"/>
              <a:gd name="T78" fmla="*/ 2147483647 w 737"/>
              <a:gd name="T79" fmla="*/ 2147483647 h 783"/>
              <a:gd name="T80" fmla="*/ 2147483647 w 737"/>
              <a:gd name="T81" fmla="*/ 2147483647 h 783"/>
              <a:gd name="T82" fmla="*/ 2147483647 w 737"/>
              <a:gd name="T83" fmla="*/ 2147483647 h 783"/>
              <a:gd name="T84" fmla="*/ 2147483647 w 737"/>
              <a:gd name="T85" fmla="*/ 2147483647 h 783"/>
              <a:gd name="T86" fmla="*/ 2147483647 w 737"/>
              <a:gd name="T87" fmla="*/ 2147483647 h 783"/>
              <a:gd name="T88" fmla="*/ 2147483647 w 737"/>
              <a:gd name="T89" fmla="*/ 2147483647 h 783"/>
              <a:gd name="T90" fmla="*/ 2147483647 w 737"/>
              <a:gd name="T91" fmla="*/ 2147483647 h 783"/>
              <a:gd name="T92" fmla="*/ 2147483647 w 737"/>
              <a:gd name="T93" fmla="*/ 2147483647 h 783"/>
              <a:gd name="T94" fmla="*/ 2147483647 w 737"/>
              <a:gd name="T95" fmla="*/ 0 h 783"/>
              <a:gd name="T96" fmla="*/ 2147483647 w 737"/>
              <a:gd name="T97" fmla="*/ 2147483647 h 78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7"/>
              <a:gd name="T148" fmla="*/ 0 h 783"/>
              <a:gd name="T149" fmla="*/ 737 w 737"/>
              <a:gd name="T150" fmla="*/ 783 h 78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7" h="783">
                <a:moveTo>
                  <a:pt x="184" y="53"/>
                </a:moveTo>
                <a:lnTo>
                  <a:pt x="184" y="58"/>
                </a:lnTo>
                <a:lnTo>
                  <a:pt x="179" y="68"/>
                </a:lnTo>
                <a:lnTo>
                  <a:pt x="179" y="81"/>
                </a:lnTo>
                <a:lnTo>
                  <a:pt x="194" y="91"/>
                </a:lnTo>
                <a:lnTo>
                  <a:pt x="209" y="106"/>
                </a:lnTo>
                <a:lnTo>
                  <a:pt x="214" y="130"/>
                </a:lnTo>
                <a:lnTo>
                  <a:pt x="214" y="155"/>
                </a:lnTo>
                <a:lnTo>
                  <a:pt x="209" y="178"/>
                </a:lnTo>
                <a:lnTo>
                  <a:pt x="209" y="198"/>
                </a:lnTo>
                <a:lnTo>
                  <a:pt x="204" y="212"/>
                </a:lnTo>
                <a:lnTo>
                  <a:pt x="204" y="227"/>
                </a:lnTo>
                <a:lnTo>
                  <a:pt x="209" y="242"/>
                </a:lnTo>
                <a:lnTo>
                  <a:pt x="214" y="257"/>
                </a:lnTo>
                <a:lnTo>
                  <a:pt x="214" y="270"/>
                </a:lnTo>
                <a:lnTo>
                  <a:pt x="204" y="299"/>
                </a:lnTo>
                <a:lnTo>
                  <a:pt x="204" y="314"/>
                </a:lnTo>
                <a:lnTo>
                  <a:pt x="214" y="329"/>
                </a:lnTo>
                <a:lnTo>
                  <a:pt x="214" y="343"/>
                </a:lnTo>
                <a:lnTo>
                  <a:pt x="214" y="352"/>
                </a:lnTo>
                <a:lnTo>
                  <a:pt x="204" y="363"/>
                </a:lnTo>
                <a:lnTo>
                  <a:pt x="184" y="377"/>
                </a:lnTo>
                <a:lnTo>
                  <a:pt x="174" y="401"/>
                </a:lnTo>
                <a:lnTo>
                  <a:pt x="164" y="420"/>
                </a:lnTo>
                <a:lnTo>
                  <a:pt x="144" y="430"/>
                </a:lnTo>
                <a:lnTo>
                  <a:pt x="119" y="435"/>
                </a:lnTo>
                <a:lnTo>
                  <a:pt x="94" y="445"/>
                </a:lnTo>
                <a:lnTo>
                  <a:pt x="79" y="454"/>
                </a:lnTo>
                <a:lnTo>
                  <a:pt x="70" y="469"/>
                </a:lnTo>
                <a:lnTo>
                  <a:pt x="75" y="503"/>
                </a:lnTo>
                <a:lnTo>
                  <a:pt x="70" y="517"/>
                </a:lnTo>
                <a:lnTo>
                  <a:pt x="64" y="522"/>
                </a:lnTo>
                <a:lnTo>
                  <a:pt x="50" y="526"/>
                </a:lnTo>
                <a:lnTo>
                  <a:pt x="40" y="526"/>
                </a:lnTo>
                <a:lnTo>
                  <a:pt x="35" y="536"/>
                </a:lnTo>
                <a:lnTo>
                  <a:pt x="40" y="551"/>
                </a:lnTo>
                <a:lnTo>
                  <a:pt x="50" y="566"/>
                </a:lnTo>
                <a:lnTo>
                  <a:pt x="45" y="570"/>
                </a:lnTo>
                <a:lnTo>
                  <a:pt x="35" y="570"/>
                </a:lnTo>
                <a:lnTo>
                  <a:pt x="25" y="570"/>
                </a:lnTo>
                <a:lnTo>
                  <a:pt x="10" y="575"/>
                </a:lnTo>
                <a:lnTo>
                  <a:pt x="0" y="585"/>
                </a:lnTo>
                <a:lnTo>
                  <a:pt x="0" y="594"/>
                </a:lnTo>
                <a:lnTo>
                  <a:pt x="0" y="604"/>
                </a:lnTo>
                <a:lnTo>
                  <a:pt x="10" y="619"/>
                </a:lnTo>
                <a:lnTo>
                  <a:pt x="25" y="638"/>
                </a:lnTo>
                <a:lnTo>
                  <a:pt x="35" y="653"/>
                </a:lnTo>
                <a:lnTo>
                  <a:pt x="45" y="672"/>
                </a:lnTo>
                <a:lnTo>
                  <a:pt x="60" y="676"/>
                </a:lnTo>
                <a:lnTo>
                  <a:pt x="75" y="676"/>
                </a:lnTo>
                <a:lnTo>
                  <a:pt x="94" y="672"/>
                </a:lnTo>
                <a:lnTo>
                  <a:pt x="109" y="672"/>
                </a:lnTo>
                <a:lnTo>
                  <a:pt x="119" y="682"/>
                </a:lnTo>
                <a:lnTo>
                  <a:pt x="134" y="701"/>
                </a:lnTo>
                <a:lnTo>
                  <a:pt x="144" y="730"/>
                </a:lnTo>
                <a:lnTo>
                  <a:pt x="154" y="725"/>
                </a:lnTo>
                <a:lnTo>
                  <a:pt x="160" y="721"/>
                </a:lnTo>
                <a:lnTo>
                  <a:pt x="164" y="725"/>
                </a:lnTo>
                <a:lnTo>
                  <a:pt x="169" y="735"/>
                </a:lnTo>
                <a:lnTo>
                  <a:pt x="174" y="740"/>
                </a:lnTo>
                <a:lnTo>
                  <a:pt x="184" y="740"/>
                </a:lnTo>
                <a:lnTo>
                  <a:pt x="188" y="735"/>
                </a:lnTo>
                <a:lnTo>
                  <a:pt x="194" y="721"/>
                </a:lnTo>
                <a:lnTo>
                  <a:pt x="194" y="710"/>
                </a:lnTo>
                <a:lnTo>
                  <a:pt x="199" y="710"/>
                </a:lnTo>
                <a:lnTo>
                  <a:pt x="204" y="710"/>
                </a:lnTo>
                <a:lnTo>
                  <a:pt x="209" y="716"/>
                </a:lnTo>
                <a:lnTo>
                  <a:pt x="219" y="725"/>
                </a:lnTo>
                <a:lnTo>
                  <a:pt x="234" y="735"/>
                </a:lnTo>
                <a:lnTo>
                  <a:pt x="249" y="744"/>
                </a:lnTo>
                <a:lnTo>
                  <a:pt x="264" y="755"/>
                </a:lnTo>
                <a:lnTo>
                  <a:pt x="279" y="764"/>
                </a:lnTo>
                <a:lnTo>
                  <a:pt x="293" y="778"/>
                </a:lnTo>
                <a:lnTo>
                  <a:pt x="299" y="783"/>
                </a:lnTo>
                <a:lnTo>
                  <a:pt x="299" y="778"/>
                </a:lnTo>
                <a:lnTo>
                  <a:pt x="299" y="774"/>
                </a:lnTo>
                <a:lnTo>
                  <a:pt x="304" y="750"/>
                </a:lnTo>
                <a:lnTo>
                  <a:pt x="314" y="721"/>
                </a:lnTo>
                <a:lnTo>
                  <a:pt x="328" y="701"/>
                </a:lnTo>
                <a:lnTo>
                  <a:pt x="343" y="691"/>
                </a:lnTo>
                <a:lnTo>
                  <a:pt x="358" y="687"/>
                </a:lnTo>
                <a:lnTo>
                  <a:pt x="369" y="687"/>
                </a:lnTo>
                <a:lnTo>
                  <a:pt x="373" y="682"/>
                </a:lnTo>
                <a:lnTo>
                  <a:pt x="383" y="672"/>
                </a:lnTo>
                <a:lnTo>
                  <a:pt x="398" y="648"/>
                </a:lnTo>
                <a:lnTo>
                  <a:pt x="408" y="634"/>
                </a:lnTo>
                <a:lnTo>
                  <a:pt x="413" y="634"/>
                </a:lnTo>
                <a:lnTo>
                  <a:pt x="423" y="634"/>
                </a:lnTo>
                <a:lnTo>
                  <a:pt x="433" y="648"/>
                </a:lnTo>
                <a:lnTo>
                  <a:pt x="443" y="668"/>
                </a:lnTo>
                <a:lnTo>
                  <a:pt x="452" y="691"/>
                </a:lnTo>
                <a:lnTo>
                  <a:pt x="468" y="710"/>
                </a:lnTo>
                <a:lnTo>
                  <a:pt x="483" y="735"/>
                </a:lnTo>
                <a:lnTo>
                  <a:pt x="487" y="744"/>
                </a:lnTo>
                <a:lnTo>
                  <a:pt x="493" y="750"/>
                </a:lnTo>
                <a:lnTo>
                  <a:pt x="498" y="755"/>
                </a:lnTo>
                <a:lnTo>
                  <a:pt x="508" y="759"/>
                </a:lnTo>
                <a:lnTo>
                  <a:pt x="528" y="759"/>
                </a:lnTo>
                <a:lnTo>
                  <a:pt x="563" y="755"/>
                </a:lnTo>
                <a:lnTo>
                  <a:pt x="583" y="750"/>
                </a:lnTo>
                <a:lnTo>
                  <a:pt x="598" y="744"/>
                </a:lnTo>
                <a:lnTo>
                  <a:pt x="622" y="740"/>
                </a:lnTo>
                <a:lnTo>
                  <a:pt x="637" y="730"/>
                </a:lnTo>
                <a:lnTo>
                  <a:pt x="652" y="721"/>
                </a:lnTo>
                <a:lnTo>
                  <a:pt x="667" y="710"/>
                </a:lnTo>
                <a:lnTo>
                  <a:pt x="687" y="701"/>
                </a:lnTo>
                <a:lnTo>
                  <a:pt x="702" y="687"/>
                </a:lnTo>
                <a:lnTo>
                  <a:pt x="707" y="682"/>
                </a:lnTo>
                <a:lnTo>
                  <a:pt x="712" y="676"/>
                </a:lnTo>
                <a:lnTo>
                  <a:pt x="716" y="672"/>
                </a:lnTo>
                <a:lnTo>
                  <a:pt x="712" y="668"/>
                </a:lnTo>
                <a:lnTo>
                  <a:pt x="712" y="653"/>
                </a:lnTo>
                <a:lnTo>
                  <a:pt x="716" y="638"/>
                </a:lnTo>
                <a:lnTo>
                  <a:pt x="727" y="623"/>
                </a:lnTo>
                <a:lnTo>
                  <a:pt x="731" y="609"/>
                </a:lnTo>
                <a:lnTo>
                  <a:pt x="737" y="604"/>
                </a:lnTo>
                <a:lnTo>
                  <a:pt x="731" y="600"/>
                </a:lnTo>
                <a:lnTo>
                  <a:pt x="716" y="604"/>
                </a:lnTo>
                <a:lnTo>
                  <a:pt x="707" y="615"/>
                </a:lnTo>
                <a:lnTo>
                  <a:pt x="696" y="619"/>
                </a:lnTo>
                <a:lnTo>
                  <a:pt x="687" y="619"/>
                </a:lnTo>
                <a:lnTo>
                  <a:pt x="672" y="619"/>
                </a:lnTo>
                <a:lnTo>
                  <a:pt x="667" y="615"/>
                </a:lnTo>
                <a:lnTo>
                  <a:pt x="662" y="600"/>
                </a:lnTo>
                <a:lnTo>
                  <a:pt x="662" y="589"/>
                </a:lnTo>
                <a:lnTo>
                  <a:pt x="662" y="575"/>
                </a:lnTo>
                <a:lnTo>
                  <a:pt x="657" y="566"/>
                </a:lnTo>
                <a:lnTo>
                  <a:pt x="637" y="556"/>
                </a:lnTo>
                <a:lnTo>
                  <a:pt x="622" y="556"/>
                </a:lnTo>
                <a:lnTo>
                  <a:pt x="607" y="551"/>
                </a:lnTo>
                <a:lnTo>
                  <a:pt x="587" y="547"/>
                </a:lnTo>
                <a:lnTo>
                  <a:pt x="583" y="547"/>
                </a:lnTo>
                <a:lnTo>
                  <a:pt x="583" y="536"/>
                </a:lnTo>
                <a:lnTo>
                  <a:pt x="577" y="513"/>
                </a:lnTo>
                <a:lnTo>
                  <a:pt x="583" y="503"/>
                </a:lnTo>
                <a:lnTo>
                  <a:pt x="587" y="493"/>
                </a:lnTo>
                <a:lnTo>
                  <a:pt x="612" y="488"/>
                </a:lnTo>
                <a:lnTo>
                  <a:pt x="622" y="483"/>
                </a:lnTo>
                <a:lnTo>
                  <a:pt x="618" y="469"/>
                </a:lnTo>
                <a:lnTo>
                  <a:pt x="612" y="460"/>
                </a:lnTo>
                <a:lnTo>
                  <a:pt x="602" y="450"/>
                </a:lnTo>
                <a:lnTo>
                  <a:pt x="598" y="426"/>
                </a:lnTo>
                <a:lnTo>
                  <a:pt x="592" y="396"/>
                </a:lnTo>
                <a:lnTo>
                  <a:pt x="587" y="382"/>
                </a:lnTo>
                <a:lnTo>
                  <a:pt x="583" y="367"/>
                </a:lnTo>
                <a:lnTo>
                  <a:pt x="577" y="358"/>
                </a:lnTo>
                <a:lnTo>
                  <a:pt x="572" y="352"/>
                </a:lnTo>
                <a:lnTo>
                  <a:pt x="572" y="348"/>
                </a:lnTo>
                <a:lnTo>
                  <a:pt x="577" y="348"/>
                </a:lnTo>
                <a:lnTo>
                  <a:pt x="567" y="348"/>
                </a:lnTo>
                <a:lnTo>
                  <a:pt x="563" y="358"/>
                </a:lnTo>
                <a:lnTo>
                  <a:pt x="548" y="367"/>
                </a:lnTo>
                <a:lnTo>
                  <a:pt x="532" y="377"/>
                </a:lnTo>
                <a:lnTo>
                  <a:pt x="522" y="386"/>
                </a:lnTo>
                <a:lnTo>
                  <a:pt x="513" y="386"/>
                </a:lnTo>
                <a:lnTo>
                  <a:pt x="502" y="372"/>
                </a:lnTo>
                <a:lnTo>
                  <a:pt x="493" y="358"/>
                </a:lnTo>
                <a:lnTo>
                  <a:pt x="483" y="343"/>
                </a:lnTo>
                <a:lnTo>
                  <a:pt x="478" y="329"/>
                </a:lnTo>
                <a:lnTo>
                  <a:pt x="478" y="310"/>
                </a:lnTo>
                <a:lnTo>
                  <a:pt x="483" y="299"/>
                </a:lnTo>
                <a:lnTo>
                  <a:pt x="483" y="290"/>
                </a:lnTo>
                <a:lnTo>
                  <a:pt x="473" y="270"/>
                </a:lnTo>
                <a:lnTo>
                  <a:pt x="468" y="251"/>
                </a:lnTo>
                <a:lnTo>
                  <a:pt x="463" y="223"/>
                </a:lnTo>
                <a:lnTo>
                  <a:pt x="468" y="202"/>
                </a:lnTo>
                <a:lnTo>
                  <a:pt x="473" y="193"/>
                </a:lnTo>
                <a:lnTo>
                  <a:pt x="483" y="174"/>
                </a:lnTo>
                <a:lnTo>
                  <a:pt x="487" y="159"/>
                </a:lnTo>
                <a:lnTo>
                  <a:pt x="487" y="155"/>
                </a:lnTo>
                <a:lnTo>
                  <a:pt x="487" y="149"/>
                </a:lnTo>
                <a:lnTo>
                  <a:pt x="478" y="145"/>
                </a:lnTo>
                <a:lnTo>
                  <a:pt x="473" y="140"/>
                </a:lnTo>
                <a:lnTo>
                  <a:pt x="463" y="111"/>
                </a:lnTo>
                <a:lnTo>
                  <a:pt x="452" y="91"/>
                </a:lnTo>
                <a:lnTo>
                  <a:pt x="443" y="77"/>
                </a:lnTo>
                <a:lnTo>
                  <a:pt x="433" y="68"/>
                </a:lnTo>
                <a:lnTo>
                  <a:pt x="417" y="58"/>
                </a:lnTo>
                <a:lnTo>
                  <a:pt x="408" y="58"/>
                </a:lnTo>
                <a:lnTo>
                  <a:pt x="398" y="62"/>
                </a:lnTo>
                <a:lnTo>
                  <a:pt x="389" y="68"/>
                </a:lnTo>
                <a:lnTo>
                  <a:pt x="373" y="72"/>
                </a:lnTo>
                <a:lnTo>
                  <a:pt x="358" y="72"/>
                </a:lnTo>
                <a:lnTo>
                  <a:pt x="343" y="62"/>
                </a:lnTo>
                <a:lnTo>
                  <a:pt x="338" y="53"/>
                </a:lnTo>
                <a:lnTo>
                  <a:pt x="328" y="43"/>
                </a:lnTo>
                <a:lnTo>
                  <a:pt x="314" y="34"/>
                </a:lnTo>
                <a:lnTo>
                  <a:pt x="304" y="24"/>
                </a:lnTo>
                <a:lnTo>
                  <a:pt x="289" y="9"/>
                </a:lnTo>
                <a:lnTo>
                  <a:pt x="273" y="5"/>
                </a:lnTo>
                <a:lnTo>
                  <a:pt x="258" y="0"/>
                </a:lnTo>
                <a:lnTo>
                  <a:pt x="239" y="0"/>
                </a:lnTo>
                <a:lnTo>
                  <a:pt x="223" y="5"/>
                </a:lnTo>
                <a:lnTo>
                  <a:pt x="219" y="14"/>
                </a:lnTo>
                <a:lnTo>
                  <a:pt x="214" y="28"/>
                </a:lnTo>
                <a:lnTo>
                  <a:pt x="204" y="48"/>
                </a:lnTo>
                <a:lnTo>
                  <a:pt x="194" y="58"/>
                </a:lnTo>
                <a:lnTo>
                  <a:pt x="184" y="53"/>
                </a:lnTo>
                <a:close/>
              </a:path>
            </a:pathLst>
          </a:custGeom>
          <a:solidFill>
            <a:srgbClr val="005027"/>
          </a:solidFill>
          <a:ln w="9525">
            <a:solidFill>
              <a:schemeClr val="bg1"/>
            </a:solidFill>
            <a:round/>
            <a:headEnd/>
            <a:tailEnd/>
          </a:ln>
        </p:spPr>
        <p:txBody>
          <a:bodyPr/>
          <a:lstStyle/>
          <a:p>
            <a:endParaRPr lang="ro-RO"/>
          </a:p>
        </p:txBody>
      </p:sp>
      <p:sp>
        <p:nvSpPr>
          <p:cNvPr id="12338" name="Freeform 48"/>
          <p:cNvSpPr>
            <a:spLocks/>
          </p:cNvSpPr>
          <p:nvPr/>
        </p:nvSpPr>
        <p:spPr bwMode="auto">
          <a:xfrm>
            <a:off x="2525713" y="3017838"/>
            <a:ext cx="901700" cy="771525"/>
          </a:xfrm>
          <a:custGeom>
            <a:avLst/>
            <a:gdLst>
              <a:gd name="T0" fmla="*/ 2147483647 w 702"/>
              <a:gd name="T1" fmla="*/ 2147483647 h 559"/>
              <a:gd name="T2" fmla="*/ 2147483647 w 702"/>
              <a:gd name="T3" fmla="*/ 2147483647 h 559"/>
              <a:gd name="T4" fmla="*/ 2147483647 w 702"/>
              <a:gd name="T5" fmla="*/ 2147483647 h 559"/>
              <a:gd name="T6" fmla="*/ 2147483647 w 702"/>
              <a:gd name="T7" fmla="*/ 2147483647 h 559"/>
              <a:gd name="T8" fmla="*/ 2147483647 w 702"/>
              <a:gd name="T9" fmla="*/ 2147483647 h 559"/>
              <a:gd name="T10" fmla="*/ 2147483647 w 702"/>
              <a:gd name="T11" fmla="*/ 2147483647 h 559"/>
              <a:gd name="T12" fmla="*/ 2147483647 w 702"/>
              <a:gd name="T13" fmla="*/ 2147483647 h 559"/>
              <a:gd name="T14" fmla="*/ 2147483647 w 702"/>
              <a:gd name="T15" fmla="*/ 2147483647 h 559"/>
              <a:gd name="T16" fmla="*/ 2147483647 w 702"/>
              <a:gd name="T17" fmla="*/ 2147483647 h 559"/>
              <a:gd name="T18" fmla="*/ 2147483647 w 702"/>
              <a:gd name="T19" fmla="*/ 2147483647 h 559"/>
              <a:gd name="T20" fmla="*/ 2147483647 w 702"/>
              <a:gd name="T21" fmla="*/ 2147483647 h 559"/>
              <a:gd name="T22" fmla="*/ 2147483647 w 702"/>
              <a:gd name="T23" fmla="*/ 2147483647 h 559"/>
              <a:gd name="T24" fmla="*/ 2147483647 w 702"/>
              <a:gd name="T25" fmla="*/ 2147483647 h 559"/>
              <a:gd name="T26" fmla="*/ 2147483647 w 702"/>
              <a:gd name="T27" fmla="*/ 2147483647 h 559"/>
              <a:gd name="T28" fmla="*/ 2147483647 w 702"/>
              <a:gd name="T29" fmla="*/ 2147483647 h 559"/>
              <a:gd name="T30" fmla="*/ 2147483647 w 702"/>
              <a:gd name="T31" fmla="*/ 2147483647 h 559"/>
              <a:gd name="T32" fmla="*/ 2147483647 w 702"/>
              <a:gd name="T33" fmla="*/ 2147483647 h 559"/>
              <a:gd name="T34" fmla="*/ 2147483647 w 702"/>
              <a:gd name="T35" fmla="*/ 2147483647 h 559"/>
              <a:gd name="T36" fmla="*/ 2147483647 w 702"/>
              <a:gd name="T37" fmla="*/ 2147483647 h 559"/>
              <a:gd name="T38" fmla="*/ 2147483647 w 702"/>
              <a:gd name="T39" fmla="*/ 2147483647 h 559"/>
              <a:gd name="T40" fmla="*/ 2147483647 w 702"/>
              <a:gd name="T41" fmla="*/ 2147483647 h 559"/>
              <a:gd name="T42" fmla="*/ 0 w 702"/>
              <a:gd name="T43" fmla="*/ 2147483647 h 559"/>
              <a:gd name="T44" fmla="*/ 2147483647 w 702"/>
              <a:gd name="T45" fmla="*/ 2147483647 h 559"/>
              <a:gd name="T46" fmla="*/ 2147483647 w 702"/>
              <a:gd name="T47" fmla="*/ 2147483647 h 559"/>
              <a:gd name="T48" fmla="*/ 2147483647 w 702"/>
              <a:gd name="T49" fmla="*/ 2147483647 h 559"/>
              <a:gd name="T50" fmla="*/ 2147483647 w 702"/>
              <a:gd name="T51" fmla="*/ 2147483647 h 559"/>
              <a:gd name="T52" fmla="*/ 2147483647 w 702"/>
              <a:gd name="T53" fmla="*/ 2147483647 h 559"/>
              <a:gd name="T54" fmla="*/ 2147483647 w 702"/>
              <a:gd name="T55" fmla="*/ 2147483647 h 559"/>
              <a:gd name="T56" fmla="*/ 2147483647 w 702"/>
              <a:gd name="T57" fmla="*/ 2147483647 h 559"/>
              <a:gd name="T58" fmla="*/ 2147483647 w 702"/>
              <a:gd name="T59" fmla="*/ 2147483647 h 559"/>
              <a:gd name="T60" fmla="*/ 2147483647 w 702"/>
              <a:gd name="T61" fmla="*/ 2147483647 h 559"/>
              <a:gd name="T62" fmla="*/ 2147483647 w 702"/>
              <a:gd name="T63" fmla="*/ 2147483647 h 559"/>
              <a:gd name="T64" fmla="*/ 2147483647 w 702"/>
              <a:gd name="T65" fmla="*/ 2147483647 h 559"/>
              <a:gd name="T66" fmla="*/ 2147483647 w 702"/>
              <a:gd name="T67" fmla="*/ 2147483647 h 559"/>
              <a:gd name="T68" fmla="*/ 2147483647 w 702"/>
              <a:gd name="T69" fmla="*/ 2147483647 h 559"/>
              <a:gd name="T70" fmla="*/ 2147483647 w 702"/>
              <a:gd name="T71" fmla="*/ 2147483647 h 559"/>
              <a:gd name="T72" fmla="*/ 2147483647 w 702"/>
              <a:gd name="T73" fmla="*/ 2147483647 h 559"/>
              <a:gd name="T74" fmla="*/ 2147483647 w 702"/>
              <a:gd name="T75" fmla="*/ 2147483647 h 559"/>
              <a:gd name="T76" fmla="*/ 2147483647 w 702"/>
              <a:gd name="T77" fmla="*/ 2147483647 h 559"/>
              <a:gd name="T78" fmla="*/ 2147483647 w 702"/>
              <a:gd name="T79" fmla="*/ 0 h 559"/>
              <a:gd name="T80" fmla="*/ 2147483647 w 702"/>
              <a:gd name="T81" fmla="*/ 2147483647 h 559"/>
              <a:gd name="T82" fmla="*/ 2147483647 w 702"/>
              <a:gd name="T83" fmla="*/ 2147483647 h 559"/>
              <a:gd name="T84" fmla="*/ 2147483647 w 702"/>
              <a:gd name="T85" fmla="*/ 2147483647 h 559"/>
              <a:gd name="T86" fmla="*/ 2147483647 w 702"/>
              <a:gd name="T87" fmla="*/ 2147483647 h 559"/>
              <a:gd name="T88" fmla="*/ 2147483647 w 702"/>
              <a:gd name="T89" fmla="*/ 2147483647 h 559"/>
              <a:gd name="T90" fmla="*/ 2147483647 w 702"/>
              <a:gd name="T91" fmla="*/ 2147483647 h 559"/>
              <a:gd name="T92" fmla="*/ 2147483647 w 702"/>
              <a:gd name="T93" fmla="*/ 2147483647 h 55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02"/>
              <a:gd name="T142" fmla="*/ 0 h 559"/>
              <a:gd name="T143" fmla="*/ 702 w 702"/>
              <a:gd name="T144" fmla="*/ 559 h 55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02" h="559">
                <a:moveTo>
                  <a:pt x="697" y="156"/>
                </a:moveTo>
                <a:lnTo>
                  <a:pt x="682" y="165"/>
                </a:lnTo>
                <a:lnTo>
                  <a:pt x="662" y="175"/>
                </a:lnTo>
                <a:lnTo>
                  <a:pt x="643" y="184"/>
                </a:lnTo>
                <a:lnTo>
                  <a:pt x="637" y="190"/>
                </a:lnTo>
                <a:lnTo>
                  <a:pt x="617" y="224"/>
                </a:lnTo>
                <a:lnTo>
                  <a:pt x="613" y="224"/>
                </a:lnTo>
                <a:lnTo>
                  <a:pt x="608" y="224"/>
                </a:lnTo>
                <a:lnTo>
                  <a:pt x="597" y="224"/>
                </a:lnTo>
                <a:lnTo>
                  <a:pt x="587" y="233"/>
                </a:lnTo>
                <a:lnTo>
                  <a:pt x="582" y="248"/>
                </a:lnTo>
                <a:lnTo>
                  <a:pt x="587" y="263"/>
                </a:lnTo>
                <a:lnTo>
                  <a:pt x="593" y="272"/>
                </a:lnTo>
                <a:lnTo>
                  <a:pt x="593" y="282"/>
                </a:lnTo>
                <a:lnTo>
                  <a:pt x="593" y="297"/>
                </a:lnTo>
                <a:lnTo>
                  <a:pt x="587" y="312"/>
                </a:lnTo>
                <a:lnTo>
                  <a:pt x="582" y="316"/>
                </a:lnTo>
                <a:lnTo>
                  <a:pt x="578" y="321"/>
                </a:lnTo>
                <a:lnTo>
                  <a:pt x="573" y="326"/>
                </a:lnTo>
                <a:lnTo>
                  <a:pt x="563" y="336"/>
                </a:lnTo>
                <a:lnTo>
                  <a:pt x="552" y="360"/>
                </a:lnTo>
                <a:lnTo>
                  <a:pt x="552" y="393"/>
                </a:lnTo>
                <a:lnTo>
                  <a:pt x="563" y="428"/>
                </a:lnTo>
                <a:lnTo>
                  <a:pt x="567" y="452"/>
                </a:lnTo>
                <a:lnTo>
                  <a:pt x="567" y="467"/>
                </a:lnTo>
                <a:lnTo>
                  <a:pt x="567" y="472"/>
                </a:lnTo>
                <a:lnTo>
                  <a:pt x="563" y="476"/>
                </a:lnTo>
                <a:lnTo>
                  <a:pt x="552" y="482"/>
                </a:lnTo>
                <a:lnTo>
                  <a:pt x="532" y="487"/>
                </a:lnTo>
                <a:lnTo>
                  <a:pt x="508" y="487"/>
                </a:lnTo>
                <a:lnTo>
                  <a:pt x="493" y="491"/>
                </a:lnTo>
                <a:lnTo>
                  <a:pt x="488" y="501"/>
                </a:lnTo>
                <a:lnTo>
                  <a:pt x="484" y="501"/>
                </a:lnTo>
                <a:lnTo>
                  <a:pt x="473" y="496"/>
                </a:lnTo>
                <a:lnTo>
                  <a:pt x="458" y="496"/>
                </a:lnTo>
                <a:lnTo>
                  <a:pt x="438" y="501"/>
                </a:lnTo>
                <a:lnTo>
                  <a:pt x="393" y="506"/>
                </a:lnTo>
                <a:lnTo>
                  <a:pt x="379" y="506"/>
                </a:lnTo>
                <a:lnTo>
                  <a:pt x="364" y="516"/>
                </a:lnTo>
                <a:lnTo>
                  <a:pt x="334" y="530"/>
                </a:lnTo>
                <a:lnTo>
                  <a:pt x="299" y="540"/>
                </a:lnTo>
                <a:lnTo>
                  <a:pt x="275" y="545"/>
                </a:lnTo>
                <a:lnTo>
                  <a:pt x="244" y="545"/>
                </a:lnTo>
                <a:lnTo>
                  <a:pt x="220" y="545"/>
                </a:lnTo>
                <a:lnTo>
                  <a:pt x="199" y="545"/>
                </a:lnTo>
                <a:lnTo>
                  <a:pt x="175" y="545"/>
                </a:lnTo>
                <a:lnTo>
                  <a:pt x="160" y="545"/>
                </a:lnTo>
                <a:lnTo>
                  <a:pt x="145" y="540"/>
                </a:lnTo>
                <a:lnTo>
                  <a:pt x="129" y="535"/>
                </a:lnTo>
                <a:lnTo>
                  <a:pt x="115" y="535"/>
                </a:lnTo>
                <a:lnTo>
                  <a:pt x="105" y="535"/>
                </a:lnTo>
                <a:lnTo>
                  <a:pt x="85" y="545"/>
                </a:lnTo>
                <a:lnTo>
                  <a:pt x="66" y="550"/>
                </a:lnTo>
                <a:lnTo>
                  <a:pt x="51" y="555"/>
                </a:lnTo>
                <a:lnTo>
                  <a:pt x="46" y="555"/>
                </a:lnTo>
                <a:lnTo>
                  <a:pt x="40" y="559"/>
                </a:lnTo>
                <a:lnTo>
                  <a:pt x="35" y="550"/>
                </a:lnTo>
                <a:lnTo>
                  <a:pt x="20" y="535"/>
                </a:lnTo>
                <a:lnTo>
                  <a:pt x="11" y="511"/>
                </a:lnTo>
                <a:lnTo>
                  <a:pt x="11" y="496"/>
                </a:lnTo>
                <a:lnTo>
                  <a:pt x="20" y="482"/>
                </a:lnTo>
                <a:lnTo>
                  <a:pt x="20" y="462"/>
                </a:lnTo>
                <a:lnTo>
                  <a:pt x="16" y="442"/>
                </a:lnTo>
                <a:lnTo>
                  <a:pt x="5" y="433"/>
                </a:lnTo>
                <a:lnTo>
                  <a:pt x="0" y="423"/>
                </a:lnTo>
                <a:lnTo>
                  <a:pt x="0" y="408"/>
                </a:lnTo>
                <a:lnTo>
                  <a:pt x="0" y="393"/>
                </a:lnTo>
                <a:lnTo>
                  <a:pt x="11" y="380"/>
                </a:lnTo>
                <a:lnTo>
                  <a:pt x="20" y="365"/>
                </a:lnTo>
                <a:lnTo>
                  <a:pt x="20" y="350"/>
                </a:lnTo>
                <a:lnTo>
                  <a:pt x="20" y="340"/>
                </a:lnTo>
                <a:lnTo>
                  <a:pt x="20" y="336"/>
                </a:lnTo>
                <a:lnTo>
                  <a:pt x="26" y="326"/>
                </a:lnTo>
                <a:lnTo>
                  <a:pt x="35" y="321"/>
                </a:lnTo>
                <a:lnTo>
                  <a:pt x="51" y="316"/>
                </a:lnTo>
                <a:lnTo>
                  <a:pt x="70" y="306"/>
                </a:lnTo>
                <a:lnTo>
                  <a:pt x="85" y="287"/>
                </a:lnTo>
                <a:lnTo>
                  <a:pt x="95" y="272"/>
                </a:lnTo>
                <a:lnTo>
                  <a:pt x="100" y="263"/>
                </a:lnTo>
                <a:lnTo>
                  <a:pt x="100" y="258"/>
                </a:lnTo>
                <a:lnTo>
                  <a:pt x="105" y="248"/>
                </a:lnTo>
                <a:lnTo>
                  <a:pt x="115" y="238"/>
                </a:lnTo>
                <a:lnTo>
                  <a:pt x="125" y="233"/>
                </a:lnTo>
                <a:lnTo>
                  <a:pt x="135" y="228"/>
                </a:lnTo>
                <a:lnTo>
                  <a:pt x="145" y="218"/>
                </a:lnTo>
                <a:lnTo>
                  <a:pt x="145" y="204"/>
                </a:lnTo>
                <a:lnTo>
                  <a:pt x="145" y="195"/>
                </a:lnTo>
                <a:lnTo>
                  <a:pt x="145" y="184"/>
                </a:lnTo>
                <a:lnTo>
                  <a:pt x="155" y="175"/>
                </a:lnTo>
                <a:lnTo>
                  <a:pt x="164" y="165"/>
                </a:lnTo>
                <a:lnTo>
                  <a:pt x="179" y="165"/>
                </a:lnTo>
                <a:lnTo>
                  <a:pt x="199" y="175"/>
                </a:lnTo>
                <a:lnTo>
                  <a:pt x="220" y="175"/>
                </a:lnTo>
                <a:lnTo>
                  <a:pt x="225" y="175"/>
                </a:lnTo>
                <a:lnTo>
                  <a:pt x="229" y="169"/>
                </a:lnTo>
                <a:lnTo>
                  <a:pt x="229" y="156"/>
                </a:lnTo>
                <a:lnTo>
                  <a:pt x="229" y="141"/>
                </a:lnTo>
                <a:lnTo>
                  <a:pt x="229" y="135"/>
                </a:lnTo>
                <a:lnTo>
                  <a:pt x="240" y="127"/>
                </a:lnTo>
                <a:lnTo>
                  <a:pt x="264" y="107"/>
                </a:lnTo>
                <a:lnTo>
                  <a:pt x="294" y="88"/>
                </a:lnTo>
                <a:lnTo>
                  <a:pt x="304" y="78"/>
                </a:lnTo>
                <a:lnTo>
                  <a:pt x="309" y="73"/>
                </a:lnTo>
                <a:lnTo>
                  <a:pt x="314" y="63"/>
                </a:lnTo>
                <a:lnTo>
                  <a:pt x="319" y="43"/>
                </a:lnTo>
                <a:lnTo>
                  <a:pt x="323" y="24"/>
                </a:lnTo>
                <a:lnTo>
                  <a:pt x="338" y="14"/>
                </a:lnTo>
                <a:lnTo>
                  <a:pt x="358" y="14"/>
                </a:lnTo>
                <a:lnTo>
                  <a:pt x="384" y="19"/>
                </a:lnTo>
                <a:lnTo>
                  <a:pt x="408" y="24"/>
                </a:lnTo>
                <a:lnTo>
                  <a:pt x="423" y="24"/>
                </a:lnTo>
                <a:lnTo>
                  <a:pt x="438" y="19"/>
                </a:lnTo>
                <a:lnTo>
                  <a:pt x="458" y="19"/>
                </a:lnTo>
                <a:lnTo>
                  <a:pt x="478" y="19"/>
                </a:lnTo>
                <a:lnTo>
                  <a:pt x="493" y="24"/>
                </a:lnTo>
                <a:lnTo>
                  <a:pt x="503" y="24"/>
                </a:lnTo>
                <a:lnTo>
                  <a:pt x="513" y="14"/>
                </a:lnTo>
                <a:lnTo>
                  <a:pt x="523" y="9"/>
                </a:lnTo>
                <a:lnTo>
                  <a:pt x="538" y="5"/>
                </a:lnTo>
                <a:lnTo>
                  <a:pt x="552" y="0"/>
                </a:lnTo>
                <a:lnTo>
                  <a:pt x="563" y="0"/>
                </a:lnTo>
                <a:lnTo>
                  <a:pt x="567" y="5"/>
                </a:lnTo>
                <a:lnTo>
                  <a:pt x="573" y="14"/>
                </a:lnTo>
                <a:lnTo>
                  <a:pt x="578" y="34"/>
                </a:lnTo>
                <a:lnTo>
                  <a:pt x="578" y="58"/>
                </a:lnTo>
                <a:lnTo>
                  <a:pt x="578" y="82"/>
                </a:lnTo>
                <a:lnTo>
                  <a:pt x="578" y="102"/>
                </a:lnTo>
                <a:lnTo>
                  <a:pt x="578" y="112"/>
                </a:lnTo>
                <a:lnTo>
                  <a:pt x="578" y="122"/>
                </a:lnTo>
                <a:lnTo>
                  <a:pt x="578" y="127"/>
                </a:lnTo>
                <a:lnTo>
                  <a:pt x="578" y="131"/>
                </a:lnTo>
                <a:lnTo>
                  <a:pt x="578" y="135"/>
                </a:lnTo>
                <a:lnTo>
                  <a:pt x="587" y="135"/>
                </a:lnTo>
                <a:lnTo>
                  <a:pt x="602" y="135"/>
                </a:lnTo>
                <a:lnTo>
                  <a:pt x="622" y="131"/>
                </a:lnTo>
                <a:lnTo>
                  <a:pt x="652" y="127"/>
                </a:lnTo>
                <a:lnTo>
                  <a:pt x="662" y="127"/>
                </a:lnTo>
                <a:lnTo>
                  <a:pt x="678" y="127"/>
                </a:lnTo>
                <a:lnTo>
                  <a:pt x="687" y="127"/>
                </a:lnTo>
                <a:lnTo>
                  <a:pt x="702" y="141"/>
                </a:lnTo>
                <a:lnTo>
                  <a:pt x="702" y="146"/>
                </a:lnTo>
                <a:lnTo>
                  <a:pt x="697" y="156"/>
                </a:lnTo>
                <a:close/>
              </a:path>
            </a:pathLst>
          </a:custGeom>
          <a:solidFill>
            <a:srgbClr val="BBE0E3"/>
          </a:solidFill>
          <a:ln w="9525">
            <a:solidFill>
              <a:schemeClr val="bg1"/>
            </a:solidFill>
            <a:round/>
            <a:headEnd/>
            <a:tailEnd/>
          </a:ln>
        </p:spPr>
        <p:txBody>
          <a:bodyPr/>
          <a:lstStyle/>
          <a:p>
            <a:endParaRPr lang="ro-RO"/>
          </a:p>
        </p:txBody>
      </p:sp>
      <p:sp>
        <p:nvSpPr>
          <p:cNvPr id="12339" name="Freeform 49"/>
          <p:cNvSpPr>
            <a:spLocks noEditPoints="1"/>
          </p:cNvSpPr>
          <p:nvPr/>
        </p:nvSpPr>
        <p:spPr bwMode="auto">
          <a:xfrm>
            <a:off x="2522538" y="3014663"/>
            <a:ext cx="908050" cy="779462"/>
          </a:xfrm>
          <a:custGeom>
            <a:avLst/>
            <a:gdLst>
              <a:gd name="T0" fmla="*/ 2147483647 w 2224"/>
              <a:gd name="T1" fmla="*/ 2147483647 h 1777"/>
              <a:gd name="T2" fmla="*/ 2147483647 w 2224"/>
              <a:gd name="T3" fmla="*/ 2147483647 h 1777"/>
              <a:gd name="T4" fmla="*/ 2147483647 w 2224"/>
              <a:gd name="T5" fmla="*/ 2147483647 h 1777"/>
              <a:gd name="T6" fmla="*/ 2147483647 w 2224"/>
              <a:gd name="T7" fmla="*/ 2147483647 h 1777"/>
              <a:gd name="T8" fmla="*/ 2147483647 w 2224"/>
              <a:gd name="T9" fmla="*/ 2147483647 h 1777"/>
              <a:gd name="T10" fmla="*/ 2147483647 w 2224"/>
              <a:gd name="T11" fmla="*/ 2147483647 h 1777"/>
              <a:gd name="T12" fmla="*/ 2147483647 w 2224"/>
              <a:gd name="T13" fmla="*/ 2147483647 h 1777"/>
              <a:gd name="T14" fmla="*/ 2147483647 w 2224"/>
              <a:gd name="T15" fmla="*/ 2147483647 h 1777"/>
              <a:gd name="T16" fmla="*/ 2147483647 w 2224"/>
              <a:gd name="T17" fmla="*/ 2147483647 h 1777"/>
              <a:gd name="T18" fmla="*/ 2147483647 w 2224"/>
              <a:gd name="T19" fmla="*/ 2147483647 h 1777"/>
              <a:gd name="T20" fmla="*/ 2147483647 w 2224"/>
              <a:gd name="T21" fmla="*/ 2147483647 h 1777"/>
              <a:gd name="T22" fmla="*/ 2147483647 w 2224"/>
              <a:gd name="T23" fmla="*/ 2147483647 h 1777"/>
              <a:gd name="T24" fmla="*/ 2147483647 w 2224"/>
              <a:gd name="T25" fmla="*/ 2147483647 h 1777"/>
              <a:gd name="T26" fmla="*/ 0 w 2224"/>
              <a:gd name="T27" fmla="*/ 2147483647 h 1777"/>
              <a:gd name="T28" fmla="*/ 2147483647 w 2224"/>
              <a:gd name="T29" fmla="*/ 2147483647 h 1777"/>
              <a:gd name="T30" fmla="*/ 2147483647 w 2224"/>
              <a:gd name="T31" fmla="*/ 2147483647 h 1777"/>
              <a:gd name="T32" fmla="*/ 2147483647 w 2224"/>
              <a:gd name="T33" fmla="*/ 2147483647 h 1777"/>
              <a:gd name="T34" fmla="*/ 2147483647 w 2224"/>
              <a:gd name="T35" fmla="*/ 2147483647 h 1777"/>
              <a:gd name="T36" fmla="*/ 2147483647 w 2224"/>
              <a:gd name="T37" fmla="*/ 2147483647 h 1777"/>
              <a:gd name="T38" fmla="*/ 2147483647 w 2224"/>
              <a:gd name="T39" fmla="*/ 2147483647 h 1777"/>
              <a:gd name="T40" fmla="*/ 2147483647 w 2224"/>
              <a:gd name="T41" fmla="*/ 2147483647 h 1777"/>
              <a:gd name="T42" fmla="*/ 2147483647 w 2224"/>
              <a:gd name="T43" fmla="*/ 2147483647 h 1777"/>
              <a:gd name="T44" fmla="*/ 2147483647 w 2224"/>
              <a:gd name="T45" fmla="*/ 2147483647 h 1777"/>
              <a:gd name="T46" fmla="*/ 2147483647 w 2224"/>
              <a:gd name="T47" fmla="*/ 2147483647 h 1777"/>
              <a:gd name="T48" fmla="*/ 2147483647 w 2224"/>
              <a:gd name="T49" fmla="*/ 2147483647 h 1777"/>
              <a:gd name="T50" fmla="*/ 2147483647 w 2224"/>
              <a:gd name="T51" fmla="*/ 2147483647 h 1777"/>
              <a:gd name="T52" fmla="*/ 2147483647 w 2224"/>
              <a:gd name="T53" fmla="*/ 2147483647 h 1777"/>
              <a:gd name="T54" fmla="*/ 2147483647 w 2224"/>
              <a:gd name="T55" fmla="*/ 2147483647 h 1777"/>
              <a:gd name="T56" fmla="*/ 2147483647 w 2224"/>
              <a:gd name="T57" fmla="*/ 2147483647 h 1777"/>
              <a:gd name="T58" fmla="*/ 2147483647 w 2224"/>
              <a:gd name="T59" fmla="*/ 2147483647 h 1777"/>
              <a:gd name="T60" fmla="*/ 2147483647 w 2224"/>
              <a:gd name="T61" fmla="*/ 2147483647 h 1777"/>
              <a:gd name="T62" fmla="*/ 2147483647 w 2224"/>
              <a:gd name="T63" fmla="*/ 2147483647 h 1777"/>
              <a:gd name="T64" fmla="*/ 2147483647 w 2224"/>
              <a:gd name="T65" fmla="*/ 2147483647 h 1777"/>
              <a:gd name="T66" fmla="*/ 2147483647 w 2224"/>
              <a:gd name="T67" fmla="*/ 2147483647 h 1777"/>
              <a:gd name="T68" fmla="*/ 2147483647 w 2224"/>
              <a:gd name="T69" fmla="*/ 2147483647 h 1777"/>
              <a:gd name="T70" fmla="*/ 2147483647 w 2224"/>
              <a:gd name="T71" fmla="*/ 2147483647 h 1777"/>
              <a:gd name="T72" fmla="*/ 2147483647 w 2224"/>
              <a:gd name="T73" fmla="*/ 2147483647 h 1777"/>
              <a:gd name="T74" fmla="*/ 2147483647 w 2224"/>
              <a:gd name="T75" fmla="*/ 2147483647 h 1777"/>
              <a:gd name="T76" fmla="*/ 2147483647 w 2224"/>
              <a:gd name="T77" fmla="*/ 2147483647 h 1777"/>
              <a:gd name="T78" fmla="*/ 2147483647 w 2224"/>
              <a:gd name="T79" fmla="*/ 2147483647 h 1777"/>
              <a:gd name="T80" fmla="*/ 2147483647 w 2224"/>
              <a:gd name="T81" fmla="*/ 2147483647 h 1777"/>
              <a:gd name="T82" fmla="*/ 2147483647 w 2224"/>
              <a:gd name="T83" fmla="*/ 2147483647 h 1777"/>
              <a:gd name="T84" fmla="*/ 2147483647 w 2224"/>
              <a:gd name="T85" fmla="*/ 2147483647 h 1777"/>
              <a:gd name="T86" fmla="*/ 2147483647 w 2224"/>
              <a:gd name="T87" fmla="*/ 2147483647 h 1777"/>
              <a:gd name="T88" fmla="*/ 2147483647 w 2224"/>
              <a:gd name="T89" fmla="*/ 2147483647 h 1777"/>
              <a:gd name="T90" fmla="*/ 2147483647 w 2224"/>
              <a:gd name="T91" fmla="*/ 2147483647 h 1777"/>
              <a:gd name="T92" fmla="*/ 2147483647 w 2224"/>
              <a:gd name="T93" fmla="*/ 2147483647 h 1777"/>
              <a:gd name="T94" fmla="*/ 2147483647 w 2224"/>
              <a:gd name="T95" fmla="*/ 2147483647 h 1777"/>
              <a:gd name="T96" fmla="*/ 2147483647 w 2224"/>
              <a:gd name="T97" fmla="*/ 2147483647 h 1777"/>
              <a:gd name="T98" fmla="*/ 2147483647 w 2224"/>
              <a:gd name="T99" fmla="*/ 2147483647 h 1777"/>
              <a:gd name="T100" fmla="*/ 2147483647 w 2224"/>
              <a:gd name="T101" fmla="*/ 2147483647 h 1777"/>
              <a:gd name="T102" fmla="*/ 2147483647 w 2224"/>
              <a:gd name="T103" fmla="*/ 2147483647 h 1777"/>
              <a:gd name="T104" fmla="*/ 2147483647 w 2224"/>
              <a:gd name="T105" fmla="*/ 2147483647 h 1777"/>
              <a:gd name="T106" fmla="*/ 2147483647 w 2224"/>
              <a:gd name="T107" fmla="*/ 2147483647 h 1777"/>
              <a:gd name="T108" fmla="*/ 2147483647 w 2224"/>
              <a:gd name="T109" fmla="*/ 2147483647 h 1777"/>
              <a:gd name="T110" fmla="*/ 2147483647 w 2224"/>
              <a:gd name="T111" fmla="*/ 2147483647 h 1777"/>
              <a:gd name="T112" fmla="*/ 2147483647 w 2224"/>
              <a:gd name="T113" fmla="*/ 2147483647 h 1777"/>
              <a:gd name="T114" fmla="*/ 2147483647 w 2224"/>
              <a:gd name="T115" fmla="*/ 2147483647 h 177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24"/>
              <a:gd name="T175" fmla="*/ 0 h 1777"/>
              <a:gd name="T176" fmla="*/ 2224 w 2224"/>
              <a:gd name="T177" fmla="*/ 1777 h 177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24" h="1777">
                <a:moveTo>
                  <a:pt x="2209" y="502"/>
                </a:moveTo>
                <a:cubicBezTo>
                  <a:pt x="2208" y="503"/>
                  <a:pt x="2207" y="505"/>
                  <a:pt x="2206" y="505"/>
                </a:cubicBezTo>
                <a:lnTo>
                  <a:pt x="2158" y="534"/>
                </a:lnTo>
                <a:lnTo>
                  <a:pt x="2096" y="566"/>
                </a:lnTo>
                <a:lnTo>
                  <a:pt x="2033" y="595"/>
                </a:lnTo>
                <a:lnTo>
                  <a:pt x="2036" y="594"/>
                </a:lnTo>
                <a:lnTo>
                  <a:pt x="2017" y="612"/>
                </a:lnTo>
                <a:lnTo>
                  <a:pt x="2019" y="610"/>
                </a:lnTo>
                <a:lnTo>
                  <a:pt x="1957" y="717"/>
                </a:lnTo>
                <a:cubicBezTo>
                  <a:pt x="1955" y="720"/>
                  <a:pt x="1952" y="721"/>
                  <a:pt x="1950" y="721"/>
                </a:cubicBezTo>
                <a:lnTo>
                  <a:pt x="1935" y="721"/>
                </a:lnTo>
                <a:lnTo>
                  <a:pt x="1920" y="721"/>
                </a:lnTo>
                <a:lnTo>
                  <a:pt x="1887" y="721"/>
                </a:lnTo>
                <a:lnTo>
                  <a:pt x="1893" y="719"/>
                </a:lnTo>
                <a:lnTo>
                  <a:pt x="1860" y="748"/>
                </a:lnTo>
                <a:lnTo>
                  <a:pt x="1862" y="744"/>
                </a:lnTo>
                <a:lnTo>
                  <a:pt x="1848" y="791"/>
                </a:lnTo>
                <a:lnTo>
                  <a:pt x="1848" y="786"/>
                </a:lnTo>
                <a:lnTo>
                  <a:pt x="1862" y="832"/>
                </a:lnTo>
                <a:lnTo>
                  <a:pt x="1861" y="830"/>
                </a:lnTo>
                <a:lnTo>
                  <a:pt x="1880" y="859"/>
                </a:lnTo>
                <a:cubicBezTo>
                  <a:pt x="1880" y="860"/>
                  <a:pt x="1881" y="862"/>
                  <a:pt x="1881" y="863"/>
                </a:cubicBezTo>
                <a:lnTo>
                  <a:pt x="1881" y="896"/>
                </a:lnTo>
                <a:lnTo>
                  <a:pt x="1881" y="942"/>
                </a:lnTo>
                <a:cubicBezTo>
                  <a:pt x="1881" y="943"/>
                  <a:pt x="1881" y="944"/>
                  <a:pt x="1880" y="945"/>
                </a:cubicBezTo>
                <a:lnTo>
                  <a:pt x="1862" y="992"/>
                </a:lnTo>
                <a:cubicBezTo>
                  <a:pt x="1862" y="993"/>
                  <a:pt x="1861" y="994"/>
                  <a:pt x="1860" y="994"/>
                </a:cubicBezTo>
                <a:lnTo>
                  <a:pt x="1846" y="1009"/>
                </a:lnTo>
                <a:lnTo>
                  <a:pt x="1831" y="1023"/>
                </a:lnTo>
                <a:lnTo>
                  <a:pt x="1817" y="1040"/>
                </a:lnTo>
                <a:cubicBezTo>
                  <a:pt x="1817" y="1041"/>
                  <a:pt x="1816" y="1041"/>
                  <a:pt x="1816" y="1041"/>
                </a:cubicBezTo>
                <a:lnTo>
                  <a:pt x="1783" y="1070"/>
                </a:lnTo>
                <a:lnTo>
                  <a:pt x="1785" y="1067"/>
                </a:lnTo>
                <a:lnTo>
                  <a:pt x="1752" y="1146"/>
                </a:lnTo>
                <a:lnTo>
                  <a:pt x="1753" y="1142"/>
                </a:lnTo>
                <a:lnTo>
                  <a:pt x="1753" y="1246"/>
                </a:lnTo>
                <a:lnTo>
                  <a:pt x="1753" y="1244"/>
                </a:lnTo>
                <a:lnTo>
                  <a:pt x="1785" y="1351"/>
                </a:lnTo>
                <a:lnTo>
                  <a:pt x="1800" y="1431"/>
                </a:lnTo>
                <a:cubicBezTo>
                  <a:pt x="1800" y="1431"/>
                  <a:pt x="1800" y="1432"/>
                  <a:pt x="1800" y="1432"/>
                </a:cubicBezTo>
                <a:lnTo>
                  <a:pt x="1800" y="1479"/>
                </a:lnTo>
                <a:lnTo>
                  <a:pt x="1800" y="1493"/>
                </a:lnTo>
                <a:cubicBezTo>
                  <a:pt x="1800" y="1495"/>
                  <a:pt x="1800" y="1497"/>
                  <a:pt x="1798" y="1499"/>
                </a:cubicBezTo>
                <a:lnTo>
                  <a:pt x="1783" y="1513"/>
                </a:lnTo>
                <a:cubicBezTo>
                  <a:pt x="1783" y="1514"/>
                  <a:pt x="1782" y="1514"/>
                  <a:pt x="1782" y="1514"/>
                </a:cubicBezTo>
                <a:lnTo>
                  <a:pt x="1749" y="1532"/>
                </a:lnTo>
                <a:cubicBezTo>
                  <a:pt x="1748" y="1533"/>
                  <a:pt x="1747" y="1533"/>
                  <a:pt x="1747" y="1533"/>
                </a:cubicBezTo>
                <a:lnTo>
                  <a:pt x="1685" y="1547"/>
                </a:lnTo>
                <a:cubicBezTo>
                  <a:pt x="1684" y="1547"/>
                  <a:pt x="1683" y="1548"/>
                  <a:pt x="1683" y="1548"/>
                </a:cubicBezTo>
                <a:lnTo>
                  <a:pt x="1606" y="1548"/>
                </a:lnTo>
                <a:lnTo>
                  <a:pt x="1608" y="1547"/>
                </a:lnTo>
                <a:lnTo>
                  <a:pt x="1561" y="1562"/>
                </a:lnTo>
                <a:lnTo>
                  <a:pt x="1566" y="1557"/>
                </a:lnTo>
                <a:lnTo>
                  <a:pt x="1551" y="1589"/>
                </a:lnTo>
                <a:cubicBezTo>
                  <a:pt x="1550" y="1592"/>
                  <a:pt x="1547" y="1594"/>
                  <a:pt x="1544" y="1594"/>
                </a:cubicBezTo>
                <a:lnTo>
                  <a:pt x="1529" y="1594"/>
                </a:lnTo>
                <a:cubicBezTo>
                  <a:pt x="1528" y="1594"/>
                  <a:pt x="1527" y="1594"/>
                  <a:pt x="1525" y="1593"/>
                </a:cubicBezTo>
                <a:lnTo>
                  <a:pt x="1492" y="1575"/>
                </a:lnTo>
                <a:lnTo>
                  <a:pt x="1496" y="1576"/>
                </a:lnTo>
                <a:lnTo>
                  <a:pt x="1449" y="1576"/>
                </a:lnTo>
                <a:lnTo>
                  <a:pt x="1451" y="1576"/>
                </a:lnTo>
                <a:lnTo>
                  <a:pt x="1389" y="1594"/>
                </a:lnTo>
                <a:cubicBezTo>
                  <a:pt x="1388" y="1594"/>
                  <a:pt x="1388" y="1594"/>
                  <a:pt x="1387" y="1594"/>
                </a:cubicBezTo>
                <a:lnTo>
                  <a:pt x="1245" y="1608"/>
                </a:lnTo>
                <a:lnTo>
                  <a:pt x="1200" y="1608"/>
                </a:lnTo>
                <a:lnTo>
                  <a:pt x="1205" y="1607"/>
                </a:lnTo>
                <a:lnTo>
                  <a:pt x="1157" y="1639"/>
                </a:lnTo>
                <a:cubicBezTo>
                  <a:pt x="1157" y="1639"/>
                  <a:pt x="1156" y="1640"/>
                  <a:pt x="1156" y="1640"/>
                </a:cubicBezTo>
                <a:lnTo>
                  <a:pt x="1061" y="1683"/>
                </a:lnTo>
                <a:lnTo>
                  <a:pt x="950" y="1715"/>
                </a:lnTo>
                <a:lnTo>
                  <a:pt x="873" y="1730"/>
                </a:lnTo>
                <a:cubicBezTo>
                  <a:pt x="872" y="1730"/>
                  <a:pt x="872" y="1730"/>
                  <a:pt x="871" y="1730"/>
                </a:cubicBezTo>
                <a:lnTo>
                  <a:pt x="776" y="1730"/>
                </a:lnTo>
                <a:lnTo>
                  <a:pt x="699" y="1730"/>
                </a:lnTo>
                <a:lnTo>
                  <a:pt x="634" y="1730"/>
                </a:lnTo>
                <a:lnTo>
                  <a:pt x="557" y="1730"/>
                </a:lnTo>
                <a:lnTo>
                  <a:pt x="509" y="1730"/>
                </a:lnTo>
                <a:cubicBezTo>
                  <a:pt x="509" y="1730"/>
                  <a:pt x="508" y="1730"/>
                  <a:pt x="507" y="1730"/>
                </a:cubicBezTo>
                <a:lnTo>
                  <a:pt x="459" y="1715"/>
                </a:lnTo>
                <a:lnTo>
                  <a:pt x="412" y="1701"/>
                </a:lnTo>
                <a:lnTo>
                  <a:pt x="414" y="1701"/>
                </a:lnTo>
                <a:lnTo>
                  <a:pt x="370" y="1701"/>
                </a:lnTo>
                <a:lnTo>
                  <a:pt x="337" y="1701"/>
                </a:lnTo>
                <a:lnTo>
                  <a:pt x="341" y="1701"/>
                </a:lnTo>
                <a:lnTo>
                  <a:pt x="279" y="1729"/>
                </a:lnTo>
                <a:cubicBezTo>
                  <a:pt x="278" y="1729"/>
                  <a:pt x="278" y="1730"/>
                  <a:pt x="278" y="1730"/>
                </a:cubicBezTo>
                <a:lnTo>
                  <a:pt x="215" y="1748"/>
                </a:lnTo>
                <a:lnTo>
                  <a:pt x="168" y="1762"/>
                </a:lnTo>
                <a:cubicBezTo>
                  <a:pt x="167" y="1762"/>
                  <a:pt x="166" y="1762"/>
                  <a:pt x="166" y="1762"/>
                </a:cubicBezTo>
                <a:lnTo>
                  <a:pt x="151" y="1762"/>
                </a:lnTo>
                <a:lnTo>
                  <a:pt x="156" y="1760"/>
                </a:lnTo>
                <a:lnTo>
                  <a:pt x="138" y="1775"/>
                </a:lnTo>
                <a:cubicBezTo>
                  <a:pt x="136" y="1776"/>
                  <a:pt x="133" y="1777"/>
                  <a:pt x="131" y="1776"/>
                </a:cubicBezTo>
                <a:cubicBezTo>
                  <a:pt x="129" y="1776"/>
                  <a:pt x="127" y="1774"/>
                  <a:pt x="126" y="1772"/>
                </a:cubicBezTo>
                <a:lnTo>
                  <a:pt x="111" y="1743"/>
                </a:lnTo>
                <a:lnTo>
                  <a:pt x="113" y="1746"/>
                </a:lnTo>
                <a:lnTo>
                  <a:pt x="65" y="1699"/>
                </a:lnTo>
                <a:cubicBezTo>
                  <a:pt x="64" y="1698"/>
                  <a:pt x="64" y="1697"/>
                  <a:pt x="63" y="1696"/>
                </a:cubicBezTo>
                <a:lnTo>
                  <a:pt x="34" y="1617"/>
                </a:lnTo>
                <a:cubicBezTo>
                  <a:pt x="34" y="1617"/>
                  <a:pt x="33" y="1616"/>
                  <a:pt x="33" y="1615"/>
                </a:cubicBezTo>
                <a:lnTo>
                  <a:pt x="33" y="1568"/>
                </a:lnTo>
                <a:cubicBezTo>
                  <a:pt x="33" y="1567"/>
                  <a:pt x="34" y="1565"/>
                  <a:pt x="35" y="1564"/>
                </a:cubicBezTo>
                <a:lnTo>
                  <a:pt x="64" y="1521"/>
                </a:lnTo>
                <a:lnTo>
                  <a:pt x="63" y="1525"/>
                </a:lnTo>
                <a:lnTo>
                  <a:pt x="63" y="1461"/>
                </a:lnTo>
                <a:lnTo>
                  <a:pt x="63" y="1463"/>
                </a:lnTo>
                <a:lnTo>
                  <a:pt x="48" y="1402"/>
                </a:lnTo>
                <a:lnTo>
                  <a:pt x="51" y="1406"/>
                </a:lnTo>
                <a:lnTo>
                  <a:pt x="18" y="1377"/>
                </a:lnTo>
                <a:cubicBezTo>
                  <a:pt x="17" y="1377"/>
                  <a:pt x="16" y="1376"/>
                  <a:pt x="16" y="1375"/>
                </a:cubicBezTo>
                <a:lnTo>
                  <a:pt x="1" y="1343"/>
                </a:lnTo>
                <a:cubicBezTo>
                  <a:pt x="1" y="1341"/>
                  <a:pt x="0" y="1340"/>
                  <a:pt x="0" y="1339"/>
                </a:cubicBezTo>
                <a:lnTo>
                  <a:pt x="0" y="1293"/>
                </a:lnTo>
                <a:lnTo>
                  <a:pt x="0" y="1246"/>
                </a:lnTo>
                <a:cubicBezTo>
                  <a:pt x="0" y="1244"/>
                  <a:pt x="1" y="1243"/>
                  <a:pt x="2" y="1241"/>
                </a:cubicBezTo>
                <a:lnTo>
                  <a:pt x="35" y="1198"/>
                </a:lnTo>
                <a:lnTo>
                  <a:pt x="64" y="1152"/>
                </a:lnTo>
                <a:lnTo>
                  <a:pt x="63" y="1157"/>
                </a:lnTo>
                <a:lnTo>
                  <a:pt x="63" y="1110"/>
                </a:lnTo>
                <a:lnTo>
                  <a:pt x="63" y="1078"/>
                </a:lnTo>
                <a:lnTo>
                  <a:pt x="63" y="1064"/>
                </a:lnTo>
                <a:cubicBezTo>
                  <a:pt x="63" y="1062"/>
                  <a:pt x="63" y="1061"/>
                  <a:pt x="64" y="1059"/>
                </a:cubicBezTo>
                <a:lnTo>
                  <a:pt x="82" y="1031"/>
                </a:lnTo>
                <a:cubicBezTo>
                  <a:pt x="83" y="1030"/>
                  <a:pt x="84" y="1029"/>
                  <a:pt x="85" y="1028"/>
                </a:cubicBezTo>
                <a:lnTo>
                  <a:pt x="114" y="1010"/>
                </a:lnTo>
                <a:cubicBezTo>
                  <a:pt x="115" y="1010"/>
                  <a:pt x="115" y="1010"/>
                  <a:pt x="116" y="1010"/>
                </a:cubicBezTo>
                <a:lnTo>
                  <a:pt x="163" y="995"/>
                </a:lnTo>
                <a:lnTo>
                  <a:pt x="162" y="996"/>
                </a:lnTo>
                <a:lnTo>
                  <a:pt x="224" y="964"/>
                </a:lnTo>
                <a:lnTo>
                  <a:pt x="221" y="966"/>
                </a:lnTo>
                <a:lnTo>
                  <a:pt x="269" y="905"/>
                </a:lnTo>
                <a:lnTo>
                  <a:pt x="298" y="859"/>
                </a:lnTo>
                <a:lnTo>
                  <a:pt x="316" y="830"/>
                </a:lnTo>
                <a:lnTo>
                  <a:pt x="315" y="835"/>
                </a:lnTo>
                <a:lnTo>
                  <a:pt x="315" y="820"/>
                </a:lnTo>
                <a:cubicBezTo>
                  <a:pt x="315" y="819"/>
                  <a:pt x="315" y="818"/>
                  <a:pt x="316" y="817"/>
                </a:cubicBezTo>
                <a:lnTo>
                  <a:pt x="330" y="785"/>
                </a:lnTo>
                <a:cubicBezTo>
                  <a:pt x="331" y="784"/>
                  <a:pt x="331" y="783"/>
                  <a:pt x="332" y="783"/>
                </a:cubicBezTo>
                <a:lnTo>
                  <a:pt x="365" y="750"/>
                </a:lnTo>
                <a:cubicBezTo>
                  <a:pt x="365" y="750"/>
                  <a:pt x="366" y="749"/>
                  <a:pt x="367" y="749"/>
                </a:cubicBezTo>
                <a:lnTo>
                  <a:pt x="396" y="735"/>
                </a:lnTo>
                <a:lnTo>
                  <a:pt x="429" y="720"/>
                </a:lnTo>
                <a:lnTo>
                  <a:pt x="427" y="722"/>
                </a:lnTo>
                <a:lnTo>
                  <a:pt x="456" y="690"/>
                </a:lnTo>
                <a:lnTo>
                  <a:pt x="454" y="695"/>
                </a:lnTo>
                <a:lnTo>
                  <a:pt x="454" y="649"/>
                </a:lnTo>
                <a:lnTo>
                  <a:pt x="454" y="620"/>
                </a:lnTo>
                <a:lnTo>
                  <a:pt x="454" y="588"/>
                </a:lnTo>
                <a:cubicBezTo>
                  <a:pt x="454" y="586"/>
                  <a:pt x="455" y="583"/>
                  <a:pt x="457" y="582"/>
                </a:cubicBezTo>
                <a:lnTo>
                  <a:pt x="489" y="553"/>
                </a:lnTo>
                <a:lnTo>
                  <a:pt x="518" y="522"/>
                </a:lnTo>
                <a:cubicBezTo>
                  <a:pt x="520" y="520"/>
                  <a:pt x="522" y="519"/>
                  <a:pt x="524" y="519"/>
                </a:cubicBezTo>
                <a:lnTo>
                  <a:pt x="571" y="519"/>
                </a:lnTo>
                <a:cubicBezTo>
                  <a:pt x="573" y="519"/>
                  <a:pt x="574" y="519"/>
                  <a:pt x="575" y="520"/>
                </a:cubicBezTo>
                <a:lnTo>
                  <a:pt x="637" y="552"/>
                </a:lnTo>
                <a:lnTo>
                  <a:pt x="634" y="551"/>
                </a:lnTo>
                <a:lnTo>
                  <a:pt x="699" y="551"/>
                </a:lnTo>
                <a:lnTo>
                  <a:pt x="714" y="551"/>
                </a:lnTo>
                <a:lnTo>
                  <a:pt x="708" y="554"/>
                </a:lnTo>
                <a:lnTo>
                  <a:pt x="722" y="536"/>
                </a:lnTo>
                <a:lnTo>
                  <a:pt x="721" y="541"/>
                </a:lnTo>
                <a:lnTo>
                  <a:pt x="721" y="499"/>
                </a:lnTo>
                <a:lnTo>
                  <a:pt x="721" y="452"/>
                </a:lnTo>
                <a:lnTo>
                  <a:pt x="721" y="434"/>
                </a:lnTo>
                <a:cubicBezTo>
                  <a:pt x="721" y="432"/>
                  <a:pt x="722" y="430"/>
                  <a:pt x="723" y="428"/>
                </a:cubicBezTo>
                <a:lnTo>
                  <a:pt x="756" y="399"/>
                </a:lnTo>
                <a:lnTo>
                  <a:pt x="833" y="338"/>
                </a:lnTo>
                <a:lnTo>
                  <a:pt x="929" y="277"/>
                </a:lnTo>
                <a:lnTo>
                  <a:pt x="927" y="279"/>
                </a:lnTo>
                <a:lnTo>
                  <a:pt x="957" y="246"/>
                </a:lnTo>
                <a:cubicBezTo>
                  <a:pt x="957" y="246"/>
                  <a:pt x="957" y="246"/>
                  <a:pt x="958" y="245"/>
                </a:cubicBezTo>
                <a:lnTo>
                  <a:pt x="976" y="231"/>
                </a:lnTo>
                <a:lnTo>
                  <a:pt x="974" y="234"/>
                </a:lnTo>
                <a:lnTo>
                  <a:pt x="988" y="202"/>
                </a:lnTo>
                <a:lnTo>
                  <a:pt x="988" y="203"/>
                </a:lnTo>
                <a:lnTo>
                  <a:pt x="1002" y="143"/>
                </a:lnTo>
                <a:lnTo>
                  <a:pt x="1017" y="82"/>
                </a:lnTo>
                <a:cubicBezTo>
                  <a:pt x="1017" y="80"/>
                  <a:pt x="1019" y="78"/>
                  <a:pt x="1020" y="77"/>
                </a:cubicBezTo>
                <a:lnTo>
                  <a:pt x="1068" y="45"/>
                </a:lnTo>
                <a:cubicBezTo>
                  <a:pt x="1069" y="44"/>
                  <a:pt x="1071" y="43"/>
                  <a:pt x="1072" y="43"/>
                </a:cubicBezTo>
                <a:lnTo>
                  <a:pt x="1134" y="43"/>
                </a:lnTo>
                <a:cubicBezTo>
                  <a:pt x="1135" y="43"/>
                  <a:pt x="1136" y="43"/>
                  <a:pt x="1136" y="44"/>
                </a:cubicBezTo>
                <a:lnTo>
                  <a:pt x="1217" y="61"/>
                </a:lnTo>
                <a:lnTo>
                  <a:pt x="1293" y="76"/>
                </a:lnTo>
                <a:lnTo>
                  <a:pt x="1292" y="76"/>
                </a:lnTo>
                <a:lnTo>
                  <a:pt x="1339" y="76"/>
                </a:lnTo>
                <a:lnTo>
                  <a:pt x="1337" y="76"/>
                </a:lnTo>
                <a:lnTo>
                  <a:pt x="1384" y="62"/>
                </a:lnTo>
                <a:cubicBezTo>
                  <a:pt x="1385" y="61"/>
                  <a:pt x="1386" y="61"/>
                  <a:pt x="1387" y="61"/>
                </a:cubicBezTo>
                <a:lnTo>
                  <a:pt x="1449" y="61"/>
                </a:lnTo>
                <a:lnTo>
                  <a:pt x="1511" y="61"/>
                </a:lnTo>
                <a:cubicBezTo>
                  <a:pt x="1512" y="61"/>
                  <a:pt x="1512" y="61"/>
                  <a:pt x="1513" y="62"/>
                </a:cubicBezTo>
                <a:lnTo>
                  <a:pt x="1561" y="76"/>
                </a:lnTo>
                <a:lnTo>
                  <a:pt x="1558" y="76"/>
                </a:lnTo>
                <a:lnTo>
                  <a:pt x="1591" y="76"/>
                </a:lnTo>
                <a:lnTo>
                  <a:pt x="1585" y="78"/>
                </a:lnTo>
                <a:lnTo>
                  <a:pt x="1615" y="46"/>
                </a:lnTo>
                <a:cubicBezTo>
                  <a:pt x="1615" y="45"/>
                  <a:pt x="1616" y="45"/>
                  <a:pt x="1617" y="44"/>
                </a:cubicBezTo>
                <a:lnTo>
                  <a:pt x="1650" y="30"/>
                </a:lnTo>
                <a:lnTo>
                  <a:pt x="1699" y="15"/>
                </a:lnTo>
                <a:lnTo>
                  <a:pt x="1742" y="1"/>
                </a:lnTo>
                <a:cubicBezTo>
                  <a:pt x="1743" y="1"/>
                  <a:pt x="1744" y="0"/>
                  <a:pt x="1745" y="0"/>
                </a:cubicBezTo>
                <a:lnTo>
                  <a:pt x="1778" y="0"/>
                </a:lnTo>
                <a:cubicBezTo>
                  <a:pt x="1780" y="0"/>
                  <a:pt x="1782" y="1"/>
                  <a:pt x="1783" y="3"/>
                </a:cubicBezTo>
                <a:lnTo>
                  <a:pt x="1798" y="17"/>
                </a:lnTo>
                <a:cubicBezTo>
                  <a:pt x="1798" y="17"/>
                  <a:pt x="1799" y="18"/>
                  <a:pt x="1799" y="18"/>
                </a:cubicBezTo>
                <a:lnTo>
                  <a:pt x="1817" y="47"/>
                </a:lnTo>
                <a:cubicBezTo>
                  <a:pt x="1818" y="48"/>
                  <a:pt x="1818" y="49"/>
                  <a:pt x="1819" y="50"/>
                </a:cubicBezTo>
                <a:lnTo>
                  <a:pt x="1833" y="114"/>
                </a:lnTo>
                <a:cubicBezTo>
                  <a:pt x="1833" y="115"/>
                  <a:pt x="1833" y="115"/>
                  <a:pt x="1833" y="116"/>
                </a:cubicBezTo>
                <a:lnTo>
                  <a:pt x="1833" y="191"/>
                </a:lnTo>
                <a:lnTo>
                  <a:pt x="1833" y="266"/>
                </a:lnTo>
                <a:lnTo>
                  <a:pt x="1833" y="330"/>
                </a:lnTo>
                <a:lnTo>
                  <a:pt x="1833" y="359"/>
                </a:lnTo>
                <a:lnTo>
                  <a:pt x="1833" y="391"/>
                </a:lnTo>
                <a:lnTo>
                  <a:pt x="1833" y="406"/>
                </a:lnTo>
                <a:lnTo>
                  <a:pt x="1833" y="420"/>
                </a:lnTo>
                <a:lnTo>
                  <a:pt x="1833" y="434"/>
                </a:lnTo>
                <a:lnTo>
                  <a:pt x="1825" y="426"/>
                </a:lnTo>
                <a:lnTo>
                  <a:pt x="1855" y="426"/>
                </a:lnTo>
                <a:lnTo>
                  <a:pt x="1902" y="426"/>
                </a:lnTo>
                <a:lnTo>
                  <a:pt x="1900" y="426"/>
                </a:lnTo>
                <a:lnTo>
                  <a:pt x="1962" y="412"/>
                </a:lnTo>
                <a:lnTo>
                  <a:pt x="2058" y="398"/>
                </a:lnTo>
                <a:cubicBezTo>
                  <a:pt x="2058" y="398"/>
                  <a:pt x="2059" y="398"/>
                  <a:pt x="2059" y="398"/>
                </a:cubicBezTo>
                <a:lnTo>
                  <a:pt x="2092" y="398"/>
                </a:lnTo>
                <a:lnTo>
                  <a:pt x="2140" y="398"/>
                </a:lnTo>
                <a:lnTo>
                  <a:pt x="2169" y="398"/>
                </a:lnTo>
                <a:cubicBezTo>
                  <a:pt x="2171" y="398"/>
                  <a:pt x="2173" y="398"/>
                  <a:pt x="2175" y="400"/>
                </a:cubicBezTo>
                <a:lnTo>
                  <a:pt x="2222" y="446"/>
                </a:lnTo>
                <a:cubicBezTo>
                  <a:pt x="2224" y="448"/>
                  <a:pt x="2224" y="450"/>
                  <a:pt x="2224" y="452"/>
                </a:cubicBezTo>
                <a:lnTo>
                  <a:pt x="2224" y="466"/>
                </a:lnTo>
                <a:cubicBezTo>
                  <a:pt x="2224" y="467"/>
                  <a:pt x="2224" y="469"/>
                  <a:pt x="2224" y="470"/>
                </a:cubicBezTo>
                <a:lnTo>
                  <a:pt x="2209" y="502"/>
                </a:lnTo>
                <a:close/>
                <a:moveTo>
                  <a:pt x="2209" y="463"/>
                </a:moveTo>
                <a:lnTo>
                  <a:pt x="2208" y="466"/>
                </a:lnTo>
                <a:lnTo>
                  <a:pt x="2208" y="452"/>
                </a:lnTo>
                <a:lnTo>
                  <a:pt x="2211" y="458"/>
                </a:lnTo>
                <a:lnTo>
                  <a:pt x="2163" y="411"/>
                </a:lnTo>
                <a:lnTo>
                  <a:pt x="2169" y="414"/>
                </a:lnTo>
                <a:lnTo>
                  <a:pt x="2140" y="414"/>
                </a:lnTo>
                <a:lnTo>
                  <a:pt x="2092" y="414"/>
                </a:lnTo>
                <a:lnTo>
                  <a:pt x="2059" y="414"/>
                </a:lnTo>
                <a:lnTo>
                  <a:pt x="2060" y="413"/>
                </a:lnTo>
                <a:lnTo>
                  <a:pt x="1966" y="428"/>
                </a:lnTo>
                <a:lnTo>
                  <a:pt x="1904" y="442"/>
                </a:lnTo>
                <a:cubicBezTo>
                  <a:pt x="1903" y="442"/>
                  <a:pt x="1903" y="442"/>
                  <a:pt x="1902" y="442"/>
                </a:cubicBezTo>
                <a:lnTo>
                  <a:pt x="1855" y="442"/>
                </a:lnTo>
                <a:lnTo>
                  <a:pt x="1825" y="442"/>
                </a:lnTo>
                <a:cubicBezTo>
                  <a:pt x="1821" y="442"/>
                  <a:pt x="1817" y="439"/>
                  <a:pt x="1817" y="434"/>
                </a:cubicBezTo>
                <a:lnTo>
                  <a:pt x="1817" y="420"/>
                </a:lnTo>
                <a:lnTo>
                  <a:pt x="1817" y="406"/>
                </a:lnTo>
                <a:lnTo>
                  <a:pt x="1817" y="391"/>
                </a:lnTo>
                <a:lnTo>
                  <a:pt x="1817" y="359"/>
                </a:lnTo>
                <a:lnTo>
                  <a:pt x="1817" y="330"/>
                </a:lnTo>
                <a:lnTo>
                  <a:pt x="1817" y="266"/>
                </a:lnTo>
                <a:lnTo>
                  <a:pt x="1817" y="191"/>
                </a:lnTo>
                <a:lnTo>
                  <a:pt x="1817" y="116"/>
                </a:lnTo>
                <a:lnTo>
                  <a:pt x="1818" y="118"/>
                </a:lnTo>
                <a:lnTo>
                  <a:pt x="1803" y="53"/>
                </a:lnTo>
                <a:lnTo>
                  <a:pt x="1804" y="56"/>
                </a:lnTo>
                <a:lnTo>
                  <a:pt x="1786" y="27"/>
                </a:lnTo>
                <a:lnTo>
                  <a:pt x="1787" y="29"/>
                </a:lnTo>
                <a:lnTo>
                  <a:pt x="1772" y="14"/>
                </a:lnTo>
                <a:lnTo>
                  <a:pt x="1778" y="16"/>
                </a:lnTo>
                <a:lnTo>
                  <a:pt x="1745" y="16"/>
                </a:lnTo>
                <a:lnTo>
                  <a:pt x="1747" y="16"/>
                </a:lnTo>
                <a:lnTo>
                  <a:pt x="1703" y="30"/>
                </a:lnTo>
                <a:lnTo>
                  <a:pt x="1657" y="44"/>
                </a:lnTo>
                <a:lnTo>
                  <a:pt x="1624" y="59"/>
                </a:lnTo>
                <a:lnTo>
                  <a:pt x="1627" y="57"/>
                </a:lnTo>
                <a:lnTo>
                  <a:pt x="1597" y="89"/>
                </a:lnTo>
                <a:cubicBezTo>
                  <a:pt x="1596" y="91"/>
                  <a:pt x="1594" y="92"/>
                  <a:pt x="1591" y="92"/>
                </a:cubicBezTo>
                <a:lnTo>
                  <a:pt x="1558" y="92"/>
                </a:lnTo>
                <a:cubicBezTo>
                  <a:pt x="1558" y="92"/>
                  <a:pt x="1557" y="91"/>
                  <a:pt x="1556" y="91"/>
                </a:cubicBezTo>
                <a:lnTo>
                  <a:pt x="1509" y="77"/>
                </a:lnTo>
                <a:lnTo>
                  <a:pt x="1511" y="77"/>
                </a:lnTo>
                <a:lnTo>
                  <a:pt x="1449" y="77"/>
                </a:lnTo>
                <a:lnTo>
                  <a:pt x="1387" y="77"/>
                </a:lnTo>
                <a:lnTo>
                  <a:pt x="1389" y="77"/>
                </a:lnTo>
                <a:lnTo>
                  <a:pt x="1341" y="91"/>
                </a:lnTo>
                <a:cubicBezTo>
                  <a:pt x="1341" y="91"/>
                  <a:pt x="1340" y="92"/>
                  <a:pt x="1339" y="92"/>
                </a:cubicBezTo>
                <a:lnTo>
                  <a:pt x="1292" y="92"/>
                </a:lnTo>
                <a:cubicBezTo>
                  <a:pt x="1291" y="92"/>
                  <a:pt x="1291" y="92"/>
                  <a:pt x="1290" y="91"/>
                </a:cubicBezTo>
                <a:lnTo>
                  <a:pt x="1213" y="77"/>
                </a:lnTo>
                <a:lnTo>
                  <a:pt x="1133" y="59"/>
                </a:lnTo>
                <a:lnTo>
                  <a:pt x="1134" y="59"/>
                </a:lnTo>
                <a:lnTo>
                  <a:pt x="1072" y="59"/>
                </a:lnTo>
                <a:lnTo>
                  <a:pt x="1077" y="58"/>
                </a:lnTo>
                <a:lnTo>
                  <a:pt x="1029" y="90"/>
                </a:lnTo>
                <a:lnTo>
                  <a:pt x="1033" y="85"/>
                </a:lnTo>
                <a:lnTo>
                  <a:pt x="1018" y="146"/>
                </a:lnTo>
                <a:lnTo>
                  <a:pt x="1003" y="207"/>
                </a:lnTo>
                <a:cubicBezTo>
                  <a:pt x="1003" y="208"/>
                  <a:pt x="1003" y="208"/>
                  <a:pt x="1003" y="209"/>
                </a:cubicBezTo>
                <a:lnTo>
                  <a:pt x="988" y="241"/>
                </a:lnTo>
                <a:cubicBezTo>
                  <a:pt x="988" y="242"/>
                  <a:pt x="987" y="243"/>
                  <a:pt x="986" y="244"/>
                </a:cubicBezTo>
                <a:lnTo>
                  <a:pt x="968" y="258"/>
                </a:lnTo>
                <a:lnTo>
                  <a:pt x="969" y="257"/>
                </a:lnTo>
                <a:lnTo>
                  <a:pt x="939" y="289"/>
                </a:lnTo>
                <a:cubicBezTo>
                  <a:pt x="939" y="290"/>
                  <a:pt x="938" y="290"/>
                  <a:pt x="938" y="291"/>
                </a:cubicBezTo>
                <a:lnTo>
                  <a:pt x="843" y="351"/>
                </a:lnTo>
                <a:lnTo>
                  <a:pt x="767" y="412"/>
                </a:lnTo>
                <a:lnTo>
                  <a:pt x="734" y="440"/>
                </a:lnTo>
                <a:lnTo>
                  <a:pt x="737" y="434"/>
                </a:lnTo>
                <a:lnTo>
                  <a:pt x="737" y="452"/>
                </a:lnTo>
                <a:lnTo>
                  <a:pt x="737" y="499"/>
                </a:lnTo>
                <a:lnTo>
                  <a:pt x="737" y="541"/>
                </a:lnTo>
                <a:cubicBezTo>
                  <a:pt x="737" y="543"/>
                  <a:pt x="736" y="545"/>
                  <a:pt x="735" y="547"/>
                </a:cubicBezTo>
                <a:lnTo>
                  <a:pt x="720" y="564"/>
                </a:lnTo>
                <a:cubicBezTo>
                  <a:pt x="719" y="566"/>
                  <a:pt x="716" y="567"/>
                  <a:pt x="714" y="567"/>
                </a:cubicBezTo>
                <a:lnTo>
                  <a:pt x="699" y="567"/>
                </a:lnTo>
                <a:lnTo>
                  <a:pt x="634" y="567"/>
                </a:lnTo>
                <a:cubicBezTo>
                  <a:pt x="632" y="567"/>
                  <a:pt x="631" y="567"/>
                  <a:pt x="630" y="566"/>
                </a:cubicBezTo>
                <a:lnTo>
                  <a:pt x="568" y="534"/>
                </a:lnTo>
                <a:lnTo>
                  <a:pt x="571" y="535"/>
                </a:lnTo>
                <a:lnTo>
                  <a:pt x="524" y="535"/>
                </a:lnTo>
                <a:lnTo>
                  <a:pt x="530" y="533"/>
                </a:lnTo>
                <a:lnTo>
                  <a:pt x="500" y="565"/>
                </a:lnTo>
                <a:lnTo>
                  <a:pt x="467" y="594"/>
                </a:lnTo>
                <a:lnTo>
                  <a:pt x="470" y="588"/>
                </a:lnTo>
                <a:lnTo>
                  <a:pt x="470" y="620"/>
                </a:lnTo>
                <a:lnTo>
                  <a:pt x="470" y="649"/>
                </a:lnTo>
                <a:lnTo>
                  <a:pt x="470" y="695"/>
                </a:lnTo>
                <a:cubicBezTo>
                  <a:pt x="470" y="697"/>
                  <a:pt x="469" y="699"/>
                  <a:pt x="468" y="701"/>
                </a:cubicBezTo>
                <a:lnTo>
                  <a:pt x="438" y="733"/>
                </a:lnTo>
                <a:cubicBezTo>
                  <a:pt x="438" y="734"/>
                  <a:pt x="437" y="734"/>
                  <a:pt x="436" y="735"/>
                </a:cubicBezTo>
                <a:lnTo>
                  <a:pt x="403" y="749"/>
                </a:lnTo>
                <a:lnTo>
                  <a:pt x="374" y="763"/>
                </a:lnTo>
                <a:lnTo>
                  <a:pt x="376" y="762"/>
                </a:lnTo>
                <a:lnTo>
                  <a:pt x="343" y="794"/>
                </a:lnTo>
                <a:lnTo>
                  <a:pt x="345" y="792"/>
                </a:lnTo>
                <a:lnTo>
                  <a:pt x="330" y="824"/>
                </a:lnTo>
                <a:lnTo>
                  <a:pt x="331" y="820"/>
                </a:lnTo>
                <a:lnTo>
                  <a:pt x="331" y="835"/>
                </a:lnTo>
                <a:cubicBezTo>
                  <a:pt x="331" y="836"/>
                  <a:pt x="330" y="838"/>
                  <a:pt x="330" y="839"/>
                </a:cubicBezTo>
                <a:lnTo>
                  <a:pt x="311" y="868"/>
                </a:lnTo>
                <a:lnTo>
                  <a:pt x="282" y="915"/>
                </a:lnTo>
                <a:lnTo>
                  <a:pt x="234" y="976"/>
                </a:lnTo>
                <a:cubicBezTo>
                  <a:pt x="233" y="977"/>
                  <a:pt x="233" y="977"/>
                  <a:pt x="231" y="978"/>
                </a:cubicBezTo>
                <a:lnTo>
                  <a:pt x="169" y="1010"/>
                </a:lnTo>
                <a:cubicBezTo>
                  <a:pt x="169" y="1010"/>
                  <a:pt x="168" y="1010"/>
                  <a:pt x="168" y="1011"/>
                </a:cubicBezTo>
                <a:lnTo>
                  <a:pt x="120" y="1025"/>
                </a:lnTo>
                <a:lnTo>
                  <a:pt x="122" y="1024"/>
                </a:lnTo>
                <a:lnTo>
                  <a:pt x="93" y="1042"/>
                </a:lnTo>
                <a:lnTo>
                  <a:pt x="96" y="1039"/>
                </a:lnTo>
                <a:lnTo>
                  <a:pt x="77" y="1068"/>
                </a:lnTo>
                <a:lnTo>
                  <a:pt x="79" y="1064"/>
                </a:lnTo>
                <a:lnTo>
                  <a:pt x="79" y="1078"/>
                </a:lnTo>
                <a:lnTo>
                  <a:pt x="79" y="1110"/>
                </a:lnTo>
                <a:lnTo>
                  <a:pt x="79" y="1157"/>
                </a:lnTo>
                <a:cubicBezTo>
                  <a:pt x="79" y="1158"/>
                  <a:pt x="78" y="1160"/>
                  <a:pt x="77" y="1161"/>
                </a:cubicBezTo>
                <a:lnTo>
                  <a:pt x="48" y="1208"/>
                </a:lnTo>
                <a:lnTo>
                  <a:pt x="15" y="1251"/>
                </a:lnTo>
                <a:lnTo>
                  <a:pt x="16" y="1246"/>
                </a:lnTo>
                <a:lnTo>
                  <a:pt x="16" y="1293"/>
                </a:lnTo>
                <a:lnTo>
                  <a:pt x="16" y="1339"/>
                </a:lnTo>
                <a:lnTo>
                  <a:pt x="16" y="1336"/>
                </a:lnTo>
                <a:lnTo>
                  <a:pt x="30" y="1368"/>
                </a:lnTo>
                <a:lnTo>
                  <a:pt x="28" y="1365"/>
                </a:lnTo>
                <a:lnTo>
                  <a:pt x="61" y="1394"/>
                </a:lnTo>
                <a:cubicBezTo>
                  <a:pt x="63" y="1395"/>
                  <a:pt x="63" y="1397"/>
                  <a:pt x="64" y="1398"/>
                </a:cubicBezTo>
                <a:lnTo>
                  <a:pt x="78" y="1459"/>
                </a:lnTo>
                <a:cubicBezTo>
                  <a:pt x="79" y="1460"/>
                  <a:pt x="79" y="1460"/>
                  <a:pt x="79" y="1461"/>
                </a:cubicBezTo>
                <a:lnTo>
                  <a:pt x="79" y="1525"/>
                </a:lnTo>
                <a:cubicBezTo>
                  <a:pt x="79" y="1527"/>
                  <a:pt x="78" y="1528"/>
                  <a:pt x="77" y="1530"/>
                </a:cubicBezTo>
                <a:lnTo>
                  <a:pt x="48" y="1573"/>
                </a:lnTo>
                <a:lnTo>
                  <a:pt x="49" y="1568"/>
                </a:lnTo>
                <a:lnTo>
                  <a:pt x="49" y="1615"/>
                </a:lnTo>
                <a:lnTo>
                  <a:pt x="49" y="1612"/>
                </a:lnTo>
                <a:lnTo>
                  <a:pt x="78" y="1691"/>
                </a:lnTo>
                <a:lnTo>
                  <a:pt x="76" y="1688"/>
                </a:lnTo>
                <a:lnTo>
                  <a:pt x="124" y="1734"/>
                </a:lnTo>
                <a:cubicBezTo>
                  <a:pt x="124" y="1735"/>
                  <a:pt x="125" y="1735"/>
                  <a:pt x="125" y="1736"/>
                </a:cubicBezTo>
                <a:lnTo>
                  <a:pt x="140" y="1765"/>
                </a:lnTo>
                <a:lnTo>
                  <a:pt x="128" y="1762"/>
                </a:lnTo>
                <a:lnTo>
                  <a:pt x="146" y="1748"/>
                </a:lnTo>
                <a:cubicBezTo>
                  <a:pt x="148" y="1747"/>
                  <a:pt x="149" y="1746"/>
                  <a:pt x="151" y="1746"/>
                </a:cubicBezTo>
                <a:lnTo>
                  <a:pt x="166" y="1746"/>
                </a:lnTo>
                <a:lnTo>
                  <a:pt x="163" y="1746"/>
                </a:lnTo>
                <a:lnTo>
                  <a:pt x="211" y="1732"/>
                </a:lnTo>
                <a:lnTo>
                  <a:pt x="273" y="1714"/>
                </a:lnTo>
                <a:lnTo>
                  <a:pt x="272" y="1715"/>
                </a:lnTo>
                <a:lnTo>
                  <a:pt x="334" y="1686"/>
                </a:lnTo>
                <a:cubicBezTo>
                  <a:pt x="335" y="1686"/>
                  <a:pt x="336" y="1685"/>
                  <a:pt x="337" y="1685"/>
                </a:cubicBezTo>
                <a:lnTo>
                  <a:pt x="370" y="1685"/>
                </a:lnTo>
                <a:lnTo>
                  <a:pt x="414" y="1685"/>
                </a:lnTo>
                <a:cubicBezTo>
                  <a:pt x="415" y="1685"/>
                  <a:pt x="416" y="1685"/>
                  <a:pt x="417" y="1686"/>
                </a:cubicBezTo>
                <a:lnTo>
                  <a:pt x="464" y="1700"/>
                </a:lnTo>
                <a:lnTo>
                  <a:pt x="512" y="1714"/>
                </a:lnTo>
                <a:lnTo>
                  <a:pt x="509" y="1714"/>
                </a:lnTo>
                <a:lnTo>
                  <a:pt x="557" y="1714"/>
                </a:lnTo>
                <a:lnTo>
                  <a:pt x="634" y="1714"/>
                </a:lnTo>
                <a:lnTo>
                  <a:pt x="699" y="1714"/>
                </a:lnTo>
                <a:lnTo>
                  <a:pt x="776" y="1714"/>
                </a:lnTo>
                <a:lnTo>
                  <a:pt x="871" y="1714"/>
                </a:lnTo>
                <a:lnTo>
                  <a:pt x="870" y="1714"/>
                </a:lnTo>
                <a:lnTo>
                  <a:pt x="946" y="1700"/>
                </a:lnTo>
                <a:lnTo>
                  <a:pt x="1054" y="1668"/>
                </a:lnTo>
                <a:lnTo>
                  <a:pt x="1149" y="1625"/>
                </a:lnTo>
                <a:lnTo>
                  <a:pt x="1148" y="1626"/>
                </a:lnTo>
                <a:lnTo>
                  <a:pt x="1196" y="1594"/>
                </a:lnTo>
                <a:cubicBezTo>
                  <a:pt x="1197" y="1593"/>
                  <a:pt x="1199" y="1592"/>
                  <a:pt x="1200" y="1592"/>
                </a:cubicBezTo>
                <a:lnTo>
                  <a:pt x="1243" y="1592"/>
                </a:lnTo>
                <a:lnTo>
                  <a:pt x="1386" y="1578"/>
                </a:lnTo>
                <a:lnTo>
                  <a:pt x="1384" y="1578"/>
                </a:lnTo>
                <a:lnTo>
                  <a:pt x="1447" y="1560"/>
                </a:lnTo>
                <a:cubicBezTo>
                  <a:pt x="1447" y="1560"/>
                  <a:pt x="1448" y="1560"/>
                  <a:pt x="1449" y="1560"/>
                </a:cubicBezTo>
                <a:lnTo>
                  <a:pt x="1496" y="1560"/>
                </a:lnTo>
                <a:cubicBezTo>
                  <a:pt x="1498" y="1560"/>
                  <a:pt x="1499" y="1560"/>
                  <a:pt x="1500" y="1561"/>
                </a:cubicBezTo>
                <a:lnTo>
                  <a:pt x="1533" y="1579"/>
                </a:lnTo>
                <a:lnTo>
                  <a:pt x="1529" y="1578"/>
                </a:lnTo>
                <a:lnTo>
                  <a:pt x="1544" y="1578"/>
                </a:lnTo>
                <a:lnTo>
                  <a:pt x="1537" y="1583"/>
                </a:lnTo>
                <a:lnTo>
                  <a:pt x="1551" y="1551"/>
                </a:lnTo>
                <a:cubicBezTo>
                  <a:pt x="1552" y="1548"/>
                  <a:pt x="1554" y="1547"/>
                  <a:pt x="1556" y="1546"/>
                </a:cubicBezTo>
                <a:lnTo>
                  <a:pt x="1604" y="1532"/>
                </a:lnTo>
                <a:cubicBezTo>
                  <a:pt x="1604" y="1532"/>
                  <a:pt x="1605" y="1532"/>
                  <a:pt x="1606" y="1532"/>
                </a:cubicBezTo>
                <a:lnTo>
                  <a:pt x="1683" y="1532"/>
                </a:lnTo>
                <a:lnTo>
                  <a:pt x="1681" y="1532"/>
                </a:lnTo>
                <a:lnTo>
                  <a:pt x="1743" y="1517"/>
                </a:lnTo>
                <a:lnTo>
                  <a:pt x="1741" y="1518"/>
                </a:lnTo>
                <a:lnTo>
                  <a:pt x="1774" y="1500"/>
                </a:lnTo>
                <a:lnTo>
                  <a:pt x="1772" y="1502"/>
                </a:lnTo>
                <a:lnTo>
                  <a:pt x="1787" y="1487"/>
                </a:lnTo>
                <a:lnTo>
                  <a:pt x="1784" y="1493"/>
                </a:lnTo>
                <a:lnTo>
                  <a:pt x="1784" y="1479"/>
                </a:lnTo>
                <a:lnTo>
                  <a:pt x="1784" y="1432"/>
                </a:lnTo>
                <a:lnTo>
                  <a:pt x="1785" y="1434"/>
                </a:lnTo>
                <a:lnTo>
                  <a:pt x="1770" y="1356"/>
                </a:lnTo>
                <a:lnTo>
                  <a:pt x="1737" y="1249"/>
                </a:lnTo>
                <a:cubicBezTo>
                  <a:pt x="1737" y="1248"/>
                  <a:pt x="1737" y="1247"/>
                  <a:pt x="1737" y="1246"/>
                </a:cubicBezTo>
                <a:lnTo>
                  <a:pt x="1737" y="1142"/>
                </a:lnTo>
                <a:cubicBezTo>
                  <a:pt x="1737" y="1141"/>
                  <a:pt x="1737" y="1140"/>
                  <a:pt x="1738" y="1139"/>
                </a:cubicBezTo>
                <a:lnTo>
                  <a:pt x="1770" y="1061"/>
                </a:lnTo>
                <a:cubicBezTo>
                  <a:pt x="1771" y="1060"/>
                  <a:pt x="1772" y="1059"/>
                  <a:pt x="1773" y="1058"/>
                </a:cubicBezTo>
                <a:lnTo>
                  <a:pt x="1805" y="1029"/>
                </a:lnTo>
                <a:lnTo>
                  <a:pt x="1804" y="1030"/>
                </a:lnTo>
                <a:lnTo>
                  <a:pt x="1820" y="1012"/>
                </a:lnTo>
                <a:lnTo>
                  <a:pt x="1834" y="997"/>
                </a:lnTo>
                <a:lnTo>
                  <a:pt x="1849" y="983"/>
                </a:lnTo>
                <a:lnTo>
                  <a:pt x="1847" y="986"/>
                </a:lnTo>
                <a:lnTo>
                  <a:pt x="1865" y="939"/>
                </a:lnTo>
                <a:lnTo>
                  <a:pt x="1865" y="942"/>
                </a:lnTo>
                <a:lnTo>
                  <a:pt x="1865" y="896"/>
                </a:lnTo>
                <a:lnTo>
                  <a:pt x="1865" y="863"/>
                </a:lnTo>
                <a:lnTo>
                  <a:pt x="1866" y="868"/>
                </a:lnTo>
                <a:lnTo>
                  <a:pt x="1848" y="839"/>
                </a:lnTo>
                <a:cubicBezTo>
                  <a:pt x="1847" y="839"/>
                  <a:pt x="1847" y="838"/>
                  <a:pt x="1847" y="837"/>
                </a:cubicBezTo>
                <a:lnTo>
                  <a:pt x="1832" y="791"/>
                </a:lnTo>
                <a:cubicBezTo>
                  <a:pt x="1832" y="789"/>
                  <a:pt x="1832" y="787"/>
                  <a:pt x="1832" y="786"/>
                </a:cubicBezTo>
                <a:lnTo>
                  <a:pt x="1847" y="739"/>
                </a:lnTo>
                <a:cubicBezTo>
                  <a:pt x="1847" y="738"/>
                  <a:pt x="1848" y="737"/>
                  <a:pt x="1849" y="736"/>
                </a:cubicBezTo>
                <a:lnTo>
                  <a:pt x="1882" y="707"/>
                </a:lnTo>
                <a:cubicBezTo>
                  <a:pt x="1884" y="706"/>
                  <a:pt x="1886" y="705"/>
                  <a:pt x="1887" y="705"/>
                </a:cubicBezTo>
                <a:lnTo>
                  <a:pt x="1920" y="705"/>
                </a:lnTo>
                <a:lnTo>
                  <a:pt x="1935" y="705"/>
                </a:lnTo>
                <a:lnTo>
                  <a:pt x="1950" y="705"/>
                </a:lnTo>
                <a:lnTo>
                  <a:pt x="1943" y="709"/>
                </a:lnTo>
                <a:lnTo>
                  <a:pt x="2005" y="602"/>
                </a:lnTo>
                <a:cubicBezTo>
                  <a:pt x="2005" y="601"/>
                  <a:pt x="2006" y="601"/>
                  <a:pt x="2006" y="600"/>
                </a:cubicBezTo>
                <a:lnTo>
                  <a:pt x="2024" y="582"/>
                </a:lnTo>
                <a:cubicBezTo>
                  <a:pt x="2025" y="582"/>
                  <a:pt x="2026" y="581"/>
                  <a:pt x="2027" y="581"/>
                </a:cubicBezTo>
                <a:lnTo>
                  <a:pt x="2088" y="552"/>
                </a:lnTo>
                <a:lnTo>
                  <a:pt x="2150" y="520"/>
                </a:lnTo>
                <a:lnTo>
                  <a:pt x="2198" y="492"/>
                </a:lnTo>
                <a:lnTo>
                  <a:pt x="2195" y="495"/>
                </a:lnTo>
                <a:lnTo>
                  <a:pt x="2209" y="463"/>
                </a:lnTo>
                <a:close/>
              </a:path>
            </a:pathLst>
          </a:custGeom>
          <a:solidFill>
            <a:srgbClr val="C0C0C0">
              <a:alpha val="79999"/>
            </a:srgbClr>
          </a:solidFill>
          <a:ln w="9525">
            <a:solidFill>
              <a:schemeClr val="bg1"/>
            </a:solidFill>
            <a:round/>
            <a:headEnd/>
            <a:tailEnd/>
          </a:ln>
        </p:spPr>
        <p:txBody>
          <a:bodyPr/>
          <a:lstStyle/>
          <a:p>
            <a:endParaRPr lang="ro-RO"/>
          </a:p>
        </p:txBody>
      </p:sp>
      <p:sp>
        <p:nvSpPr>
          <p:cNvPr id="12340" name="Freeform 50"/>
          <p:cNvSpPr>
            <a:spLocks/>
          </p:cNvSpPr>
          <p:nvPr/>
        </p:nvSpPr>
        <p:spPr bwMode="auto">
          <a:xfrm>
            <a:off x="2519363" y="3028950"/>
            <a:ext cx="908050" cy="771525"/>
          </a:xfrm>
          <a:custGeom>
            <a:avLst/>
            <a:gdLst>
              <a:gd name="T0" fmla="*/ 2147483647 w 707"/>
              <a:gd name="T1" fmla="*/ 2147483647 h 559"/>
              <a:gd name="T2" fmla="*/ 2147483647 w 707"/>
              <a:gd name="T3" fmla="*/ 2147483647 h 559"/>
              <a:gd name="T4" fmla="*/ 2147483647 w 707"/>
              <a:gd name="T5" fmla="*/ 2147483647 h 559"/>
              <a:gd name="T6" fmla="*/ 2147483647 w 707"/>
              <a:gd name="T7" fmla="*/ 2147483647 h 559"/>
              <a:gd name="T8" fmla="*/ 2147483647 w 707"/>
              <a:gd name="T9" fmla="*/ 2147483647 h 559"/>
              <a:gd name="T10" fmla="*/ 2147483647 w 707"/>
              <a:gd name="T11" fmla="*/ 2147483647 h 559"/>
              <a:gd name="T12" fmla="*/ 2147483647 w 707"/>
              <a:gd name="T13" fmla="*/ 2147483647 h 559"/>
              <a:gd name="T14" fmla="*/ 2147483647 w 707"/>
              <a:gd name="T15" fmla="*/ 2147483647 h 559"/>
              <a:gd name="T16" fmla="*/ 2147483647 w 707"/>
              <a:gd name="T17" fmla="*/ 2147483647 h 559"/>
              <a:gd name="T18" fmla="*/ 2147483647 w 707"/>
              <a:gd name="T19" fmla="*/ 2147483647 h 559"/>
              <a:gd name="T20" fmla="*/ 2147483647 w 707"/>
              <a:gd name="T21" fmla="*/ 2147483647 h 559"/>
              <a:gd name="T22" fmla="*/ 2147483647 w 707"/>
              <a:gd name="T23" fmla="*/ 2147483647 h 559"/>
              <a:gd name="T24" fmla="*/ 2147483647 w 707"/>
              <a:gd name="T25" fmla="*/ 2147483647 h 559"/>
              <a:gd name="T26" fmla="*/ 2147483647 w 707"/>
              <a:gd name="T27" fmla="*/ 2147483647 h 559"/>
              <a:gd name="T28" fmla="*/ 2147483647 w 707"/>
              <a:gd name="T29" fmla="*/ 2147483647 h 559"/>
              <a:gd name="T30" fmla="*/ 2147483647 w 707"/>
              <a:gd name="T31" fmla="*/ 2147483647 h 559"/>
              <a:gd name="T32" fmla="*/ 2147483647 w 707"/>
              <a:gd name="T33" fmla="*/ 2147483647 h 559"/>
              <a:gd name="T34" fmla="*/ 2147483647 w 707"/>
              <a:gd name="T35" fmla="*/ 2147483647 h 559"/>
              <a:gd name="T36" fmla="*/ 2147483647 w 707"/>
              <a:gd name="T37" fmla="*/ 2147483647 h 559"/>
              <a:gd name="T38" fmla="*/ 2147483647 w 707"/>
              <a:gd name="T39" fmla="*/ 2147483647 h 559"/>
              <a:gd name="T40" fmla="*/ 2147483647 w 707"/>
              <a:gd name="T41" fmla="*/ 2147483647 h 559"/>
              <a:gd name="T42" fmla="*/ 2147483647 w 707"/>
              <a:gd name="T43" fmla="*/ 2147483647 h 559"/>
              <a:gd name="T44" fmla="*/ 0 w 707"/>
              <a:gd name="T45" fmla="*/ 2147483647 h 559"/>
              <a:gd name="T46" fmla="*/ 2147483647 w 707"/>
              <a:gd name="T47" fmla="*/ 2147483647 h 559"/>
              <a:gd name="T48" fmla="*/ 2147483647 w 707"/>
              <a:gd name="T49" fmla="*/ 2147483647 h 559"/>
              <a:gd name="T50" fmla="*/ 2147483647 w 707"/>
              <a:gd name="T51" fmla="*/ 2147483647 h 559"/>
              <a:gd name="T52" fmla="*/ 2147483647 w 707"/>
              <a:gd name="T53" fmla="*/ 2147483647 h 559"/>
              <a:gd name="T54" fmla="*/ 2147483647 w 707"/>
              <a:gd name="T55" fmla="*/ 2147483647 h 559"/>
              <a:gd name="T56" fmla="*/ 2147483647 w 707"/>
              <a:gd name="T57" fmla="*/ 2147483647 h 559"/>
              <a:gd name="T58" fmla="*/ 2147483647 w 707"/>
              <a:gd name="T59" fmla="*/ 2147483647 h 559"/>
              <a:gd name="T60" fmla="*/ 2147483647 w 707"/>
              <a:gd name="T61" fmla="*/ 2147483647 h 559"/>
              <a:gd name="T62" fmla="*/ 2147483647 w 707"/>
              <a:gd name="T63" fmla="*/ 2147483647 h 559"/>
              <a:gd name="T64" fmla="*/ 2147483647 w 707"/>
              <a:gd name="T65" fmla="*/ 2147483647 h 559"/>
              <a:gd name="T66" fmla="*/ 2147483647 w 707"/>
              <a:gd name="T67" fmla="*/ 2147483647 h 559"/>
              <a:gd name="T68" fmla="*/ 2147483647 w 707"/>
              <a:gd name="T69" fmla="*/ 2147483647 h 559"/>
              <a:gd name="T70" fmla="*/ 2147483647 w 707"/>
              <a:gd name="T71" fmla="*/ 2147483647 h 559"/>
              <a:gd name="T72" fmla="*/ 2147483647 w 707"/>
              <a:gd name="T73" fmla="*/ 2147483647 h 559"/>
              <a:gd name="T74" fmla="*/ 2147483647 w 707"/>
              <a:gd name="T75" fmla="*/ 2147483647 h 559"/>
              <a:gd name="T76" fmla="*/ 2147483647 w 707"/>
              <a:gd name="T77" fmla="*/ 2147483647 h 559"/>
              <a:gd name="T78" fmla="*/ 2147483647 w 707"/>
              <a:gd name="T79" fmla="*/ 2147483647 h 559"/>
              <a:gd name="T80" fmla="*/ 2147483647 w 707"/>
              <a:gd name="T81" fmla="*/ 2147483647 h 559"/>
              <a:gd name="T82" fmla="*/ 2147483647 w 707"/>
              <a:gd name="T83" fmla="*/ 2147483647 h 559"/>
              <a:gd name="T84" fmla="*/ 2147483647 w 707"/>
              <a:gd name="T85" fmla="*/ 2147483647 h 559"/>
              <a:gd name="T86" fmla="*/ 2147483647 w 707"/>
              <a:gd name="T87" fmla="*/ 2147483647 h 559"/>
              <a:gd name="T88" fmla="*/ 2147483647 w 707"/>
              <a:gd name="T89" fmla="*/ 2147483647 h 559"/>
              <a:gd name="T90" fmla="*/ 2147483647 w 707"/>
              <a:gd name="T91" fmla="*/ 0 h 559"/>
              <a:gd name="T92" fmla="*/ 2147483647 w 707"/>
              <a:gd name="T93" fmla="*/ 2147483647 h 559"/>
              <a:gd name="T94" fmla="*/ 2147483647 w 707"/>
              <a:gd name="T95" fmla="*/ 2147483647 h 559"/>
              <a:gd name="T96" fmla="*/ 2147483647 w 707"/>
              <a:gd name="T97" fmla="*/ 2147483647 h 559"/>
              <a:gd name="T98" fmla="*/ 2147483647 w 707"/>
              <a:gd name="T99" fmla="*/ 2147483647 h 559"/>
              <a:gd name="T100" fmla="*/ 2147483647 w 707"/>
              <a:gd name="T101" fmla="*/ 2147483647 h 559"/>
              <a:gd name="T102" fmla="*/ 2147483647 w 707"/>
              <a:gd name="T103" fmla="*/ 2147483647 h 55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07"/>
              <a:gd name="T157" fmla="*/ 0 h 559"/>
              <a:gd name="T158" fmla="*/ 707 w 707"/>
              <a:gd name="T159" fmla="*/ 559 h 55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07" h="559">
                <a:moveTo>
                  <a:pt x="702" y="156"/>
                </a:moveTo>
                <a:lnTo>
                  <a:pt x="667" y="175"/>
                </a:lnTo>
                <a:lnTo>
                  <a:pt x="642" y="190"/>
                </a:lnTo>
                <a:lnTo>
                  <a:pt x="622" y="224"/>
                </a:lnTo>
                <a:lnTo>
                  <a:pt x="618" y="224"/>
                </a:lnTo>
                <a:lnTo>
                  <a:pt x="613" y="224"/>
                </a:lnTo>
                <a:lnTo>
                  <a:pt x="607" y="224"/>
                </a:lnTo>
                <a:lnTo>
                  <a:pt x="602" y="228"/>
                </a:lnTo>
                <a:lnTo>
                  <a:pt x="598" y="228"/>
                </a:lnTo>
                <a:lnTo>
                  <a:pt x="592" y="233"/>
                </a:lnTo>
                <a:lnTo>
                  <a:pt x="592" y="238"/>
                </a:lnTo>
                <a:lnTo>
                  <a:pt x="592" y="243"/>
                </a:lnTo>
                <a:lnTo>
                  <a:pt x="587" y="248"/>
                </a:lnTo>
                <a:lnTo>
                  <a:pt x="592" y="253"/>
                </a:lnTo>
                <a:lnTo>
                  <a:pt x="592" y="263"/>
                </a:lnTo>
                <a:lnTo>
                  <a:pt x="598" y="272"/>
                </a:lnTo>
                <a:lnTo>
                  <a:pt x="598" y="277"/>
                </a:lnTo>
                <a:lnTo>
                  <a:pt x="598" y="282"/>
                </a:lnTo>
                <a:lnTo>
                  <a:pt x="598" y="287"/>
                </a:lnTo>
                <a:lnTo>
                  <a:pt x="598" y="292"/>
                </a:lnTo>
                <a:lnTo>
                  <a:pt x="598" y="297"/>
                </a:lnTo>
                <a:lnTo>
                  <a:pt x="598" y="301"/>
                </a:lnTo>
                <a:lnTo>
                  <a:pt x="592" y="306"/>
                </a:lnTo>
                <a:lnTo>
                  <a:pt x="587" y="316"/>
                </a:lnTo>
                <a:lnTo>
                  <a:pt x="583" y="321"/>
                </a:lnTo>
                <a:lnTo>
                  <a:pt x="578" y="326"/>
                </a:lnTo>
                <a:lnTo>
                  <a:pt x="572" y="331"/>
                </a:lnTo>
                <a:lnTo>
                  <a:pt x="568" y="336"/>
                </a:lnTo>
                <a:lnTo>
                  <a:pt x="563" y="340"/>
                </a:lnTo>
                <a:lnTo>
                  <a:pt x="563" y="346"/>
                </a:lnTo>
                <a:lnTo>
                  <a:pt x="557" y="350"/>
                </a:lnTo>
                <a:lnTo>
                  <a:pt x="557" y="360"/>
                </a:lnTo>
                <a:lnTo>
                  <a:pt x="557" y="365"/>
                </a:lnTo>
                <a:lnTo>
                  <a:pt x="557" y="374"/>
                </a:lnTo>
                <a:lnTo>
                  <a:pt x="557" y="384"/>
                </a:lnTo>
                <a:lnTo>
                  <a:pt x="557" y="393"/>
                </a:lnTo>
                <a:lnTo>
                  <a:pt x="568" y="452"/>
                </a:lnTo>
                <a:lnTo>
                  <a:pt x="572" y="472"/>
                </a:lnTo>
                <a:lnTo>
                  <a:pt x="568" y="476"/>
                </a:lnTo>
                <a:lnTo>
                  <a:pt x="563" y="476"/>
                </a:lnTo>
                <a:lnTo>
                  <a:pt x="557" y="482"/>
                </a:lnTo>
                <a:lnTo>
                  <a:pt x="548" y="487"/>
                </a:lnTo>
                <a:lnTo>
                  <a:pt x="537" y="487"/>
                </a:lnTo>
                <a:lnTo>
                  <a:pt x="528" y="487"/>
                </a:lnTo>
                <a:lnTo>
                  <a:pt x="513" y="487"/>
                </a:lnTo>
                <a:lnTo>
                  <a:pt x="508" y="491"/>
                </a:lnTo>
                <a:lnTo>
                  <a:pt x="503" y="491"/>
                </a:lnTo>
                <a:lnTo>
                  <a:pt x="498" y="491"/>
                </a:lnTo>
                <a:lnTo>
                  <a:pt x="493" y="496"/>
                </a:lnTo>
                <a:lnTo>
                  <a:pt x="493" y="501"/>
                </a:lnTo>
                <a:lnTo>
                  <a:pt x="489" y="496"/>
                </a:lnTo>
                <a:lnTo>
                  <a:pt x="483" y="496"/>
                </a:lnTo>
                <a:lnTo>
                  <a:pt x="478" y="496"/>
                </a:lnTo>
                <a:lnTo>
                  <a:pt x="473" y="496"/>
                </a:lnTo>
                <a:lnTo>
                  <a:pt x="463" y="496"/>
                </a:lnTo>
                <a:lnTo>
                  <a:pt x="454" y="496"/>
                </a:lnTo>
                <a:lnTo>
                  <a:pt x="443" y="501"/>
                </a:lnTo>
                <a:lnTo>
                  <a:pt x="433" y="501"/>
                </a:lnTo>
                <a:lnTo>
                  <a:pt x="423" y="501"/>
                </a:lnTo>
                <a:lnTo>
                  <a:pt x="404" y="506"/>
                </a:lnTo>
                <a:lnTo>
                  <a:pt x="393" y="506"/>
                </a:lnTo>
                <a:lnTo>
                  <a:pt x="384" y="511"/>
                </a:lnTo>
                <a:lnTo>
                  <a:pt x="374" y="511"/>
                </a:lnTo>
                <a:lnTo>
                  <a:pt x="374" y="516"/>
                </a:lnTo>
                <a:lnTo>
                  <a:pt x="369" y="516"/>
                </a:lnTo>
                <a:lnTo>
                  <a:pt x="363" y="521"/>
                </a:lnTo>
                <a:lnTo>
                  <a:pt x="354" y="525"/>
                </a:lnTo>
                <a:lnTo>
                  <a:pt x="349" y="530"/>
                </a:lnTo>
                <a:lnTo>
                  <a:pt x="339" y="530"/>
                </a:lnTo>
                <a:lnTo>
                  <a:pt x="319" y="535"/>
                </a:lnTo>
                <a:lnTo>
                  <a:pt x="304" y="540"/>
                </a:lnTo>
                <a:lnTo>
                  <a:pt x="293" y="545"/>
                </a:lnTo>
                <a:lnTo>
                  <a:pt x="279" y="545"/>
                </a:lnTo>
                <a:lnTo>
                  <a:pt x="249" y="545"/>
                </a:lnTo>
                <a:lnTo>
                  <a:pt x="204" y="545"/>
                </a:lnTo>
                <a:lnTo>
                  <a:pt x="179" y="545"/>
                </a:lnTo>
                <a:lnTo>
                  <a:pt x="164" y="545"/>
                </a:lnTo>
                <a:lnTo>
                  <a:pt x="149" y="540"/>
                </a:lnTo>
                <a:lnTo>
                  <a:pt x="134" y="535"/>
                </a:lnTo>
                <a:lnTo>
                  <a:pt x="125" y="535"/>
                </a:lnTo>
                <a:lnTo>
                  <a:pt x="120" y="535"/>
                </a:lnTo>
                <a:lnTo>
                  <a:pt x="114" y="535"/>
                </a:lnTo>
                <a:lnTo>
                  <a:pt x="110" y="535"/>
                </a:lnTo>
                <a:lnTo>
                  <a:pt x="99" y="540"/>
                </a:lnTo>
                <a:lnTo>
                  <a:pt x="90" y="545"/>
                </a:lnTo>
                <a:lnTo>
                  <a:pt x="79" y="550"/>
                </a:lnTo>
                <a:lnTo>
                  <a:pt x="70" y="550"/>
                </a:lnTo>
                <a:lnTo>
                  <a:pt x="64" y="550"/>
                </a:lnTo>
                <a:lnTo>
                  <a:pt x="55" y="550"/>
                </a:lnTo>
                <a:lnTo>
                  <a:pt x="51" y="555"/>
                </a:lnTo>
                <a:lnTo>
                  <a:pt x="44" y="555"/>
                </a:lnTo>
                <a:lnTo>
                  <a:pt x="44" y="559"/>
                </a:lnTo>
                <a:lnTo>
                  <a:pt x="35" y="550"/>
                </a:lnTo>
                <a:lnTo>
                  <a:pt x="25" y="535"/>
                </a:lnTo>
                <a:lnTo>
                  <a:pt x="20" y="521"/>
                </a:lnTo>
                <a:lnTo>
                  <a:pt x="16" y="516"/>
                </a:lnTo>
                <a:lnTo>
                  <a:pt x="16" y="511"/>
                </a:lnTo>
                <a:lnTo>
                  <a:pt x="16" y="506"/>
                </a:lnTo>
                <a:lnTo>
                  <a:pt x="16" y="501"/>
                </a:lnTo>
                <a:lnTo>
                  <a:pt x="16" y="496"/>
                </a:lnTo>
                <a:lnTo>
                  <a:pt x="20" y="496"/>
                </a:lnTo>
                <a:lnTo>
                  <a:pt x="20" y="491"/>
                </a:lnTo>
                <a:lnTo>
                  <a:pt x="25" y="487"/>
                </a:lnTo>
                <a:lnTo>
                  <a:pt x="25" y="482"/>
                </a:lnTo>
                <a:lnTo>
                  <a:pt x="25" y="472"/>
                </a:lnTo>
                <a:lnTo>
                  <a:pt x="25" y="462"/>
                </a:lnTo>
                <a:lnTo>
                  <a:pt x="20" y="452"/>
                </a:lnTo>
                <a:lnTo>
                  <a:pt x="20" y="448"/>
                </a:lnTo>
                <a:lnTo>
                  <a:pt x="16" y="438"/>
                </a:lnTo>
                <a:lnTo>
                  <a:pt x="16" y="433"/>
                </a:lnTo>
                <a:lnTo>
                  <a:pt x="10" y="433"/>
                </a:lnTo>
                <a:lnTo>
                  <a:pt x="10" y="428"/>
                </a:lnTo>
                <a:lnTo>
                  <a:pt x="5" y="423"/>
                </a:lnTo>
                <a:lnTo>
                  <a:pt x="5" y="418"/>
                </a:lnTo>
                <a:lnTo>
                  <a:pt x="0" y="408"/>
                </a:lnTo>
                <a:lnTo>
                  <a:pt x="5" y="404"/>
                </a:lnTo>
                <a:lnTo>
                  <a:pt x="5" y="393"/>
                </a:lnTo>
                <a:lnTo>
                  <a:pt x="10" y="384"/>
                </a:lnTo>
                <a:lnTo>
                  <a:pt x="16" y="380"/>
                </a:lnTo>
                <a:lnTo>
                  <a:pt x="20" y="374"/>
                </a:lnTo>
                <a:lnTo>
                  <a:pt x="20" y="370"/>
                </a:lnTo>
                <a:lnTo>
                  <a:pt x="25" y="365"/>
                </a:lnTo>
                <a:lnTo>
                  <a:pt x="25" y="355"/>
                </a:lnTo>
                <a:lnTo>
                  <a:pt x="25" y="350"/>
                </a:lnTo>
                <a:lnTo>
                  <a:pt x="25" y="346"/>
                </a:lnTo>
                <a:lnTo>
                  <a:pt x="25" y="340"/>
                </a:lnTo>
                <a:lnTo>
                  <a:pt x="25" y="336"/>
                </a:lnTo>
                <a:lnTo>
                  <a:pt x="25" y="331"/>
                </a:lnTo>
                <a:lnTo>
                  <a:pt x="31" y="331"/>
                </a:lnTo>
                <a:lnTo>
                  <a:pt x="31" y="326"/>
                </a:lnTo>
                <a:lnTo>
                  <a:pt x="35" y="326"/>
                </a:lnTo>
                <a:lnTo>
                  <a:pt x="40" y="321"/>
                </a:lnTo>
                <a:lnTo>
                  <a:pt x="44" y="321"/>
                </a:lnTo>
                <a:lnTo>
                  <a:pt x="55" y="316"/>
                </a:lnTo>
                <a:lnTo>
                  <a:pt x="60" y="316"/>
                </a:lnTo>
                <a:lnTo>
                  <a:pt x="64" y="312"/>
                </a:lnTo>
                <a:lnTo>
                  <a:pt x="70" y="306"/>
                </a:lnTo>
                <a:lnTo>
                  <a:pt x="79" y="297"/>
                </a:lnTo>
                <a:lnTo>
                  <a:pt x="90" y="287"/>
                </a:lnTo>
                <a:lnTo>
                  <a:pt x="99" y="267"/>
                </a:lnTo>
                <a:lnTo>
                  <a:pt x="105" y="263"/>
                </a:lnTo>
                <a:lnTo>
                  <a:pt x="105" y="258"/>
                </a:lnTo>
                <a:lnTo>
                  <a:pt x="110" y="253"/>
                </a:lnTo>
                <a:lnTo>
                  <a:pt x="110" y="248"/>
                </a:lnTo>
                <a:lnTo>
                  <a:pt x="110" y="243"/>
                </a:lnTo>
                <a:lnTo>
                  <a:pt x="114" y="238"/>
                </a:lnTo>
                <a:lnTo>
                  <a:pt x="120" y="233"/>
                </a:lnTo>
                <a:lnTo>
                  <a:pt x="125" y="233"/>
                </a:lnTo>
                <a:lnTo>
                  <a:pt x="129" y="233"/>
                </a:lnTo>
                <a:lnTo>
                  <a:pt x="134" y="228"/>
                </a:lnTo>
                <a:lnTo>
                  <a:pt x="140" y="228"/>
                </a:lnTo>
                <a:lnTo>
                  <a:pt x="140" y="224"/>
                </a:lnTo>
                <a:lnTo>
                  <a:pt x="145" y="224"/>
                </a:lnTo>
                <a:lnTo>
                  <a:pt x="145" y="218"/>
                </a:lnTo>
                <a:lnTo>
                  <a:pt x="149" y="214"/>
                </a:lnTo>
                <a:lnTo>
                  <a:pt x="149" y="204"/>
                </a:lnTo>
                <a:lnTo>
                  <a:pt x="149" y="195"/>
                </a:lnTo>
                <a:lnTo>
                  <a:pt x="149" y="190"/>
                </a:lnTo>
                <a:lnTo>
                  <a:pt x="149" y="184"/>
                </a:lnTo>
                <a:lnTo>
                  <a:pt x="155" y="180"/>
                </a:lnTo>
                <a:lnTo>
                  <a:pt x="155" y="169"/>
                </a:lnTo>
                <a:lnTo>
                  <a:pt x="160" y="169"/>
                </a:lnTo>
                <a:lnTo>
                  <a:pt x="160" y="165"/>
                </a:lnTo>
                <a:lnTo>
                  <a:pt x="164" y="165"/>
                </a:lnTo>
                <a:lnTo>
                  <a:pt x="169" y="165"/>
                </a:lnTo>
                <a:lnTo>
                  <a:pt x="175" y="165"/>
                </a:lnTo>
                <a:lnTo>
                  <a:pt x="179" y="165"/>
                </a:lnTo>
                <a:lnTo>
                  <a:pt x="184" y="165"/>
                </a:lnTo>
                <a:lnTo>
                  <a:pt x="204" y="175"/>
                </a:lnTo>
                <a:lnTo>
                  <a:pt x="214" y="175"/>
                </a:lnTo>
                <a:lnTo>
                  <a:pt x="219" y="175"/>
                </a:lnTo>
                <a:lnTo>
                  <a:pt x="225" y="175"/>
                </a:lnTo>
                <a:lnTo>
                  <a:pt x="229" y="175"/>
                </a:lnTo>
                <a:lnTo>
                  <a:pt x="229" y="169"/>
                </a:lnTo>
                <a:lnTo>
                  <a:pt x="234" y="169"/>
                </a:lnTo>
                <a:lnTo>
                  <a:pt x="234" y="165"/>
                </a:lnTo>
                <a:lnTo>
                  <a:pt x="234" y="161"/>
                </a:lnTo>
                <a:lnTo>
                  <a:pt x="234" y="150"/>
                </a:lnTo>
                <a:lnTo>
                  <a:pt x="234" y="141"/>
                </a:lnTo>
                <a:lnTo>
                  <a:pt x="234" y="135"/>
                </a:lnTo>
                <a:lnTo>
                  <a:pt x="239" y="131"/>
                </a:lnTo>
                <a:lnTo>
                  <a:pt x="245" y="127"/>
                </a:lnTo>
                <a:lnTo>
                  <a:pt x="254" y="116"/>
                </a:lnTo>
                <a:lnTo>
                  <a:pt x="269" y="107"/>
                </a:lnTo>
                <a:lnTo>
                  <a:pt x="299" y="88"/>
                </a:lnTo>
                <a:lnTo>
                  <a:pt x="314" y="73"/>
                </a:lnTo>
                <a:lnTo>
                  <a:pt x="319" y="73"/>
                </a:lnTo>
                <a:lnTo>
                  <a:pt x="319" y="68"/>
                </a:lnTo>
                <a:lnTo>
                  <a:pt x="319" y="63"/>
                </a:lnTo>
                <a:lnTo>
                  <a:pt x="323" y="43"/>
                </a:lnTo>
                <a:lnTo>
                  <a:pt x="323" y="34"/>
                </a:lnTo>
                <a:lnTo>
                  <a:pt x="323" y="29"/>
                </a:lnTo>
                <a:lnTo>
                  <a:pt x="328" y="24"/>
                </a:lnTo>
                <a:lnTo>
                  <a:pt x="328" y="19"/>
                </a:lnTo>
                <a:lnTo>
                  <a:pt x="334" y="19"/>
                </a:lnTo>
                <a:lnTo>
                  <a:pt x="334" y="14"/>
                </a:lnTo>
                <a:lnTo>
                  <a:pt x="339" y="14"/>
                </a:lnTo>
                <a:lnTo>
                  <a:pt x="343" y="14"/>
                </a:lnTo>
                <a:lnTo>
                  <a:pt x="349" y="14"/>
                </a:lnTo>
                <a:lnTo>
                  <a:pt x="354" y="14"/>
                </a:lnTo>
                <a:lnTo>
                  <a:pt x="363" y="14"/>
                </a:lnTo>
                <a:lnTo>
                  <a:pt x="388" y="19"/>
                </a:lnTo>
                <a:lnTo>
                  <a:pt x="404" y="24"/>
                </a:lnTo>
                <a:lnTo>
                  <a:pt x="413" y="24"/>
                </a:lnTo>
                <a:lnTo>
                  <a:pt x="419" y="24"/>
                </a:lnTo>
                <a:lnTo>
                  <a:pt x="423" y="24"/>
                </a:lnTo>
                <a:lnTo>
                  <a:pt x="428" y="24"/>
                </a:lnTo>
                <a:lnTo>
                  <a:pt x="433" y="19"/>
                </a:lnTo>
                <a:lnTo>
                  <a:pt x="443" y="19"/>
                </a:lnTo>
                <a:lnTo>
                  <a:pt x="454" y="14"/>
                </a:lnTo>
                <a:lnTo>
                  <a:pt x="463" y="14"/>
                </a:lnTo>
                <a:lnTo>
                  <a:pt x="473" y="14"/>
                </a:lnTo>
                <a:lnTo>
                  <a:pt x="478" y="19"/>
                </a:lnTo>
                <a:lnTo>
                  <a:pt x="489" y="19"/>
                </a:lnTo>
                <a:lnTo>
                  <a:pt x="498" y="24"/>
                </a:lnTo>
                <a:lnTo>
                  <a:pt x="503" y="24"/>
                </a:lnTo>
                <a:lnTo>
                  <a:pt x="508" y="24"/>
                </a:lnTo>
                <a:lnTo>
                  <a:pt x="513" y="24"/>
                </a:lnTo>
                <a:lnTo>
                  <a:pt x="513" y="19"/>
                </a:lnTo>
                <a:lnTo>
                  <a:pt x="517" y="14"/>
                </a:lnTo>
                <a:lnTo>
                  <a:pt x="522" y="14"/>
                </a:lnTo>
                <a:lnTo>
                  <a:pt x="533" y="9"/>
                </a:lnTo>
                <a:lnTo>
                  <a:pt x="537" y="5"/>
                </a:lnTo>
                <a:lnTo>
                  <a:pt x="543" y="5"/>
                </a:lnTo>
                <a:lnTo>
                  <a:pt x="548" y="5"/>
                </a:lnTo>
                <a:lnTo>
                  <a:pt x="552" y="5"/>
                </a:lnTo>
                <a:lnTo>
                  <a:pt x="557" y="0"/>
                </a:lnTo>
                <a:lnTo>
                  <a:pt x="563" y="0"/>
                </a:lnTo>
                <a:lnTo>
                  <a:pt x="568" y="0"/>
                </a:lnTo>
                <a:lnTo>
                  <a:pt x="572" y="0"/>
                </a:lnTo>
                <a:lnTo>
                  <a:pt x="572" y="5"/>
                </a:lnTo>
                <a:lnTo>
                  <a:pt x="578" y="9"/>
                </a:lnTo>
                <a:lnTo>
                  <a:pt x="578" y="14"/>
                </a:lnTo>
                <a:lnTo>
                  <a:pt x="578" y="19"/>
                </a:lnTo>
                <a:lnTo>
                  <a:pt x="578" y="29"/>
                </a:lnTo>
                <a:lnTo>
                  <a:pt x="583" y="58"/>
                </a:lnTo>
                <a:lnTo>
                  <a:pt x="583" y="97"/>
                </a:lnTo>
                <a:lnTo>
                  <a:pt x="583" y="122"/>
                </a:lnTo>
                <a:lnTo>
                  <a:pt x="583" y="127"/>
                </a:lnTo>
                <a:lnTo>
                  <a:pt x="578" y="127"/>
                </a:lnTo>
                <a:lnTo>
                  <a:pt x="578" y="131"/>
                </a:lnTo>
                <a:lnTo>
                  <a:pt x="583" y="131"/>
                </a:lnTo>
                <a:lnTo>
                  <a:pt x="583" y="135"/>
                </a:lnTo>
                <a:lnTo>
                  <a:pt x="587" y="135"/>
                </a:lnTo>
                <a:lnTo>
                  <a:pt x="592" y="135"/>
                </a:lnTo>
                <a:lnTo>
                  <a:pt x="598" y="135"/>
                </a:lnTo>
                <a:lnTo>
                  <a:pt x="607" y="135"/>
                </a:lnTo>
                <a:lnTo>
                  <a:pt x="627" y="135"/>
                </a:lnTo>
                <a:lnTo>
                  <a:pt x="657" y="127"/>
                </a:lnTo>
                <a:lnTo>
                  <a:pt x="667" y="127"/>
                </a:lnTo>
                <a:lnTo>
                  <a:pt x="672" y="127"/>
                </a:lnTo>
                <a:lnTo>
                  <a:pt x="683" y="127"/>
                </a:lnTo>
                <a:lnTo>
                  <a:pt x="687" y="127"/>
                </a:lnTo>
                <a:lnTo>
                  <a:pt x="692" y="127"/>
                </a:lnTo>
                <a:lnTo>
                  <a:pt x="697" y="131"/>
                </a:lnTo>
                <a:lnTo>
                  <a:pt x="702" y="135"/>
                </a:lnTo>
                <a:lnTo>
                  <a:pt x="707" y="135"/>
                </a:lnTo>
                <a:lnTo>
                  <a:pt x="707" y="141"/>
                </a:lnTo>
                <a:lnTo>
                  <a:pt x="707" y="146"/>
                </a:lnTo>
                <a:lnTo>
                  <a:pt x="702" y="150"/>
                </a:lnTo>
                <a:lnTo>
                  <a:pt x="702" y="156"/>
                </a:lnTo>
                <a:close/>
              </a:path>
            </a:pathLst>
          </a:custGeom>
          <a:solidFill>
            <a:srgbClr val="005027"/>
          </a:solidFill>
          <a:ln w="9525">
            <a:solidFill>
              <a:schemeClr val="bg1"/>
            </a:solidFill>
            <a:round/>
            <a:headEnd/>
            <a:tailEnd/>
          </a:ln>
        </p:spPr>
        <p:txBody>
          <a:bodyPr/>
          <a:lstStyle/>
          <a:p>
            <a:endParaRPr lang="ro-RO"/>
          </a:p>
        </p:txBody>
      </p:sp>
      <p:sp>
        <p:nvSpPr>
          <p:cNvPr id="12341" name="Freeform 51"/>
          <p:cNvSpPr>
            <a:spLocks/>
          </p:cNvSpPr>
          <p:nvPr/>
        </p:nvSpPr>
        <p:spPr bwMode="auto">
          <a:xfrm>
            <a:off x="2774950" y="2141538"/>
            <a:ext cx="876300" cy="1079500"/>
          </a:xfrm>
          <a:custGeom>
            <a:avLst/>
            <a:gdLst>
              <a:gd name="T0" fmla="*/ 2147483647 w 681"/>
              <a:gd name="T1" fmla="*/ 2147483647 h 782"/>
              <a:gd name="T2" fmla="*/ 2147483647 w 681"/>
              <a:gd name="T3" fmla="*/ 2147483647 h 782"/>
              <a:gd name="T4" fmla="*/ 2147483647 w 681"/>
              <a:gd name="T5" fmla="*/ 2147483647 h 782"/>
              <a:gd name="T6" fmla="*/ 2147483647 w 681"/>
              <a:gd name="T7" fmla="*/ 2147483647 h 782"/>
              <a:gd name="T8" fmla="*/ 2147483647 w 681"/>
              <a:gd name="T9" fmla="*/ 2147483647 h 782"/>
              <a:gd name="T10" fmla="*/ 2147483647 w 681"/>
              <a:gd name="T11" fmla="*/ 2147483647 h 782"/>
              <a:gd name="T12" fmla="*/ 2147483647 w 681"/>
              <a:gd name="T13" fmla="*/ 2147483647 h 782"/>
              <a:gd name="T14" fmla="*/ 2147483647 w 681"/>
              <a:gd name="T15" fmla="*/ 2147483647 h 782"/>
              <a:gd name="T16" fmla="*/ 2147483647 w 681"/>
              <a:gd name="T17" fmla="*/ 2147483647 h 782"/>
              <a:gd name="T18" fmla="*/ 2147483647 w 681"/>
              <a:gd name="T19" fmla="*/ 2147483647 h 782"/>
              <a:gd name="T20" fmla="*/ 2147483647 w 681"/>
              <a:gd name="T21" fmla="*/ 2147483647 h 782"/>
              <a:gd name="T22" fmla="*/ 2147483647 w 681"/>
              <a:gd name="T23" fmla="*/ 2147483647 h 782"/>
              <a:gd name="T24" fmla="*/ 2147483647 w 681"/>
              <a:gd name="T25" fmla="*/ 2147483647 h 782"/>
              <a:gd name="T26" fmla="*/ 2147483647 w 681"/>
              <a:gd name="T27" fmla="*/ 2147483647 h 782"/>
              <a:gd name="T28" fmla="*/ 2147483647 w 681"/>
              <a:gd name="T29" fmla="*/ 2147483647 h 782"/>
              <a:gd name="T30" fmla="*/ 2147483647 w 681"/>
              <a:gd name="T31" fmla="*/ 2147483647 h 782"/>
              <a:gd name="T32" fmla="*/ 2147483647 w 681"/>
              <a:gd name="T33" fmla="*/ 2147483647 h 782"/>
              <a:gd name="T34" fmla="*/ 2147483647 w 681"/>
              <a:gd name="T35" fmla="*/ 2147483647 h 782"/>
              <a:gd name="T36" fmla="*/ 2147483647 w 681"/>
              <a:gd name="T37" fmla="*/ 2147483647 h 782"/>
              <a:gd name="T38" fmla="*/ 2147483647 w 681"/>
              <a:gd name="T39" fmla="*/ 2147483647 h 782"/>
              <a:gd name="T40" fmla="*/ 0 w 681"/>
              <a:gd name="T41" fmla="*/ 2147483647 h 782"/>
              <a:gd name="T42" fmla="*/ 2147483647 w 681"/>
              <a:gd name="T43" fmla="*/ 2147483647 h 782"/>
              <a:gd name="T44" fmla="*/ 2147483647 w 681"/>
              <a:gd name="T45" fmla="*/ 2147483647 h 782"/>
              <a:gd name="T46" fmla="*/ 2147483647 w 681"/>
              <a:gd name="T47" fmla="*/ 2147483647 h 782"/>
              <a:gd name="T48" fmla="*/ 2147483647 w 681"/>
              <a:gd name="T49" fmla="*/ 2147483647 h 782"/>
              <a:gd name="T50" fmla="*/ 2147483647 w 681"/>
              <a:gd name="T51" fmla="*/ 2147483647 h 782"/>
              <a:gd name="T52" fmla="*/ 2147483647 w 681"/>
              <a:gd name="T53" fmla="*/ 2147483647 h 782"/>
              <a:gd name="T54" fmla="*/ 2147483647 w 681"/>
              <a:gd name="T55" fmla="*/ 2147483647 h 782"/>
              <a:gd name="T56" fmla="*/ 2147483647 w 681"/>
              <a:gd name="T57" fmla="*/ 2147483647 h 782"/>
              <a:gd name="T58" fmla="*/ 2147483647 w 681"/>
              <a:gd name="T59" fmla="*/ 2147483647 h 782"/>
              <a:gd name="T60" fmla="*/ 2147483647 w 681"/>
              <a:gd name="T61" fmla="*/ 2147483647 h 782"/>
              <a:gd name="T62" fmla="*/ 2147483647 w 681"/>
              <a:gd name="T63" fmla="*/ 2147483647 h 782"/>
              <a:gd name="T64" fmla="*/ 2147483647 w 681"/>
              <a:gd name="T65" fmla="*/ 2147483647 h 782"/>
              <a:gd name="T66" fmla="*/ 2147483647 w 681"/>
              <a:gd name="T67" fmla="*/ 2147483647 h 782"/>
              <a:gd name="T68" fmla="*/ 2147483647 w 681"/>
              <a:gd name="T69" fmla="*/ 2147483647 h 782"/>
              <a:gd name="T70" fmla="*/ 2147483647 w 681"/>
              <a:gd name="T71" fmla="*/ 2147483647 h 782"/>
              <a:gd name="T72" fmla="*/ 2147483647 w 681"/>
              <a:gd name="T73" fmla="*/ 2147483647 h 782"/>
              <a:gd name="T74" fmla="*/ 2147483647 w 681"/>
              <a:gd name="T75" fmla="*/ 2147483647 h 782"/>
              <a:gd name="T76" fmla="*/ 2147483647 w 681"/>
              <a:gd name="T77" fmla="*/ 2147483647 h 782"/>
              <a:gd name="T78" fmla="*/ 2147483647 w 681"/>
              <a:gd name="T79" fmla="*/ 2147483647 h 782"/>
              <a:gd name="T80" fmla="*/ 2147483647 w 681"/>
              <a:gd name="T81" fmla="*/ 2147483647 h 782"/>
              <a:gd name="T82" fmla="*/ 2147483647 w 681"/>
              <a:gd name="T83" fmla="*/ 2147483647 h 782"/>
              <a:gd name="T84" fmla="*/ 2147483647 w 681"/>
              <a:gd name="T85" fmla="*/ 2147483647 h 782"/>
              <a:gd name="T86" fmla="*/ 2147483647 w 681"/>
              <a:gd name="T87" fmla="*/ 2147483647 h 782"/>
              <a:gd name="T88" fmla="*/ 2147483647 w 681"/>
              <a:gd name="T89" fmla="*/ 2147483647 h 782"/>
              <a:gd name="T90" fmla="*/ 2147483647 w 681"/>
              <a:gd name="T91" fmla="*/ 2147483647 h 782"/>
              <a:gd name="T92" fmla="*/ 2147483647 w 681"/>
              <a:gd name="T93" fmla="*/ 2147483647 h 782"/>
              <a:gd name="T94" fmla="*/ 2147483647 w 681"/>
              <a:gd name="T95" fmla="*/ 2147483647 h 782"/>
              <a:gd name="T96" fmla="*/ 2147483647 w 681"/>
              <a:gd name="T97" fmla="*/ 2147483647 h 782"/>
              <a:gd name="T98" fmla="*/ 2147483647 w 681"/>
              <a:gd name="T99" fmla="*/ 2147483647 h 782"/>
              <a:gd name="T100" fmla="*/ 2147483647 w 681"/>
              <a:gd name="T101" fmla="*/ 2147483647 h 782"/>
              <a:gd name="T102" fmla="*/ 2147483647 w 681"/>
              <a:gd name="T103" fmla="*/ 2147483647 h 782"/>
              <a:gd name="T104" fmla="*/ 2147483647 w 681"/>
              <a:gd name="T105" fmla="*/ 2147483647 h 782"/>
              <a:gd name="T106" fmla="*/ 2147483647 w 681"/>
              <a:gd name="T107" fmla="*/ 2147483647 h 782"/>
              <a:gd name="T108" fmla="*/ 2147483647 w 681"/>
              <a:gd name="T109" fmla="*/ 2147483647 h 782"/>
              <a:gd name="T110" fmla="*/ 2147483647 w 681"/>
              <a:gd name="T111" fmla="*/ 2147483647 h 782"/>
              <a:gd name="T112" fmla="*/ 2147483647 w 681"/>
              <a:gd name="T113" fmla="*/ 2147483647 h 782"/>
              <a:gd name="T114" fmla="*/ 2147483647 w 681"/>
              <a:gd name="T115" fmla="*/ 2147483647 h 782"/>
              <a:gd name="T116" fmla="*/ 2147483647 w 681"/>
              <a:gd name="T117" fmla="*/ 2147483647 h 782"/>
              <a:gd name="T118" fmla="*/ 2147483647 w 681"/>
              <a:gd name="T119" fmla="*/ 2147483647 h 782"/>
              <a:gd name="T120" fmla="*/ 2147483647 w 681"/>
              <a:gd name="T121" fmla="*/ 2147483647 h 78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81"/>
              <a:gd name="T184" fmla="*/ 0 h 782"/>
              <a:gd name="T185" fmla="*/ 681 w 681"/>
              <a:gd name="T186" fmla="*/ 782 h 78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81" h="782">
                <a:moveTo>
                  <a:pt x="651" y="44"/>
                </a:moveTo>
                <a:lnTo>
                  <a:pt x="646" y="38"/>
                </a:lnTo>
                <a:lnTo>
                  <a:pt x="631" y="34"/>
                </a:lnTo>
                <a:lnTo>
                  <a:pt x="596" y="34"/>
                </a:lnTo>
                <a:lnTo>
                  <a:pt x="581" y="29"/>
                </a:lnTo>
                <a:lnTo>
                  <a:pt x="572" y="19"/>
                </a:lnTo>
                <a:lnTo>
                  <a:pt x="557" y="0"/>
                </a:lnTo>
                <a:lnTo>
                  <a:pt x="557" y="5"/>
                </a:lnTo>
                <a:lnTo>
                  <a:pt x="552" y="10"/>
                </a:lnTo>
                <a:lnTo>
                  <a:pt x="537" y="15"/>
                </a:lnTo>
                <a:lnTo>
                  <a:pt x="517" y="19"/>
                </a:lnTo>
                <a:lnTo>
                  <a:pt x="492" y="25"/>
                </a:lnTo>
                <a:lnTo>
                  <a:pt x="477" y="34"/>
                </a:lnTo>
                <a:lnTo>
                  <a:pt x="467" y="48"/>
                </a:lnTo>
                <a:lnTo>
                  <a:pt x="461" y="63"/>
                </a:lnTo>
                <a:lnTo>
                  <a:pt x="452" y="87"/>
                </a:lnTo>
                <a:lnTo>
                  <a:pt x="427" y="106"/>
                </a:lnTo>
                <a:lnTo>
                  <a:pt x="413" y="116"/>
                </a:lnTo>
                <a:lnTo>
                  <a:pt x="402" y="126"/>
                </a:lnTo>
                <a:lnTo>
                  <a:pt x="398" y="135"/>
                </a:lnTo>
                <a:lnTo>
                  <a:pt x="402" y="150"/>
                </a:lnTo>
                <a:lnTo>
                  <a:pt x="407" y="165"/>
                </a:lnTo>
                <a:lnTo>
                  <a:pt x="402" y="179"/>
                </a:lnTo>
                <a:lnTo>
                  <a:pt x="392" y="179"/>
                </a:lnTo>
                <a:lnTo>
                  <a:pt x="372" y="165"/>
                </a:lnTo>
                <a:lnTo>
                  <a:pt x="357" y="150"/>
                </a:lnTo>
                <a:lnTo>
                  <a:pt x="348" y="150"/>
                </a:lnTo>
                <a:lnTo>
                  <a:pt x="337" y="160"/>
                </a:lnTo>
                <a:lnTo>
                  <a:pt x="333" y="174"/>
                </a:lnTo>
                <a:lnTo>
                  <a:pt x="322" y="198"/>
                </a:lnTo>
                <a:lnTo>
                  <a:pt x="308" y="227"/>
                </a:lnTo>
                <a:lnTo>
                  <a:pt x="298" y="251"/>
                </a:lnTo>
                <a:lnTo>
                  <a:pt x="283" y="266"/>
                </a:lnTo>
                <a:lnTo>
                  <a:pt x="273" y="271"/>
                </a:lnTo>
                <a:lnTo>
                  <a:pt x="258" y="271"/>
                </a:lnTo>
                <a:lnTo>
                  <a:pt x="219" y="275"/>
                </a:lnTo>
                <a:lnTo>
                  <a:pt x="178" y="271"/>
                </a:lnTo>
                <a:lnTo>
                  <a:pt x="159" y="266"/>
                </a:lnTo>
                <a:lnTo>
                  <a:pt x="139" y="256"/>
                </a:lnTo>
                <a:lnTo>
                  <a:pt x="134" y="256"/>
                </a:lnTo>
                <a:lnTo>
                  <a:pt x="124" y="256"/>
                </a:lnTo>
                <a:lnTo>
                  <a:pt x="109" y="256"/>
                </a:lnTo>
                <a:lnTo>
                  <a:pt x="94" y="266"/>
                </a:lnTo>
                <a:lnTo>
                  <a:pt x="80" y="275"/>
                </a:lnTo>
                <a:lnTo>
                  <a:pt x="69" y="285"/>
                </a:lnTo>
                <a:lnTo>
                  <a:pt x="65" y="294"/>
                </a:lnTo>
                <a:lnTo>
                  <a:pt x="69" y="304"/>
                </a:lnTo>
                <a:lnTo>
                  <a:pt x="74" y="309"/>
                </a:lnTo>
                <a:lnTo>
                  <a:pt x="84" y="319"/>
                </a:lnTo>
                <a:lnTo>
                  <a:pt x="89" y="324"/>
                </a:lnTo>
                <a:lnTo>
                  <a:pt x="84" y="343"/>
                </a:lnTo>
                <a:lnTo>
                  <a:pt x="74" y="353"/>
                </a:lnTo>
                <a:lnTo>
                  <a:pt x="60" y="357"/>
                </a:lnTo>
                <a:lnTo>
                  <a:pt x="50" y="362"/>
                </a:lnTo>
                <a:lnTo>
                  <a:pt x="45" y="368"/>
                </a:lnTo>
                <a:lnTo>
                  <a:pt x="45" y="382"/>
                </a:lnTo>
                <a:lnTo>
                  <a:pt x="50" y="401"/>
                </a:lnTo>
                <a:lnTo>
                  <a:pt x="50" y="421"/>
                </a:lnTo>
                <a:lnTo>
                  <a:pt x="45" y="435"/>
                </a:lnTo>
                <a:lnTo>
                  <a:pt x="30" y="440"/>
                </a:lnTo>
                <a:lnTo>
                  <a:pt x="20" y="444"/>
                </a:lnTo>
                <a:lnTo>
                  <a:pt x="10" y="450"/>
                </a:lnTo>
                <a:lnTo>
                  <a:pt x="0" y="464"/>
                </a:lnTo>
                <a:lnTo>
                  <a:pt x="0" y="483"/>
                </a:lnTo>
                <a:lnTo>
                  <a:pt x="10" y="503"/>
                </a:lnTo>
                <a:lnTo>
                  <a:pt x="15" y="503"/>
                </a:lnTo>
                <a:lnTo>
                  <a:pt x="30" y="497"/>
                </a:lnTo>
                <a:lnTo>
                  <a:pt x="39" y="507"/>
                </a:lnTo>
                <a:lnTo>
                  <a:pt x="34" y="522"/>
                </a:lnTo>
                <a:lnTo>
                  <a:pt x="30" y="537"/>
                </a:lnTo>
                <a:lnTo>
                  <a:pt x="25" y="550"/>
                </a:lnTo>
                <a:lnTo>
                  <a:pt x="20" y="560"/>
                </a:lnTo>
                <a:lnTo>
                  <a:pt x="25" y="571"/>
                </a:lnTo>
                <a:lnTo>
                  <a:pt x="34" y="571"/>
                </a:lnTo>
                <a:lnTo>
                  <a:pt x="39" y="571"/>
                </a:lnTo>
                <a:lnTo>
                  <a:pt x="45" y="584"/>
                </a:lnTo>
                <a:lnTo>
                  <a:pt x="54" y="594"/>
                </a:lnTo>
                <a:lnTo>
                  <a:pt x="60" y="594"/>
                </a:lnTo>
                <a:lnTo>
                  <a:pt x="65" y="590"/>
                </a:lnTo>
                <a:lnTo>
                  <a:pt x="74" y="590"/>
                </a:lnTo>
                <a:lnTo>
                  <a:pt x="84" y="594"/>
                </a:lnTo>
                <a:lnTo>
                  <a:pt x="94" y="609"/>
                </a:lnTo>
                <a:lnTo>
                  <a:pt x="109" y="624"/>
                </a:lnTo>
                <a:lnTo>
                  <a:pt x="124" y="638"/>
                </a:lnTo>
                <a:lnTo>
                  <a:pt x="139" y="647"/>
                </a:lnTo>
                <a:lnTo>
                  <a:pt x="143" y="652"/>
                </a:lnTo>
                <a:lnTo>
                  <a:pt x="163" y="652"/>
                </a:lnTo>
                <a:lnTo>
                  <a:pt x="189" y="657"/>
                </a:lnTo>
                <a:lnTo>
                  <a:pt x="213" y="662"/>
                </a:lnTo>
                <a:lnTo>
                  <a:pt x="228" y="662"/>
                </a:lnTo>
                <a:lnTo>
                  <a:pt x="243" y="657"/>
                </a:lnTo>
                <a:lnTo>
                  <a:pt x="263" y="657"/>
                </a:lnTo>
                <a:lnTo>
                  <a:pt x="283" y="657"/>
                </a:lnTo>
                <a:lnTo>
                  <a:pt x="298" y="662"/>
                </a:lnTo>
                <a:lnTo>
                  <a:pt x="308" y="662"/>
                </a:lnTo>
                <a:lnTo>
                  <a:pt x="317" y="652"/>
                </a:lnTo>
                <a:lnTo>
                  <a:pt x="328" y="647"/>
                </a:lnTo>
                <a:lnTo>
                  <a:pt x="343" y="643"/>
                </a:lnTo>
                <a:lnTo>
                  <a:pt x="357" y="638"/>
                </a:lnTo>
                <a:lnTo>
                  <a:pt x="367" y="638"/>
                </a:lnTo>
                <a:lnTo>
                  <a:pt x="372" y="643"/>
                </a:lnTo>
                <a:lnTo>
                  <a:pt x="378" y="652"/>
                </a:lnTo>
                <a:lnTo>
                  <a:pt x="383" y="672"/>
                </a:lnTo>
                <a:lnTo>
                  <a:pt x="383" y="696"/>
                </a:lnTo>
                <a:lnTo>
                  <a:pt x="383" y="720"/>
                </a:lnTo>
                <a:lnTo>
                  <a:pt x="383" y="740"/>
                </a:lnTo>
                <a:lnTo>
                  <a:pt x="383" y="749"/>
                </a:lnTo>
                <a:lnTo>
                  <a:pt x="383" y="759"/>
                </a:lnTo>
                <a:lnTo>
                  <a:pt x="383" y="763"/>
                </a:lnTo>
                <a:lnTo>
                  <a:pt x="383" y="768"/>
                </a:lnTo>
                <a:lnTo>
                  <a:pt x="383" y="773"/>
                </a:lnTo>
                <a:lnTo>
                  <a:pt x="392" y="773"/>
                </a:lnTo>
                <a:lnTo>
                  <a:pt x="407" y="773"/>
                </a:lnTo>
                <a:lnTo>
                  <a:pt x="427" y="768"/>
                </a:lnTo>
                <a:lnTo>
                  <a:pt x="457" y="763"/>
                </a:lnTo>
                <a:lnTo>
                  <a:pt x="467" y="763"/>
                </a:lnTo>
                <a:lnTo>
                  <a:pt x="482" y="763"/>
                </a:lnTo>
                <a:lnTo>
                  <a:pt x="496" y="768"/>
                </a:lnTo>
                <a:lnTo>
                  <a:pt x="511" y="782"/>
                </a:lnTo>
                <a:lnTo>
                  <a:pt x="517" y="763"/>
                </a:lnTo>
                <a:lnTo>
                  <a:pt x="517" y="744"/>
                </a:lnTo>
                <a:lnTo>
                  <a:pt x="527" y="734"/>
                </a:lnTo>
                <a:lnTo>
                  <a:pt x="537" y="730"/>
                </a:lnTo>
                <a:lnTo>
                  <a:pt x="546" y="730"/>
                </a:lnTo>
                <a:lnTo>
                  <a:pt x="552" y="730"/>
                </a:lnTo>
                <a:lnTo>
                  <a:pt x="557" y="730"/>
                </a:lnTo>
                <a:lnTo>
                  <a:pt x="576" y="730"/>
                </a:lnTo>
                <a:lnTo>
                  <a:pt x="596" y="730"/>
                </a:lnTo>
                <a:lnTo>
                  <a:pt x="611" y="720"/>
                </a:lnTo>
                <a:lnTo>
                  <a:pt x="601" y="691"/>
                </a:lnTo>
                <a:lnTo>
                  <a:pt x="586" y="672"/>
                </a:lnTo>
                <a:lnTo>
                  <a:pt x="576" y="662"/>
                </a:lnTo>
                <a:lnTo>
                  <a:pt x="561" y="662"/>
                </a:lnTo>
                <a:lnTo>
                  <a:pt x="541" y="667"/>
                </a:lnTo>
                <a:lnTo>
                  <a:pt x="527" y="667"/>
                </a:lnTo>
                <a:lnTo>
                  <a:pt x="511" y="662"/>
                </a:lnTo>
                <a:lnTo>
                  <a:pt x="502" y="643"/>
                </a:lnTo>
                <a:lnTo>
                  <a:pt x="492" y="628"/>
                </a:lnTo>
                <a:lnTo>
                  <a:pt x="477" y="609"/>
                </a:lnTo>
                <a:lnTo>
                  <a:pt x="467" y="594"/>
                </a:lnTo>
                <a:lnTo>
                  <a:pt x="467" y="584"/>
                </a:lnTo>
                <a:lnTo>
                  <a:pt x="467" y="575"/>
                </a:lnTo>
                <a:lnTo>
                  <a:pt x="477" y="565"/>
                </a:lnTo>
                <a:lnTo>
                  <a:pt x="492" y="560"/>
                </a:lnTo>
                <a:lnTo>
                  <a:pt x="502" y="560"/>
                </a:lnTo>
                <a:lnTo>
                  <a:pt x="511" y="560"/>
                </a:lnTo>
                <a:lnTo>
                  <a:pt x="517" y="556"/>
                </a:lnTo>
                <a:lnTo>
                  <a:pt x="507" y="541"/>
                </a:lnTo>
                <a:lnTo>
                  <a:pt x="502" y="527"/>
                </a:lnTo>
                <a:lnTo>
                  <a:pt x="507" y="517"/>
                </a:lnTo>
                <a:lnTo>
                  <a:pt x="517" y="517"/>
                </a:lnTo>
                <a:lnTo>
                  <a:pt x="531" y="512"/>
                </a:lnTo>
                <a:lnTo>
                  <a:pt x="537" y="507"/>
                </a:lnTo>
                <a:lnTo>
                  <a:pt x="541" y="493"/>
                </a:lnTo>
                <a:lnTo>
                  <a:pt x="537" y="459"/>
                </a:lnTo>
                <a:lnTo>
                  <a:pt x="546" y="444"/>
                </a:lnTo>
                <a:lnTo>
                  <a:pt x="561" y="435"/>
                </a:lnTo>
                <a:lnTo>
                  <a:pt x="586" y="425"/>
                </a:lnTo>
                <a:lnTo>
                  <a:pt x="611" y="421"/>
                </a:lnTo>
                <a:lnTo>
                  <a:pt x="631" y="411"/>
                </a:lnTo>
                <a:lnTo>
                  <a:pt x="641" y="391"/>
                </a:lnTo>
                <a:lnTo>
                  <a:pt x="651" y="368"/>
                </a:lnTo>
                <a:lnTo>
                  <a:pt x="670" y="353"/>
                </a:lnTo>
                <a:lnTo>
                  <a:pt x="681" y="343"/>
                </a:lnTo>
                <a:lnTo>
                  <a:pt x="681" y="334"/>
                </a:lnTo>
                <a:lnTo>
                  <a:pt x="681" y="319"/>
                </a:lnTo>
                <a:lnTo>
                  <a:pt x="670" y="304"/>
                </a:lnTo>
                <a:lnTo>
                  <a:pt x="670" y="290"/>
                </a:lnTo>
                <a:lnTo>
                  <a:pt x="681" y="261"/>
                </a:lnTo>
                <a:lnTo>
                  <a:pt x="681" y="247"/>
                </a:lnTo>
                <a:lnTo>
                  <a:pt x="676" y="232"/>
                </a:lnTo>
                <a:lnTo>
                  <a:pt x="670" y="218"/>
                </a:lnTo>
                <a:lnTo>
                  <a:pt x="670" y="203"/>
                </a:lnTo>
                <a:lnTo>
                  <a:pt x="676" y="188"/>
                </a:lnTo>
                <a:lnTo>
                  <a:pt x="676" y="169"/>
                </a:lnTo>
                <a:lnTo>
                  <a:pt x="681" y="145"/>
                </a:lnTo>
                <a:lnTo>
                  <a:pt x="681" y="121"/>
                </a:lnTo>
                <a:lnTo>
                  <a:pt x="676" y="97"/>
                </a:lnTo>
                <a:lnTo>
                  <a:pt x="661" y="82"/>
                </a:lnTo>
                <a:lnTo>
                  <a:pt x="646" y="72"/>
                </a:lnTo>
                <a:lnTo>
                  <a:pt x="646" y="59"/>
                </a:lnTo>
                <a:lnTo>
                  <a:pt x="651" y="48"/>
                </a:lnTo>
                <a:lnTo>
                  <a:pt x="651" y="44"/>
                </a:lnTo>
                <a:close/>
              </a:path>
            </a:pathLst>
          </a:custGeom>
          <a:solidFill>
            <a:srgbClr val="005027"/>
          </a:solidFill>
          <a:ln w="9525">
            <a:solidFill>
              <a:schemeClr val="bg1"/>
            </a:solidFill>
            <a:round/>
            <a:headEnd/>
            <a:tailEnd/>
          </a:ln>
        </p:spPr>
        <p:txBody>
          <a:bodyPr/>
          <a:lstStyle/>
          <a:p>
            <a:endParaRPr lang="ro-RO"/>
          </a:p>
        </p:txBody>
      </p:sp>
      <p:sp>
        <p:nvSpPr>
          <p:cNvPr id="12342" name="Freeform 52"/>
          <p:cNvSpPr>
            <a:spLocks/>
          </p:cNvSpPr>
          <p:nvPr/>
        </p:nvSpPr>
        <p:spPr bwMode="auto">
          <a:xfrm>
            <a:off x="1733550" y="2913063"/>
            <a:ext cx="792163" cy="1089025"/>
          </a:xfrm>
          <a:custGeom>
            <a:avLst/>
            <a:gdLst>
              <a:gd name="T0" fmla="*/ 2147483647 w 615"/>
              <a:gd name="T1" fmla="*/ 2147483647 h 788"/>
              <a:gd name="T2" fmla="*/ 2147483647 w 615"/>
              <a:gd name="T3" fmla="*/ 2147483647 h 788"/>
              <a:gd name="T4" fmla="*/ 2147483647 w 615"/>
              <a:gd name="T5" fmla="*/ 2147483647 h 788"/>
              <a:gd name="T6" fmla="*/ 2147483647 w 615"/>
              <a:gd name="T7" fmla="*/ 2147483647 h 788"/>
              <a:gd name="T8" fmla="*/ 2147483647 w 615"/>
              <a:gd name="T9" fmla="*/ 2147483647 h 788"/>
              <a:gd name="T10" fmla="*/ 2147483647 w 615"/>
              <a:gd name="T11" fmla="*/ 2147483647 h 788"/>
              <a:gd name="T12" fmla="*/ 2147483647 w 615"/>
              <a:gd name="T13" fmla="*/ 2147483647 h 788"/>
              <a:gd name="T14" fmla="*/ 2147483647 w 615"/>
              <a:gd name="T15" fmla="*/ 2147483647 h 788"/>
              <a:gd name="T16" fmla="*/ 2147483647 w 615"/>
              <a:gd name="T17" fmla="*/ 2147483647 h 788"/>
              <a:gd name="T18" fmla="*/ 2147483647 w 615"/>
              <a:gd name="T19" fmla="*/ 2147483647 h 788"/>
              <a:gd name="T20" fmla="*/ 2147483647 w 615"/>
              <a:gd name="T21" fmla="*/ 2147483647 h 788"/>
              <a:gd name="T22" fmla="*/ 2147483647 w 615"/>
              <a:gd name="T23" fmla="*/ 2147483647 h 788"/>
              <a:gd name="T24" fmla="*/ 2147483647 w 615"/>
              <a:gd name="T25" fmla="*/ 2147483647 h 788"/>
              <a:gd name="T26" fmla="*/ 2147483647 w 615"/>
              <a:gd name="T27" fmla="*/ 2147483647 h 788"/>
              <a:gd name="T28" fmla="*/ 2147483647 w 615"/>
              <a:gd name="T29" fmla="*/ 2147483647 h 788"/>
              <a:gd name="T30" fmla="*/ 2147483647 w 615"/>
              <a:gd name="T31" fmla="*/ 2147483647 h 788"/>
              <a:gd name="T32" fmla="*/ 2147483647 w 615"/>
              <a:gd name="T33" fmla="*/ 2147483647 h 788"/>
              <a:gd name="T34" fmla="*/ 2147483647 w 615"/>
              <a:gd name="T35" fmla="*/ 0 h 788"/>
              <a:gd name="T36" fmla="*/ 2147483647 w 615"/>
              <a:gd name="T37" fmla="*/ 2147483647 h 788"/>
              <a:gd name="T38" fmla="*/ 2147483647 w 615"/>
              <a:gd name="T39" fmla="*/ 2147483647 h 788"/>
              <a:gd name="T40" fmla="*/ 2147483647 w 615"/>
              <a:gd name="T41" fmla="*/ 2147483647 h 788"/>
              <a:gd name="T42" fmla="*/ 2147483647 w 615"/>
              <a:gd name="T43" fmla="*/ 2147483647 h 788"/>
              <a:gd name="T44" fmla="*/ 2147483647 w 615"/>
              <a:gd name="T45" fmla="*/ 2147483647 h 788"/>
              <a:gd name="T46" fmla="*/ 2147483647 w 615"/>
              <a:gd name="T47" fmla="*/ 2147483647 h 788"/>
              <a:gd name="T48" fmla="*/ 2147483647 w 615"/>
              <a:gd name="T49" fmla="*/ 2147483647 h 788"/>
              <a:gd name="T50" fmla="*/ 0 w 615"/>
              <a:gd name="T51" fmla="*/ 2147483647 h 788"/>
              <a:gd name="T52" fmla="*/ 2147483647 w 615"/>
              <a:gd name="T53" fmla="*/ 2147483647 h 788"/>
              <a:gd name="T54" fmla="*/ 0 w 615"/>
              <a:gd name="T55" fmla="*/ 2147483647 h 788"/>
              <a:gd name="T56" fmla="*/ 2147483647 w 615"/>
              <a:gd name="T57" fmla="*/ 2147483647 h 788"/>
              <a:gd name="T58" fmla="*/ 2147483647 w 615"/>
              <a:gd name="T59" fmla="*/ 2147483647 h 788"/>
              <a:gd name="T60" fmla="*/ 2147483647 w 615"/>
              <a:gd name="T61" fmla="*/ 2147483647 h 788"/>
              <a:gd name="T62" fmla="*/ 2147483647 w 615"/>
              <a:gd name="T63" fmla="*/ 2147483647 h 788"/>
              <a:gd name="T64" fmla="*/ 2147483647 w 615"/>
              <a:gd name="T65" fmla="*/ 2147483647 h 788"/>
              <a:gd name="T66" fmla="*/ 2147483647 w 615"/>
              <a:gd name="T67" fmla="*/ 2147483647 h 788"/>
              <a:gd name="T68" fmla="*/ 2147483647 w 615"/>
              <a:gd name="T69" fmla="*/ 2147483647 h 788"/>
              <a:gd name="T70" fmla="*/ 2147483647 w 615"/>
              <a:gd name="T71" fmla="*/ 2147483647 h 788"/>
              <a:gd name="T72" fmla="*/ 2147483647 w 615"/>
              <a:gd name="T73" fmla="*/ 2147483647 h 788"/>
              <a:gd name="T74" fmla="*/ 2147483647 w 615"/>
              <a:gd name="T75" fmla="*/ 2147483647 h 788"/>
              <a:gd name="T76" fmla="*/ 2147483647 w 615"/>
              <a:gd name="T77" fmla="*/ 2147483647 h 788"/>
              <a:gd name="T78" fmla="*/ 2147483647 w 615"/>
              <a:gd name="T79" fmla="*/ 2147483647 h 788"/>
              <a:gd name="T80" fmla="*/ 2147483647 w 615"/>
              <a:gd name="T81" fmla="*/ 2147483647 h 788"/>
              <a:gd name="T82" fmla="*/ 2147483647 w 615"/>
              <a:gd name="T83" fmla="*/ 2147483647 h 788"/>
              <a:gd name="T84" fmla="*/ 2147483647 w 615"/>
              <a:gd name="T85" fmla="*/ 2147483647 h 788"/>
              <a:gd name="T86" fmla="*/ 2147483647 w 615"/>
              <a:gd name="T87" fmla="*/ 2147483647 h 788"/>
              <a:gd name="T88" fmla="*/ 2147483647 w 615"/>
              <a:gd name="T89" fmla="*/ 2147483647 h 788"/>
              <a:gd name="T90" fmla="*/ 2147483647 w 615"/>
              <a:gd name="T91" fmla="*/ 2147483647 h 788"/>
              <a:gd name="T92" fmla="*/ 2147483647 w 615"/>
              <a:gd name="T93" fmla="*/ 2147483647 h 788"/>
              <a:gd name="T94" fmla="*/ 2147483647 w 615"/>
              <a:gd name="T95" fmla="*/ 2147483647 h 788"/>
              <a:gd name="T96" fmla="*/ 2147483647 w 615"/>
              <a:gd name="T97" fmla="*/ 2147483647 h 788"/>
              <a:gd name="T98" fmla="*/ 2147483647 w 615"/>
              <a:gd name="T99" fmla="*/ 2147483647 h 788"/>
              <a:gd name="T100" fmla="*/ 2147483647 w 615"/>
              <a:gd name="T101" fmla="*/ 2147483647 h 78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5"/>
              <a:gd name="T154" fmla="*/ 0 h 788"/>
              <a:gd name="T155" fmla="*/ 615 w 615"/>
              <a:gd name="T156" fmla="*/ 788 h 78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5" h="788">
                <a:moveTo>
                  <a:pt x="615" y="667"/>
                </a:moveTo>
                <a:lnTo>
                  <a:pt x="615" y="658"/>
                </a:lnTo>
                <a:lnTo>
                  <a:pt x="611" y="643"/>
                </a:lnTo>
                <a:lnTo>
                  <a:pt x="606" y="619"/>
                </a:lnTo>
                <a:lnTo>
                  <a:pt x="586" y="599"/>
                </a:lnTo>
                <a:lnTo>
                  <a:pt x="572" y="585"/>
                </a:lnTo>
                <a:lnTo>
                  <a:pt x="566" y="576"/>
                </a:lnTo>
                <a:lnTo>
                  <a:pt x="561" y="566"/>
                </a:lnTo>
                <a:lnTo>
                  <a:pt x="537" y="570"/>
                </a:lnTo>
                <a:lnTo>
                  <a:pt x="526" y="542"/>
                </a:lnTo>
                <a:lnTo>
                  <a:pt x="507" y="536"/>
                </a:lnTo>
                <a:lnTo>
                  <a:pt x="511" y="502"/>
                </a:lnTo>
                <a:lnTo>
                  <a:pt x="507" y="468"/>
                </a:lnTo>
                <a:lnTo>
                  <a:pt x="507" y="464"/>
                </a:lnTo>
                <a:lnTo>
                  <a:pt x="507" y="455"/>
                </a:lnTo>
                <a:lnTo>
                  <a:pt x="502" y="426"/>
                </a:lnTo>
                <a:lnTo>
                  <a:pt x="502" y="415"/>
                </a:lnTo>
                <a:lnTo>
                  <a:pt x="496" y="402"/>
                </a:lnTo>
                <a:lnTo>
                  <a:pt x="487" y="372"/>
                </a:lnTo>
                <a:lnTo>
                  <a:pt x="477" y="343"/>
                </a:lnTo>
                <a:lnTo>
                  <a:pt x="472" y="334"/>
                </a:lnTo>
                <a:lnTo>
                  <a:pt x="472" y="328"/>
                </a:lnTo>
                <a:lnTo>
                  <a:pt x="432" y="252"/>
                </a:lnTo>
                <a:lnTo>
                  <a:pt x="432" y="246"/>
                </a:lnTo>
                <a:lnTo>
                  <a:pt x="427" y="242"/>
                </a:lnTo>
                <a:lnTo>
                  <a:pt x="413" y="237"/>
                </a:lnTo>
                <a:lnTo>
                  <a:pt x="392" y="237"/>
                </a:lnTo>
                <a:lnTo>
                  <a:pt x="378" y="237"/>
                </a:lnTo>
                <a:lnTo>
                  <a:pt x="368" y="227"/>
                </a:lnTo>
                <a:lnTo>
                  <a:pt x="363" y="218"/>
                </a:lnTo>
                <a:lnTo>
                  <a:pt x="363" y="208"/>
                </a:lnTo>
                <a:lnTo>
                  <a:pt x="363" y="199"/>
                </a:lnTo>
                <a:lnTo>
                  <a:pt x="363" y="189"/>
                </a:lnTo>
                <a:lnTo>
                  <a:pt x="357" y="179"/>
                </a:lnTo>
                <a:lnTo>
                  <a:pt x="353" y="169"/>
                </a:lnTo>
                <a:lnTo>
                  <a:pt x="353" y="159"/>
                </a:lnTo>
                <a:lnTo>
                  <a:pt x="353" y="150"/>
                </a:lnTo>
                <a:lnTo>
                  <a:pt x="357" y="136"/>
                </a:lnTo>
                <a:lnTo>
                  <a:pt x="357" y="121"/>
                </a:lnTo>
                <a:lnTo>
                  <a:pt x="353" y="112"/>
                </a:lnTo>
                <a:lnTo>
                  <a:pt x="337" y="102"/>
                </a:lnTo>
                <a:lnTo>
                  <a:pt x="328" y="102"/>
                </a:lnTo>
                <a:lnTo>
                  <a:pt x="318" y="102"/>
                </a:lnTo>
                <a:lnTo>
                  <a:pt x="309" y="97"/>
                </a:lnTo>
                <a:lnTo>
                  <a:pt x="303" y="87"/>
                </a:lnTo>
                <a:lnTo>
                  <a:pt x="298" y="68"/>
                </a:lnTo>
                <a:lnTo>
                  <a:pt x="294" y="48"/>
                </a:lnTo>
                <a:lnTo>
                  <a:pt x="288" y="29"/>
                </a:lnTo>
                <a:lnTo>
                  <a:pt x="274" y="24"/>
                </a:lnTo>
                <a:lnTo>
                  <a:pt x="263" y="19"/>
                </a:lnTo>
                <a:lnTo>
                  <a:pt x="244" y="15"/>
                </a:lnTo>
                <a:lnTo>
                  <a:pt x="224" y="10"/>
                </a:lnTo>
                <a:lnTo>
                  <a:pt x="204" y="5"/>
                </a:lnTo>
                <a:lnTo>
                  <a:pt x="194" y="0"/>
                </a:lnTo>
                <a:lnTo>
                  <a:pt x="174" y="5"/>
                </a:lnTo>
                <a:lnTo>
                  <a:pt x="164" y="10"/>
                </a:lnTo>
                <a:lnTo>
                  <a:pt x="155" y="24"/>
                </a:lnTo>
                <a:lnTo>
                  <a:pt x="150" y="48"/>
                </a:lnTo>
                <a:lnTo>
                  <a:pt x="144" y="72"/>
                </a:lnTo>
                <a:lnTo>
                  <a:pt x="129" y="82"/>
                </a:lnTo>
                <a:lnTo>
                  <a:pt x="109" y="82"/>
                </a:lnTo>
                <a:lnTo>
                  <a:pt x="80" y="82"/>
                </a:lnTo>
                <a:lnTo>
                  <a:pt x="66" y="82"/>
                </a:lnTo>
                <a:lnTo>
                  <a:pt x="55" y="82"/>
                </a:lnTo>
                <a:lnTo>
                  <a:pt x="46" y="97"/>
                </a:lnTo>
                <a:lnTo>
                  <a:pt x="46" y="112"/>
                </a:lnTo>
                <a:lnTo>
                  <a:pt x="46" y="125"/>
                </a:lnTo>
                <a:lnTo>
                  <a:pt x="40" y="136"/>
                </a:lnTo>
                <a:lnTo>
                  <a:pt x="35" y="146"/>
                </a:lnTo>
                <a:lnTo>
                  <a:pt x="25" y="155"/>
                </a:lnTo>
                <a:lnTo>
                  <a:pt x="20" y="165"/>
                </a:lnTo>
                <a:lnTo>
                  <a:pt x="20" y="179"/>
                </a:lnTo>
                <a:lnTo>
                  <a:pt x="25" y="199"/>
                </a:lnTo>
                <a:lnTo>
                  <a:pt x="25" y="218"/>
                </a:lnTo>
                <a:lnTo>
                  <a:pt x="16" y="227"/>
                </a:lnTo>
                <a:lnTo>
                  <a:pt x="5" y="237"/>
                </a:lnTo>
                <a:lnTo>
                  <a:pt x="0" y="246"/>
                </a:lnTo>
                <a:lnTo>
                  <a:pt x="0" y="261"/>
                </a:lnTo>
                <a:lnTo>
                  <a:pt x="0" y="266"/>
                </a:lnTo>
                <a:lnTo>
                  <a:pt x="16" y="275"/>
                </a:lnTo>
                <a:lnTo>
                  <a:pt x="16" y="285"/>
                </a:lnTo>
                <a:lnTo>
                  <a:pt x="11" y="290"/>
                </a:lnTo>
                <a:lnTo>
                  <a:pt x="5" y="305"/>
                </a:lnTo>
                <a:lnTo>
                  <a:pt x="0" y="314"/>
                </a:lnTo>
                <a:lnTo>
                  <a:pt x="5" y="334"/>
                </a:lnTo>
                <a:lnTo>
                  <a:pt x="11" y="343"/>
                </a:lnTo>
                <a:lnTo>
                  <a:pt x="25" y="348"/>
                </a:lnTo>
                <a:lnTo>
                  <a:pt x="35" y="358"/>
                </a:lnTo>
                <a:lnTo>
                  <a:pt x="40" y="368"/>
                </a:lnTo>
                <a:lnTo>
                  <a:pt x="46" y="381"/>
                </a:lnTo>
                <a:lnTo>
                  <a:pt x="60" y="387"/>
                </a:lnTo>
                <a:lnTo>
                  <a:pt x="70" y="387"/>
                </a:lnTo>
                <a:lnTo>
                  <a:pt x="70" y="396"/>
                </a:lnTo>
                <a:lnTo>
                  <a:pt x="70" y="411"/>
                </a:lnTo>
                <a:lnTo>
                  <a:pt x="60" y="415"/>
                </a:lnTo>
                <a:lnTo>
                  <a:pt x="50" y="421"/>
                </a:lnTo>
                <a:lnTo>
                  <a:pt x="46" y="426"/>
                </a:lnTo>
                <a:lnTo>
                  <a:pt x="35" y="436"/>
                </a:lnTo>
                <a:lnTo>
                  <a:pt x="25" y="445"/>
                </a:lnTo>
                <a:lnTo>
                  <a:pt x="11" y="455"/>
                </a:lnTo>
                <a:lnTo>
                  <a:pt x="5" y="468"/>
                </a:lnTo>
                <a:lnTo>
                  <a:pt x="5" y="474"/>
                </a:lnTo>
                <a:lnTo>
                  <a:pt x="5" y="479"/>
                </a:lnTo>
                <a:lnTo>
                  <a:pt x="16" y="483"/>
                </a:lnTo>
                <a:lnTo>
                  <a:pt x="25" y="493"/>
                </a:lnTo>
                <a:lnTo>
                  <a:pt x="46" y="517"/>
                </a:lnTo>
                <a:lnTo>
                  <a:pt x="60" y="532"/>
                </a:lnTo>
                <a:lnTo>
                  <a:pt x="85" y="542"/>
                </a:lnTo>
                <a:lnTo>
                  <a:pt x="105" y="556"/>
                </a:lnTo>
                <a:lnTo>
                  <a:pt x="120" y="566"/>
                </a:lnTo>
                <a:lnTo>
                  <a:pt x="129" y="585"/>
                </a:lnTo>
                <a:lnTo>
                  <a:pt x="140" y="614"/>
                </a:lnTo>
                <a:lnTo>
                  <a:pt x="144" y="648"/>
                </a:lnTo>
                <a:lnTo>
                  <a:pt x="140" y="667"/>
                </a:lnTo>
                <a:lnTo>
                  <a:pt x="129" y="682"/>
                </a:lnTo>
                <a:lnTo>
                  <a:pt x="120" y="705"/>
                </a:lnTo>
                <a:lnTo>
                  <a:pt x="120" y="716"/>
                </a:lnTo>
                <a:lnTo>
                  <a:pt x="129" y="726"/>
                </a:lnTo>
                <a:lnTo>
                  <a:pt x="135" y="735"/>
                </a:lnTo>
                <a:lnTo>
                  <a:pt x="135" y="754"/>
                </a:lnTo>
                <a:lnTo>
                  <a:pt x="125" y="769"/>
                </a:lnTo>
                <a:lnTo>
                  <a:pt x="115" y="783"/>
                </a:lnTo>
                <a:lnTo>
                  <a:pt x="109" y="788"/>
                </a:lnTo>
                <a:lnTo>
                  <a:pt x="120" y="783"/>
                </a:lnTo>
                <a:lnTo>
                  <a:pt x="125" y="779"/>
                </a:lnTo>
                <a:lnTo>
                  <a:pt x="140" y="783"/>
                </a:lnTo>
                <a:lnTo>
                  <a:pt x="159" y="779"/>
                </a:lnTo>
                <a:lnTo>
                  <a:pt x="189" y="773"/>
                </a:lnTo>
                <a:lnTo>
                  <a:pt x="218" y="773"/>
                </a:lnTo>
                <a:lnTo>
                  <a:pt x="229" y="773"/>
                </a:lnTo>
                <a:lnTo>
                  <a:pt x="233" y="773"/>
                </a:lnTo>
                <a:lnTo>
                  <a:pt x="239" y="773"/>
                </a:lnTo>
                <a:lnTo>
                  <a:pt x="253" y="773"/>
                </a:lnTo>
                <a:lnTo>
                  <a:pt x="268" y="773"/>
                </a:lnTo>
                <a:lnTo>
                  <a:pt x="278" y="769"/>
                </a:lnTo>
                <a:lnTo>
                  <a:pt x="309" y="773"/>
                </a:lnTo>
                <a:lnTo>
                  <a:pt x="344" y="773"/>
                </a:lnTo>
                <a:lnTo>
                  <a:pt x="378" y="769"/>
                </a:lnTo>
                <a:lnTo>
                  <a:pt x="407" y="758"/>
                </a:lnTo>
                <a:lnTo>
                  <a:pt x="422" y="754"/>
                </a:lnTo>
                <a:lnTo>
                  <a:pt x="437" y="750"/>
                </a:lnTo>
                <a:lnTo>
                  <a:pt x="472" y="739"/>
                </a:lnTo>
                <a:lnTo>
                  <a:pt x="487" y="735"/>
                </a:lnTo>
                <a:lnTo>
                  <a:pt x="492" y="735"/>
                </a:lnTo>
                <a:lnTo>
                  <a:pt x="511" y="745"/>
                </a:lnTo>
                <a:lnTo>
                  <a:pt x="526" y="750"/>
                </a:lnTo>
                <a:lnTo>
                  <a:pt x="531" y="750"/>
                </a:lnTo>
                <a:lnTo>
                  <a:pt x="541" y="750"/>
                </a:lnTo>
                <a:lnTo>
                  <a:pt x="546" y="739"/>
                </a:lnTo>
                <a:lnTo>
                  <a:pt x="561" y="730"/>
                </a:lnTo>
                <a:lnTo>
                  <a:pt x="586" y="726"/>
                </a:lnTo>
                <a:lnTo>
                  <a:pt x="600" y="720"/>
                </a:lnTo>
                <a:lnTo>
                  <a:pt x="611" y="720"/>
                </a:lnTo>
                <a:lnTo>
                  <a:pt x="615" y="667"/>
                </a:lnTo>
                <a:close/>
              </a:path>
            </a:pathLst>
          </a:custGeom>
          <a:solidFill>
            <a:srgbClr val="005027"/>
          </a:solidFill>
          <a:ln w="9525">
            <a:solidFill>
              <a:schemeClr val="bg1"/>
            </a:solidFill>
            <a:round/>
            <a:headEnd/>
            <a:tailEnd/>
          </a:ln>
        </p:spPr>
        <p:txBody>
          <a:bodyPr/>
          <a:lstStyle/>
          <a:p>
            <a:endParaRPr lang="ro-RO"/>
          </a:p>
        </p:txBody>
      </p:sp>
      <p:sp>
        <p:nvSpPr>
          <p:cNvPr id="12343" name="Rectangle 53"/>
          <p:cNvSpPr>
            <a:spLocks noChangeArrowheads="1"/>
          </p:cNvSpPr>
          <p:nvPr/>
        </p:nvSpPr>
        <p:spPr bwMode="auto">
          <a:xfrm>
            <a:off x="3751263" y="3852863"/>
            <a:ext cx="6350" cy="92075"/>
          </a:xfrm>
          <a:prstGeom prst="rect">
            <a:avLst/>
          </a:prstGeom>
          <a:solidFill>
            <a:srgbClr val="FFFFFF"/>
          </a:solidFill>
          <a:ln w="0">
            <a:solidFill>
              <a:schemeClr val="bg1"/>
            </a:solidFill>
            <a:round/>
            <a:headEnd/>
            <a:tailEnd/>
          </a:ln>
        </p:spPr>
        <p:txBody>
          <a:bodyPr/>
          <a:lstStyle/>
          <a:p>
            <a:endParaRPr lang="ro-RO"/>
          </a:p>
        </p:txBody>
      </p:sp>
      <p:sp>
        <p:nvSpPr>
          <p:cNvPr id="12344" name="Freeform 54"/>
          <p:cNvSpPr>
            <a:spLocks/>
          </p:cNvSpPr>
          <p:nvPr/>
        </p:nvSpPr>
        <p:spPr bwMode="auto">
          <a:xfrm>
            <a:off x="1882775" y="5000625"/>
            <a:ext cx="12700" cy="39688"/>
          </a:xfrm>
          <a:custGeom>
            <a:avLst/>
            <a:gdLst>
              <a:gd name="T0" fmla="*/ 0 w 32"/>
              <a:gd name="T1" fmla="*/ 2147483647 h 90"/>
              <a:gd name="T2" fmla="*/ 0 w 32"/>
              <a:gd name="T3" fmla="*/ 2147483647 h 90"/>
              <a:gd name="T4" fmla="*/ 2147483647 w 32"/>
              <a:gd name="T5" fmla="*/ 0 h 90"/>
              <a:gd name="T6" fmla="*/ 2147483647 w 32"/>
              <a:gd name="T7" fmla="*/ 2147483647 h 90"/>
              <a:gd name="T8" fmla="*/ 2147483647 w 32"/>
              <a:gd name="T9" fmla="*/ 2147483647 h 90"/>
              <a:gd name="T10" fmla="*/ 2147483647 w 32"/>
              <a:gd name="T11" fmla="*/ 2147483647 h 90"/>
              <a:gd name="T12" fmla="*/ 2147483647 w 32"/>
              <a:gd name="T13" fmla="*/ 2147483647 h 90"/>
              <a:gd name="T14" fmla="*/ 2147483647 w 32"/>
              <a:gd name="T15" fmla="*/ 2147483647 h 90"/>
              <a:gd name="T16" fmla="*/ 2147483647 w 32"/>
              <a:gd name="T17" fmla="*/ 2147483647 h 90"/>
              <a:gd name="T18" fmla="*/ 0 w 32"/>
              <a:gd name="T19" fmla="*/ 2147483647 h 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90"/>
              <a:gd name="T32" fmla="*/ 32 w 32"/>
              <a:gd name="T33" fmla="*/ 90 h 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90">
                <a:moveTo>
                  <a:pt x="0" y="34"/>
                </a:moveTo>
                <a:lnTo>
                  <a:pt x="0" y="8"/>
                </a:lnTo>
                <a:cubicBezTo>
                  <a:pt x="0" y="4"/>
                  <a:pt x="4" y="1"/>
                  <a:pt x="8" y="0"/>
                </a:cubicBezTo>
                <a:cubicBezTo>
                  <a:pt x="12" y="0"/>
                  <a:pt x="16" y="3"/>
                  <a:pt x="16" y="7"/>
                </a:cubicBezTo>
                <a:lnTo>
                  <a:pt x="32" y="87"/>
                </a:lnTo>
                <a:lnTo>
                  <a:pt x="17" y="90"/>
                </a:lnTo>
                <a:lnTo>
                  <a:pt x="1" y="10"/>
                </a:lnTo>
                <a:lnTo>
                  <a:pt x="16" y="8"/>
                </a:lnTo>
                <a:lnTo>
                  <a:pt x="16" y="34"/>
                </a:lnTo>
                <a:lnTo>
                  <a:pt x="0" y="34"/>
                </a:lnTo>
                <a:close/>
              </a:path>
            </a:pathLst>
          </a:custGeom>
          <a:solidFill>
            <a:srgbClr val="FFFFFF"/>
          </a:solidFill>
          <a:ln w="0">
            <a:solidFill>
              <a:schemeClr val="bg1"/>
            </a:solidFill>
            <a:round/>
            <a:headEnd/>
            <a:tailEnd/>
          </a:ln>
        </p:spPr>
        <p:txBody>
          <a:bodyPr/>
          <a:lstStyle/>
          <a:p>
            <a:endParaRPr lang="ro-RO"/>
          </a:p>
        </p:txBody>
      </p:sp>
      <p:sp>
        <p:nvSpPr>
          <p:cNvPr id="12345" name="Freeform 55"/>
          <p:cNvSpPr>
            <a:spLocks/>
          </p:cNvSpPr>
          <p:nvPr/>
        </p:nvSpPr>
        <p:spPr bwMode="auto">
          <a:xfrm>
            <a:off x="1890713" y="5035550"/>
            <a:ext cx="190500" cy="114300"/>
          </a:xfrm>
          <a:custGeom>
            <a:avLst/>
            <a:gdLst>
              <a:gd name="T0" fmla="*/ 0 w 464"/>
              <a:gd name="T1" fmla="*/ 0 h 256"/>
              <a:gd name="T2" fmla="*/ 2147483647 w 464"/>
              <a:gd name="T3" fmla="*/ 0 h 256"/>
              <a:gd name="T4" fmla="*/ 2147483647 w 464"/>
              <a:gd name="T5" fmla="*/ 2147483647 h 256"/>
              <a:gd name="T6" fmla="*/ 2147483647 w 464"/>
              <a:gd name="T7" fmla="*/ 2147483647 h 256"/>
              <a:gd name="T8" fmla="*/ 2147483647 w 464"/>
              <a:gd name="T9" fmla="*/ 2147483647 h 256"/>
              <a:gd name="T10" fmla="*/ 2147483647 w 464"/>
              <a:gd name="T11" fmla="*/ 2147483647 h 256"/>
              <a:gd name="T12" fmla="*/ 2147483647 w 464"/>
              <a:gd name="T13" fmla="*/ 2147483647 h 256"/>
              <a:gd name="T14" fmla="*/ 2147483647 w 464"/>
              <a:gd name="T15" fmla="*/ 2147483647 h 256"/>
              <a:gd name="T16" fmla="*/ 2147483647 w 464"/>
              <a:gd name="T17" fmla="*/ 2147483647 h 256"/>
              <a:gd name="T18" fmla="*/ 2147483647 w 464"/>
              <a:gd name="T19" fmla="*/ 2147483647 h 256"/>
              <a:gd name="T20" fmla="*/ 2147483647 w 464"/>
              <a:gd name="T21" fmla="*/ 2147483647 h 256"/>
              <a:gd name="T22" fmla="*/ 2147483647 w 464"/>
              <a:gd name="T23" fmla="*/ 2147483647 h 256"/>
              <a:gd name="T24" fmla="*/ 2147483647 w 464"/>
              <a:gd name="T25" fmla="*/ 2147483647 h 256"/>
              <a:gd name="T26" fmla="*/ 2147483647 w 464"/>
              <a:gd name="T27" fmla="*/ 2147483647 h 256"/>
              <a:gd name="T28" fmla="*/ 2147483647 w 464"/>
              <a:gd name="T29" fmla="*/ 2147483647 h 256"/>
              <a:gd name="T30" fmla="*/ 2147483647 w 464"/>
              <a:gd name="T31" fmla="*/ 2147483647 h 256"/>
              <a:gd name="T32" fmla="*/ 2147483647 w 464"/>
              <a:gd name="T33" fmla="*/ 2147483647 h 256"/>
              <a:gd name="T34" fmla="*/ 2147483647 w 464"/>
              <a:gd name="T35" fmla="*/ 2147483647 h 256"/>
              <a:gd name="T36" fmla="*/ 2147483647 w 464"/>
              <a:gd name="T37" fmla="*/ 2147483647 h 256"/>
              <a:gd name="T38" fmla="*/ 2147483647 w 464"/>
              <a:gd name="T39" fmla="*/ 2147483647 h 256"/>
              <a:gd name="T40" fmla="*/ 2147483647 w 464"/>
              <a:gd name="T41" fmla="*/ 2147483647 h 256"/>
              <a:gd name="T42" fmla="*/ 2147483647 w 464"/>
              <a:gd name="T43" fmla="*/ 2147483647 h 256"/>
              <a:gd name="T44" fmla="*/ 2147483647 w 464"/>
              <a:gd name="T45" fmla="*/ 2147483647 h 256"/>
              <a:gd name="T46" fmla="*/ 2147483647 w 464"/>
              <a:gd name="T47" fmla="*/ 2147483647 h 256"/>
              <a:gd name="T48" fmla="*/ 2147483647 w 464"/>
              <a:gd name="T49" fmla="*/ 2147483647 h 256"/>
              <a:gd name="T50" fmla="*/ 2147483647 w 464"/>
              <a:gd name="T51" fmla="*/ 2147483647 h 256"/>
              <a:gd name="T52" fmla="*/ 2147483647 w 464"/>
              <a:gd name="T53" fmla="*/ 2147483647 h 256"/>
              <a:gd name="T54" fmla="*/ 2147483647 w 464"/>
              <a:gd name="T55" fmla="*/ 2147483647 h 256"/>
              <a:gd name="T56" fmla="*/ 2147483647 w 464"/>
              <a:gd name="T57" fmla="*/ 2147483647 h 256"/>
              <a:gd name="T58" fmla="*/ 2147483647 w 464"/>
              <a:gd name="T59" fmla="*/ 2147483647 h 256"/>
              <a:gd name="T60" fmla="*/ 2147483647 w 464"/>
              <a:gd name="T61" fmla="*/ 2147483647 h 256"/>
              <a:gd name="T62" fmla="*/ 2147483647 w 464"/>
              <a:gd name="T63" fmla="*/ 2147483647 h 256"/>
              <a:gd name="T64" fmla="*/ 2147483647 w 464"/>
              <a:gd name="T65" fmla="*/ 2147483647 h 256"/>
              <a:gd name="T66" fmla="*/ 2147483647 w 464"/>
              <a:gd name="T67" fmla="*/ 2147483647 h 256"/>
              <a:gd name="T68" fmla="*/ 2147483647 w 464"/>
              <a:gd name="T69" fmla="*/ 2147483647 h 256"/>
              <a:gd name="T70" fmla="*/ 2147483647 w 464"/>
              <a:gd name="T71" fmla="*/ 2147483647 h 256"/>
              <a:gd name="T72" fmla="*/ 2147483647 w 464"/>
              <a:gd name="T73" fmla="*/ 2147483647 h 256"/>
              <a:gd name="T74" fmla="*/ 2147483647 w 464"/>
              <a:gd name="T75" fmla="*/ 2147483647 h 256"/>
              <a:gd name="T76" fmla="*/ 2147483647 w 464"/>
              <a:gd name="T77" fmla="*/ 2147483647 h 256"/>
              <a:gd name="T78" fmla="*/ 2147483647 w 464"/>
              <a:gd name="T79" fmla="*/ 2147483647 h 256"/>
              <a:gd name="T80" fmla="*/ 2147483647 w 464"/>
              <a:gd name="T81" fmla="*/ 2147483647 h 256"/>
              <a:gd name="T82" fmla="*/ 2147483647 w 464"/>
              <a:gd name="T83" fmla="*/ 2147483647 h 256"/>
              <a:gd name="T84" fmla="*/ 2147483647 w 464"/>
              <a:gd name="T85" fmla="*/ 2147483647 h 256"/>
              <a:gd name="T86" fmla="*/ 2147483647 w 464"/>
              <a:gd name="T87" fmla="*/ 2147483647 h 256"/>
              <a:gd name="T88" fmla="*/ 2147483647 w 464"/>
              <a:gd name="T89" fmla="*/ 2147483647 h 256"/>
              <a:gd name="T90" fmla="*/ 2147483647 w 464"/>
              <a:gd name="T91" fmla="*/ 2147483647 h 256"/>
              <a:gd name="T92" fmla="*/ 2147483647 w 464"/>
              <a:gd name="T93" fmla="*/ 2147483647 h 256"/>
              <a:gd name="T94" fmla="*/ 2147483647 w 464"/>
              <a:gd name="T95" fmla="*/ 2147483647 h 256"/>
              <a:gd name="T96" fmla="*/ 2147483647 w 464"/>
              <a:gd name="T97" fmla="*/ 2147483647 h 256"/>
              <a:gd name="T98" fmla="*/ 2147483647 w 464"/>
              <a:gd name="T99" fmla="*/ 2147483647 h 256"/>
              <a:gd name="T100" fmla="*/ 2147483647 w 464"/>
              <a:gd name="T101" fmla="*/ 2147483647 h 256"/>
              <a:gd name="T102" fmla="*/ 2147483647 w 464"/>
              <a:gd name="T103" fmla="*/ 2147483647 h 256"/>
              <a:gd name="T104" fmla="*/ 2147483647 w 464"/>
              <a:gd name="T105" fmla="*/ 2147483647 h 256"/>
              <a:gd name="T106" fmla="*/ 2147483647 w 464"/>
              <a:gd name="T107" fmla="*/ 2147483647 h 256"/>
              <a:gd name="T108" fmla="*/ 2147483647 w 464"/>
              <a:gd name="T109" fmla="*/ 2147483647 h 256"/>
              <a:gd name="T110" fmla="*/ 2147483647 w 464"/>
              <a:gd name="T111" fmla="*/ 2147483647 h 256"/>
              <a:gd name="T112" fmla="*/ 2147483647 w 464"/>
              <a:gd name="T113" fmla="*/ 2147483647 h 256"/>
              <a:gd name="T114" fmla="*/ 0 w 464"/>
              <a:gd name="T115" fmla="*/ 2147483647 h 256"/>
              <a:gd name="T116" fmla="*/ 0 w 464"/>
              <a:gd name="T117" fmla="*/ 0 h 25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64"/>
              <a:gd name="T178" fmla="*/ 0 h 256"/>
              <a:gd name="T179" fmla="*/ 464 w 464"/>
              <a:gd name="T180" fmla="*/ 256 h 25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64" h="256">
                <a:moveTo>
                  <a:pt x="0" y="0"/>
                </a:moveTo>
                <a:lnTo>
                  <a:pt x="34" y="0"/>
                </a:lnTo>
                <a:cubicBezTo>
                  <a:pt x="36" y="0"/>
                  <a:pt x="37" y="1"/>
                  <a:pt x="38" y="2"/>
                </a:cubicBezTo>
                <a:lnTo>
                  <a:pt x="68" y="19"/>
                </a:lnTo>
                <a:lnTo>
                  <a:pt x="88" y="33"/>
                </a:lnTo>
                <a:lnTo>
                  <a:pt x="103" y="48"/>
                </a:lnTo>
                <a:lnTo>
                  <a:pt x="102" y="47"/>
                </a:lnTo>
                <a:lnTo>
                  <a:pt x="132" y="64"/>
                </a:lnTo>
                <a:lnTo>
                  <a:pt x="151" y="79"/>
                </a:lnTo>
                <a:lnTo>
                  <a:pt x="167" y="93"/>
                </a:lnTo>
                <a:lnTo>
                  <a:pt x="164" y="91"/>
                </a:lnTo>
                <a:lnTo>
                  <a:pt x="198" y="105"/>
                </a:lnTo>
                <a:cubicBezTo>
                  <a:pt x="200" y="106"/>
                  <a:pt x="201" y="108"/>
                  <a:pt x="202" y="109"/>
                </a:cubicBezTo>
                <a:lnTo>
                  <a:pt x="217" y="141"/>
                </a:lnTo>
                <a:lnTo>
                  <a:pt x="214" y="137"/>
                </a:lnTo>
                <a:lnTo>
                  <a:pt x="263" y="165"/>
                </a:lnTo>
                <a:cubicBezTo>
                  <a:pt x="263" y="165"/>
                  <a:pt x="264" y="166"/>
                  <a:pt x="265" y="167"/>
                </a:cubicBezTo>
                <a:lnTo>
                  <a:pt x="280" y="184"/>
                </a:lnTo>
                <a:lnTo>
                  <a:pt x="294" y="197"/>
                </a:lnTo>
                <a:lnTo>
                  <a:pt x="309" y="211"/>
                </a:lnTo>
                <a:lnTo>
                  <a:pt x="307" y="210"/>
                </a:lnTo>
                <a:lnTo>
                  <a:pt x="341" y="227"/>
                </a:lnTo>
                <a:cubicBezTo>
                  <a:pt x="342" y="228"/>
                  <a:pt x="342" y="228"/>
                  <a:pt x="343" y="229"/>
                </a:cubicBezTo>
                <a:lnTo>
                  <a:pt x="358" y="243"/>
                </a:lnTo>
                <a:lnTo>
                  <a:pt x="352" y="240"/>
                </a:lnTo>
                <a:lnTo>
                  <a:pt x="371" y="240"/>
                </a:lnTo>
                <a:lnTo>
                  <a:pt x="401" y="240"/>
                </a:lnTo>
                <a:lnTo>
                  <a:pt x="435" y="240"/>
                </a:lnTo>
                <a:lnTo>
                  <a:pt x="464" y="240"/>
                </a:lnTo>
                <a:lnTo>
                  <a:pt x="464" y="256"/>
                </a:lnTo>
                <a:lnTo>
                  <a:pt x="435" y="256"/>
                </a:lnTo>
                <a:lnTo>
                  <a:pt x="401" y="256"/>
                </a:lnTo>
                <a:lnTo>
                  <a:pt x="371" y="256"/>
                </a:lnTo>
                <a:lnTo>
                  <a:pt x="352" y="256"/>
                </a:lnTo>
                <a:cubicBezTo>
                  <a:pt x="350" y="256"/>
                  <a:pt x="348" y="256"/>
                  <a:pt x="347" y="254"/>
                </a:cubicBezTo>
                <a:lnTo>
                  <a:pt x="332" y="240"/>
                </a:lnTo>
                <a:lnTo>
                  <a:pt x="334" y="242"/>
                </a:lnTo>
                <a:lnTo>
                  <a:pt x="300" y="224"/>
                </a:lnTo>
                <a:cubicBezTo>
                  <a:pt x="299" y="224"/>
                  <a:pt x="299" y="224"/>
                  <a:pt x="298" y="223"/>
                </a:cubicBezTo>
                <a:lnTo>
                  <a:pt x="283" y="209"/>
                </a:lnTo>
                <a:lnTo>
                  <a:pt x="268" y="195"/>
                </a:lnTo>
                <a:lnTo>
                  <a:pt x="253" y="177"/>
                </a:lnTo>
                <a:lnTo>
                  <a:pt x="255" y="179"/>
                </a:lnTo>
                <a:lnTo>
                  <a:pt x="206" y="151"/>
                </a:lnTo>
                <a:cubicBezTo>
                  <a:pt x="205" y="150"/>
                  <a:pt x="203" y="149"/>
                  <a:pt x="203" y="148"/>
                </a:cubicBezTo>
                <a:lnTo>
                  <a:pt x="188" y="116"/>
                </a:lnTo>
                <a:lnTo>
                  <a:pt x="192" y="120"/>
                </a:lnTo>
                <a:lnTo>
                  <a:pt x="158" y="106"/>
                </a:lnTo>
                <a:cubicBezTo>
                  <a:pt x="157" y="106"/>
                  <a:pt x="157" y="105"/>
                  <a:pt x="156" y="105"/>
                </a:cubicBezTo>
                <a:lnTo>
                  <a:pt x="142" y="91"/>
                </a:lnTo>
                <a:lnTo>
                  <a:pt x="124" y="78"/>
                </a:lnTo>
                <a:lnTo>
                  <a:pt x="94" y="61"/>
                </a:lnTo>
                <a:cubicBezTo>
                  <a:pt x="93" y="60"/>
                  <a:pt x="93" y="60"/>
                  <a:pt x="92" y="60"/>
                </a:cubicBezTo>
                <a:lnTo>
                  <a:pt x="78" y="46"/>
                </a:lnTo>
                <a:lnTo>
                  <a:pt x="60" y="33"/>
                </a:lnTo>
                <a:lnTo>
                  <a:pt x="30" y="15"/>
                </a:lnTo>
                <a:lnTo>
                  <a:pt x="34" y="16"/>
                </a:lnTo>
                <a:lnTo>
                  <a:pt x="0" y="16"/>
                </a:lnTo>
                <a:lnTo>
                  <a:pt x="0" y="0"/>
                </a:lnTo>
                <a:close/>
              </a:path>
            </a:pathLst>
          </a:custGeom>
          <a:solidFill>
            <a:srgbClr val="FFFFFF"/>
          </a:solidFill>
          <a:ln w="0">
            <a:solidFill>
              <a:schemeClr val="bg1"/>
            </a:solidFill>
            <a:round/>
            <a:headEnd/>
            <a:tailEnd/>
          </a:ln>
        </p:spPr>
        <p:txBody>
          <a:bodyPr/>
          <a:lstStyle/>
          <a:p>
            <a:endParaRPr lang="ro-RO"/>
          </a:p>
        </p:txBody>
      </p:sp>
      <p:sp>
        <p:nvSpPr>
          <p:cNvPr id="12346" name="Rectangle 57"/>
          <p:cNvSpPr>
            <a:spLocks noChangeArrowheads="1"/>
          </p:cNvSpPr>
          <p:nvPr/>
        </p:nvSpPr>
        <p:spPr bwMode="auto">
          <a:xfrm>
            <a:off x="452438" y="3028950"/>
            <a:ext cx="34925" cy="6350"/>
          </a:xfrm>
          <a:prstGeom prst="rect">
            <a:avLst/>
          </a:prstGeom>
          <a:solidFill>
            <a:srgbClr val="FFFFFF"/>
          </a:solidFill>
          <a:ln w="0">
            <a:solidFill>
              <a:schemeClr val="bg1"/>
            </a:solidFill>
            <a:round/>
            <a:headEnd/>
            <a:tailEnd/>
          </a:ln>
        </p:spPr>
        <p:txBody>
          <a:bodyPr/>
          <a:lstStyle/>
          <a:p>
            <a:endParaRPr lang="ro-RO"/>
          </a:p>
        </p:txBody>
      </p:sp>
      <p:sp>
        <p:nvSpPr>
          <p:cNvPr id="12347" name="Freeform 58"/>
          <p:cNvSpPr>
            <a:spLocks/>
          </p:cNvSpPr>
          <p:nvPr/>
        </p:nvSpPr>
        <p:spPr bwMode="auto">
          <a:xfrm>
            <a:off x="850900" y="2938463"/>
            <a:ext cx="36513" cy="26987"/>
          </a:xfrm>
          <a:custGeom>
            <a:avLst/>
            <a:gdLst>
              <a:gd name="T0" fmla="*/ 2147483647 w 28"/>
              <a:gd name="T1" fmla="*/ 0 h 20"/>
              <a:gd name="T2" fmla="*/ 2147483647 w 28"/>
              <a:gd name="T3" fmla="*/ 2147483647 h 20"/>
              <a:gd name="T4" fmla="*/ 2147483647 w 28"/>
              <a:gd name="T5" fmla="*/ 2147483647 h 20"/>
              <a:gd name="T6" fmla="*/ 0 w 28"/>
              <a:gd name="T7" fmla="*/ 2147483647 h 20"/>
              <a:gd name="T8" fmla="*/ 2147483647 w 28"/>
              <a:gd name="T9" fmla="*/ 0 h 20"/>
              <a:gd name="T10" fmla="*/ 0 60000 65536"/>
              <a:gd name="T11" fmla="*/ 0 60000 65536"/>
              <a:gd name="T12" fmla="*/ 0 60000 65536"/>
              <a:gd name="T13" fmla="*/ 0 60000 65536"/>
              <a:gd name="T14" fmla="*/ 0 60000 65536"/>
              <a:gd name="T15" fmla="*/ 0 w 28"/>
              <a:gd name="T16" fmla="*/ 0 h 20"/>
              <a:gd name="T17" fmla="*/ 28 w 28"/>
              <a:gd name="T18" fmla="*/ 20 h 20"/>
            </a:gdLst>
            <a:ahLst/>
            <a:cxnLst>
              <a:cxn ang="T10">
                <a:pos x="T0" y="T1"/>
              </a:cxn>
              <a:cxn ang="T11">
                <a:pos x="T2" y="T3"/>
              </a:cxn>
              <a:cxn ang="T12">
                <a:pos x="T4" y="T5"/>
              </a:cxn>
              <a:cxn ang="T13">
                <a:pos x="T6" y="T7"/>
              </a:cxn>
              <a:cxn ang="T14">
                <a:pos x="T8" y="T9"/>
              </a:cxn>
            </a:cxnLst>
            <a:rect l="T15" t="T16" r="T17" b="T18"/>
            <a:pathLst>
              <a:path w="28" h="20">
                <a:moveTo>
                  <a:pt x="3" y="0"/>
                </a:moveTo>
                <a:lnTo>
                  <a:pt x="28" y="16"/>
                </a:lnTo>
                <a:lnTo>
                  <a:pt x="25" y="20"/>
                </a:lnTo>
                <a:lnTo>
                  <a:pt x="0" y="4"/>
                </a:lnTo>
                <a:lnTo>
                  <a:pt x="3" y="0"/>
                </a:lnTo>
                <a:close/>
              </a:path>
            </a:pathLst>
          </a:custGeom>
          <a:solidFill>
            <a:srgbClr val="FFFFFF"/>
          </a:solidFill>
          <a:ln w="0">
            <a:solidFill>
              <a:schemeClr val="bg1"/>
            </a:solidFill>
            <a:round/>
            <a:headEnd/>
            <a:tailEnd/>
          </a:ln>
        </p:spPr>
        <p:txBody>
          <a:bodyPr/>
          <a:lstStyle/>
          <a:p>
            <a:endParaRPr lang="ro-RO"/>
          </a:p>
        </p:txBody>
      </p:sp>
      <p:sp>
        <p:nvSpPr>
          <p:cNvPr id="12348" name="Freeform 59"/>
          <p:cNvSpPr>
            <a:spLocks/>
          </p:cNvSpPr>
          <p:nvPr/>
        </p:nvSpPr>
        <p:spPr bwMode="auto">
          <a:xfrm>
            <a:off x="484188" y="2908300"/>
            <a:ext cx="368300" cy="155575"/>
          </a:xfrm>
          <a:custGeom>
            <a:avLst/>
            <a:gdLst>
              <a:gd name="T0" fmla="*/ 2147483647 w 903"/>
              <a:gd name="T1" fmla="*/ 2147483647 h 352"/>
              <a:gd name="T2" fmla="*/ 2147483647 w 903"/>
              <a:gd name="T3" fmla="*/ 2147483647 h 352"/>
              <a:gd name="T4" fmla="*/ 2147483647 w 903"/>
              <a:gd name="T5" fmla="*/ 2147483647 h 352"/>
              <a:gd name="T6" fmla="*/ 2147483647 w 903"/>
              <a:gd name="T7" fmla="*/ 2147483647 h 352"/>
              <a:gd name="T8" fmla="*/ 2147483647 w 903"/>
              <a:gd name="T9" fmla="*/ 2147483647 h 352"/>
              <a:gd name="T10" fmla="*/ 2147483647 w 903"/>
              <a:gd name="T11" fmla="*/ 2147483647 h 352"/>
              <a:gd name="T12" fmla="*/ 2147483647 w 903"/>
              <a:gd name="T13" fmla="*/ 2147483647 h 352"/>
              <a:gd name="T14" fmla="*/ 2147483647 w 903"/>
              <a:gd name="T15" fmla="*/ 2147483647 h 352"/>
              <a:gd name="T16" fmla="*/ 2147483647 w 903"/>
              <a:gd name="T17" fmla="*/ 2147483647 h 352"/>
              <a:gd name="T18" fmla="*/ 2147483647 w 903"/>
              <a:gd name="T19" fmla="*/ 2147483647 h 352"/>
              <a:gd name="T20" fmla="*/ 2147483647 w 903"/>
              <a:gd name="T21" fmla="*/ 2147483647 h 352"/>
              <a:gd name="T22" fmla="*/ 2147483647 w 903"/>
              <a:gd name="T23" fmla="*/ 2147483647 h 352"/>
              <a:gd name="T24" fmla="*/ 2147483647 w 903"/>
              <a:gd name="T25" fmla="*/ 2147483647 h 352"/>
              <a:gd name="T26" fmla="*/ 2147483647 w 903"/>
              <a:gd name="T27" fmla="*/ 2147483647 h 352"/>
              <a:gd name="T28" fmla="*/ 2147483647 w 903"/>
              <a:gd name="T29" fmla="*/ 2147483647 h 352"/>
              <a:gd name="T30" fmla="*/ 2147483647 w 903"/>
              <a:gd name="T31" fmla="*/ 2147483647 h 352"/>
              <a:gd name="T32" fmla="*/ 2147483647 w 903"/>
              <a:gd name="T33" fmla="*/ 2147483647 h 352"/>
              <a:gd name="T34" fmla="*/ 2147483647 w 903"/>
              <a:gd name="T35" fmla="*/ 2147483647 h 352"/>
              <a:gd name="T36" fmla="*/ 2147483647 w 903"/>
              <a:gd name="T37" fmla="*/ 0 h 352"/>
              <a:gd name="T38" fmla="*/ 2147483647 w 903"/>
              <a:gd name="T39" fmla="*/ 0 h 352"/>
              <a:gd name="T40" fmla="*/ 2147483647 w 903"/>
              <a:gd name="T41" fmla="*/ 2147483647 h 352"/>
              <a:gd name="T42" fmla="*/ 2147483647 w 903"/>
              <a:gd name="T43" fmla="*/ 2147483647 h 352"/>
              <a:gd name="T44" fmla="*/ 2147483647 w 903"/>
              <a:gd name="T45" fmla="*/ 2147483647 h 352"/>
              <a:gd name="T46" fmla="*/ 2147483647 w 903"/>
              <a:gd name="T47" fmla="*/ 2147483647 h 352"/>
              <a:gd name="T48" fmla="*/ 2147483647 w 903"/>
              <a:gd name="T49" fmla="*/ 2147483647 h 352"/>
              <a:gd name="T50" fmla="*/ 2147483647 w 903"/>
              <a:gd name="T51" fmla="*/ 2147483647 h 352"/>
              <a:gd name="T52" fmla="*/ 2147483647 w 903"/>
              <a:gd name="T53" fmla="*/ 2147483647 h 352"/>
              <a:gd name="T54" fmla="*/ 2147483647 w 903"/>
              <a:gd name="T55" fmla="*/ 2147483647 h 352"/>
              <a:gd name="T56" fmla="*/ 2147483647 w 903"/>
              <a:gd name="T57" fmla="*/ 2147483647 h 352"/>
              <a:gd name="T58" fmla="*/ 2147483647 w 903"/>
              <a:gd name="T59" fmla="*/ 2147483647 h 352"/>
              <a:gd name="T60" fmla="*/ 2147483647 w 903"/>
              <a:gd name="T61" fmla="*/ 2147483647 h 352"/>
              <a:gd name="T62" fmla="*/ 2147483647 w 903"/>
              <a:gd name="T63" fmla="*/ 2147483647 h 352"/>
              <a:gd name="T64" fmla="*/ 2147483647 w 903"/>
              <a:gd name="T65" fmla="*/ 2147483647 h 352"/>
              <a:gd name="T66" fmla="*/ 2147483647 w 903"/>
              <a:gd name="T67" fmla="*/ 2147483647 h 352"/>
              <a:gd name="T68" fmla="*/ 2147483647 w 903"/>
              <a:gd name="T69" fmla="*/ 2147483647 h 352"/>
              <a:gd name="T70" fmla="*/ 2147483647 w 903"/>
              <a:gd name="T71" fmla="*/ 2147483647 h 352"/>
              <a:gd name="T72" fmla="*/ 2147483647 w 903"/>
              <a:gd name="T73" fmla="*/ 2147483647 h 352"/>
              <a:gd name="T74" fmla="*/ 2147483647 w 903"/>
              <a:gd name="T75" fmla="*/ 2147483647 h 352"/>
              <a:gd name="T76" fmla="*/ 2147483647 w 903"/>
              <a:gd name="T77" fmla="*/ 2147483647 h 352"/>
              <a:gd name="T78" fmla="*/ 2147483647 w 903"/>
              <a:gd name="T79" fmla="*/ 2147483647 h 352"/>
              <a:gd name="T80" fmla="*/ 2147483647 w 903"/>
              <a:gd name="T81" fmla="*/ 2147483647 h 352"/>
              <a:gd name="T82" fmla="*/ 2147483647 w 903"/>
              <a:gd name="T83" fmla="*/ 2147483647 h 352"/>
              <a:gd name="T84" fmla="*/ 2147483647 w 903"/>
              <a:gd name="T85" fmla="*/ 2147483647 h 352"/>
              <a:gd name="T86" fmla="*/ 2147483647 w 903"/>
              <a:gd name="T87" fmla="*/ 2147483647 h 352"/>
              <a:gd name="T88" fmla="*/ 2147483647 w 903"/>
              <a:gd name="T89" fmla="*/ 2147483647 h 352"/>
              <a:gd name="T90" fmla="*/ 2147483647 w 903"/>
              <a:gd name="T91" fmla="*/ 2147483647 h 352"/>
              <a:gd name="T92" fmla="*/ 2147483647 w 903"/>
              <a:gd name="T93" fmla="*/ 2147483647 h 352"/>
              <a:gd name="T94" fmla="*/ 2147483647 w 903"/>
              <a:gd name="T95" fmla="*/ 2147483647 h 352"/>
              <a:gd name="T96" fmla="*/ 2147483647 w 903"/>
              <a:gd name="T97" fmla="*/ 2147483647 h 352"/>
              <a:gd name="T98" fmla="*/ 2147483647 w 903"/>
              <a:gd name="T99" fmla="*/ 2147483647 h 352"/>
              <a:gd name="T100" fmla="*/ 2147483647 w 903"/>
              <a:gd name="T101" fmla="*/ 2147483647 h 352"/>
              <a:gd name="T102" fmla="*/ 2147483647 w 903"/>
              <a:gd name="T103" fmla="*/ 2147483647 h 352"/>
              <a:gd name="T104" fmla="*/ 2147483647 w 903"/>
              <a:gd name="T105" fmla="*/ 2147483647 h 352"/>
              <a:gd name="T106" fmla="*/ 2147483647 w 903"/>
              <a:gd name="T107" fmla="*/ 2147483647 h 352"/>
              <a:gd name="T108" fmla="*/ 2147483647 w 903"/>
              <a:gd name="T109" fmla="*/ 2147483647 h 352"/>
              <a:gd name="T110" fmla="*/ 2147483647 w 903"/>
              <a:gd name="T111" fmla="*/ 2147483647 h 352"/>
              <a:gd name="T112" fmla="*/ 2147483647 w 903"/>
              <a:gd name="T113" fmla="*/ 2147483647 h 352"/>
              <a:gd name="T114" fmla="*/ 2147483647 w 903"/>
              <a:gd name="T115" fmla="*/ 2147483647 h 35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03"/>
              <a:gd name="T175" fmla="*/ 0 h 352"/>
              <a:gd name="T176" fmla="*/ 903 w 903"/>
              <a:gd name="T177" fmla="*/ 352 h 35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03" h="352">
                <a:moveTo>
                  <a:pt x="0" y="280"/>
                </a:moveTo>
                <a:lnTo>
                  <a:pt x="15" y="251"/>
                </a:lnTo>
                <a:lnTo>
                  <a:pt x="14" y="255"/>
                </a:lnTo>
                <a:lnTo>
                  <a:pt x="14" y="237"/>
                </a:lnTo>
                <a:cubicBezTo>
                  <a:pt x="14" y="236"/>
                  <a:pt x="14" y="234"/>
                  <a:pt x="15" y="233"/>
                </a:cubicBezTo>
                <a:lnTo>
                  <a:pt x="48" y="186"/>
                </a:lnTo>
                <a:cubicBezTo>
                  <a:pt x="49" y="184"/>
                  <a:pt x="52" y="183"/>
                  <a:pt x="54" y="183"/>
                </a:cubicBezTo>
                <a:lnTo>
                  <a:pt x="69" y="183"/>
                </a:lnTo>
                <a:lnTo>
                  <a:pt x="98" y="183"/>
                </a:lnTo>
                <a:lnTo>
                  <a:pt x="116" y="183"/>
                </a:lnTo>
                <a:cubicBezTo>
                  <a:pt x="118" y="183"/>
                  <a:pt x="121" y="184"/>
                  <a:pt x="122" y="186"/>
                </a:cubicBezTo>
                <a:lnTo>
                  <a:pt x="137" y="204"/>
                </a:lnTo>
                <a:lnTo>
                  <a:pt x="130" y="201"/>
                </a:lnTo>
                <a:lnTo>
                  <a:pt x="145" y="201"/>
                </a:lnTo>
                <a:cubicBezTo>
                  <a:pt x="147" y="201"/>
                  <a:pt x="149" y="201"/>
                  <a:pt x="150" y="203"/>
                </a:cubicBezTo>
                <a:lnTo>
                  <a:pt x="165" y="217"/>
                </a:lnTo>
                <a:cubicBezTo>
                  <a:pt x="166" y="219"/>
                  <a:pt x="167" y="221"/>
                  <a:pt x="167" y="223"/>
                </a:cubicBezTo>
                <a:lnTo>
                  <a:pt x="167" y="237"/>
                </a:lnTo>
                <a:lnTo>
                  <a:pt x="159" y="229"/>
                </a:lnTo>
                <a:lnTo>
                  <a:pt x="177" y="229"/>
                </a:lnTo>
                <a:cubicBezTo>
                  <a:pt x="180" y="229"/>
                  <a:pt x="183" y="231"/>
                  <a:pt x="185" y="234"/>
                </a:cubicBezTo>
                <a:lnTo>
                  <a:pt x="199" y="266"/>
                </a:lnTo>
                <a:lnTo>
                  <a:pt x="213" y="294"/>
                </a:lnTo>
                <a:lnTo>
                  <a:pt x="212" y="292"/>
                </a:lnTo>
                <a:lnTo>
                  <a:pt x="230" y="310"/>
                </a:lnTo>
                <a:lnTo>
                  <a:pt x="244" y="324"/>
                </a:lnTo>
                <a:lnTo>
                  <a:pt x="239" y="322"/>
                </a:lnTo>
                <a:lnTo>
                  <a:pt x="253" y="322"/>
                </a:lnTo>
                <a:cubicBezTo>
                  <a:pt x="258" y="322"/>
                  <a:pt x="261" y="326"/>
                  <a:pt x="261" y="330"/>
                </a:cubicBezTo>
                <a:lnTo>
                  <a:pt x="261" y="344"/>
                </a:lnTo>
                <a:lnTo>
                  <a:pt x="253" y="336"/>
                </a:lnTo>
                <a:lnTo>
                  <a:pt x="268" y="336"/>
                </a:lnTo>
                <a:lnTo>
                  <a:pt x="263" y="338"/>
                </a:lnTo>
                <a:lnTo>
                  <a:pt x="281" y="324"/>
                </a:lnTo>
                <a:cubicBezTo>
                  <a:pt x="282" y="323"/>
                  <a:pt x="284" y="322"/>
                  <a:pt x="286" y="322"/>
                </a:cubicBezTo>
                <a:lnTo>
                  <a:pt x="300" y="322"/>
                </a:lnTo>
                <a:lnTo>
                  <a:pt x="292" y="330"/>
                </a:lnTo>
                <a:lnTo>
                  <a:pt x="292" y="316"/>
                </a:lnTo>
                <a:cubicBezTo>
                  <a:pt x="292" y="314"/>
                  <a:pt x="293" y="312"/>
                  <a:pt x="294" y="311"/>
                </a:cubicBezTo>
                <a:lnTo>
                  <a:pt x="308" y="293"/>
                </a:lnTo>
                <a:cubicBezTo>
                  <a:pt x="309" y="293"/>
                  <a:pt x="309" y="292"/>
                  <a:pt x="310" y="292"/>
                </a:cubicBezTo>
                <a:lnTo>
                  <a:pt x="328" y="277"/>
                </a:lnTo>
                <a:cubicBezTo>
                  <a:pt x="329" y="276"/>
                  <a:pt x="331" y="276"/>
                  <a:pt x="333" y="276"/>
                </a:cubicBezTo>
                <a:lnTo>
                  <a:pt x="347" y="276"/>
                </a:lnTo>
                <a:lnTo>
                  <a:pt x="341" y="278"/>
                </a:lnTo>
                <a:lnTo>
                  <a:pt x="356" y="264"/>
                </a:lnTo>
                <a:cubicBezTo>
                  <a:pt x="357" y="262"/>
                  <a:pt x="359" y="261"/>
                  <a:pt x="362" y="261"/>
                </a:cubicBezTo>
                <a:lnTo>
                  <a:pt x="376" y="261"/>
                </a:lnTo>
                <a:lnTo>
                  <a:pt x="409" y="261"/>
                </a:lnTo>
                <a:lnTo>
                  <a:pt x="423" y="261"/>
                </a:lnTo>
                <a:lnTo>
                  <a:pt x="415" y="269"/>
                </a:lnTo>
                <a:lnTo>
                  <a:pt x="415" y="255"/>
                </a:lnTo>
                <a:lnTo>
                  <a:pt x="415" y="237"/>
                </a:lnTo>
                <a:lnTo>
                  <a:pt x="415" y="223"/>
                </a:lnTo>
                <a:lnTo>
                  <a:pt x="415" y="209"/>
                </a:lnTo>
                <a:cubicBezTo>
                  <a:pt x="415" y="206"/>
                  <a:pt x="416" y="204"/>
                  <a:pt x="417" y="203"/>
                </a:cubicBezTo>
                <a:lnTo>
                  <a:pt x="435" y="185"/>
                </a:lnTo>
                <a:cubicBezTo>
                  <a:pt x="437" y="184"/>
                  <a:pt x="439" y="183"/>
                  <a:pt x="441" y="183"/>
                </a:cubicBezTo>
                <a:lnTo>
                  <a:pt x="455" y="183"/>
                </a:lnTo>
                <a:lnTo>
                  <a:pt x="470" y="183"/>
                </a:lnTo>
                <a:lnTo>
                  <a:pt x="462" y="189"/>
                </a:lnTo>
                <a:lnTo>
                  <a:pt x="477" y="114"/>
                </a:lnTo>
                <a:lnTo>
                  <a:pt x="476" y="116"/>
                </a:lnTo>
                <a:lnTo>
                  <a:pt x="476" y="84"/>
                </a:lnTo>
                <a:lnTo>
                  <a:pt x="476" y="69"/>
                </a:lnTo>
                <a:lnTo>
                  <a:pt x="476" y="55"/>
                </a:lnTo>
                <a:cubicBezTo>
                  <a:pt x="476" y="52"/>
                  <a:pt x="477" y="50"/>
                  <a:pt x="479" y="49"/>
                </a:cubicBezTo>
                <a:lnTo>
                  <a:pt x="497" y="34"/>
                </a:lnTo>
                <a:lnTo>
                  <a:pt x="496" y="36"/>
                </a:lnTo>
                <a:lnTo>
                  <a:pt x="511" y="18"/>
                </a:lnTo>
                <a:cubicBezTo>
                  <a:pt x="512" y="16"/>
                  <a:pt x="514" y="15"/>
                  <a:pt x="517" y="15"/>
                </a:cubicBezTo>
                <a:lnTo>
                  <a:pt x="531" y="15"/>
                </a:lnTo>
                <a:lnTo>
                  <a:pt x="526" y="16"/>
                </a:lnTo>
                <a:lnTo>
                  <a:pt x="544" y="2"/>
                </a:lnTo>
                <a:cubicBezTo>
                  <a:pt x="546" y="1"/>
                  <a:pt x="548" y="0"/>
                  <a:pt x="549" y="0"/>
                </a:cubicBezTo>
                <a:lnTo>
                  <a:pt x="564" y="0"/>
                </a:lnTo>
                <a:lnTo>
                  <a:pt x="578" y="0"/>
                </a:lnTo>
                <a:lnTo>
                  <a:pt x="593" y="0"/>
                </a:lnTo>
                <a:lnTo>
                  <a:pt x="611" y="0"/>
                </a:lnTo>
                <a:lnTo>
                  <a:pt x="625" y="0"/>
                </a:lnTo>
                <a:lnTo>
                  <a:pt x="640" y="0"/>
                </a:lnTo>
                <a:cubicBezTo>
                  <a:pt x="642" y="0"/>
                  <a:pt x="643" y="1"/>
                  <a:pt x="645" y="2"/>
                </a:cubicBezTo>
                <a:lnTo>
                  <a:pt x="663" y="16"/>
                </a:lnTo>
                <a:cubicBezTo>
                  <a:pt x="665" y="18"/>
                  <a:pt x="666" y="20"/>
                  <a:pt x="666" y="23"/>
                </a:cubicBezTo>
                <a:lnTo>
                  <a:pt x="666" y="55"/>
                </a:lnTo>
                <a:lnTo>
                  <a:pt x="663" y="49"/>
                </a:lnTo>
                <a:lnTo>
                  <a:pt x="678" y="64"/>
                </a:lnTo>
                <a:cubicBezTo>
                  <a:pt x="679" y="65"/>
                  <a:pt x="680" y="67"/>
                  <a:pt x="680" y="69"/>
                </a:cubicBezTo>
                <a:lnTo>
                  <a:pt x="680" y="84"/>
                </a:lnTo>
                <a:lnTo>
                  <a:pt x="672" y="76"/>
                </a:lnTo>
                <a:lnTo>
                  <a:pt x="687" y="76"/>
                </a:lnTo>
                <a:lnTo>
                  <a:pt x="701" y="76"/>
                </a:lnTo>
                <a:lnTo>
                  <a:pt x="719" y="76"/>
                </a:lnTo>
                <a:lnTo>
                  <a:pt x="711" y="84"/>
                </a:lnTo>
                <a:lnTo>
                  <a:pt x="711" y="69"/>
                </a:lnTo>
                <a:cubicBezTo>
                  <a:pt x="711" y="65"/>
                  <a:pt x="715" y="61"/>
                  <a:pt x="719" y="61"/>
                </a:cubicBezTo>
                <a:lnTo>
                  <a:pt x="734" y="61"/>
                </a:lnTo>
                <a:lnTo>
                  <a:pt x="726" y="69"/>
                </a:lnTo>
                <a:lnTo>
                  <a:pt x="726" y="41"/>
                </a:lnTo>
                <a:lnTo>
                  <a:pt x="726" y="23"/>
                </a:lnTo>
                <a:cubicBezTo>
                  <a:pt x="726" y="18"/>
                  <a:pt x="729" y="15"/>
                  <a:pt x="734" y="15"/>
                </a:cubicBezTo>
                <a:lnTo>
                  <a:pt x="748" y="15"/>
                </a:lnTo>
                <a:lnTo>
                  <a:pt x="740" y="23"/>
                </a:lnTo>
                <a:lnTo>
                  <a:pt x="740" y="8"/>
                </a:lnTo>
                <a:cubicBezTo>
                  <a:pt x="740" y="4"/>
                  <a:pt x="744" y="0"/>
                  <a:pt x="748" y="0"/>
                </a:cubicBezTo>
                <a:lnTo>
                  <a:pt x="766" y="0"/>
                </a:lnTo>
                <a:lnTo>
                  <a:pt x="781" y="0"/>
                </a:lnTo>
                <a:cubicBezTo>
                  <a:pt x="783" y="0"/>
                  <a:pt x="785" y="1"/>
                  <a:pt x="786" y="3"/>
                </a:cubicBezTo>
                <a:lnTo>
                  <a:pt x="801" y="17"/>
                </a:lnTo>
                <a:lnTo>
                  <a:pt x="797" y="15"/>
                </a:lnTo>
                <a:lnTo>
                  <a:pt x="859" y="33"/>
                </a:lnTo>
                <a:lnTo>
                  <a:pt x="892" y="48"/>
                </a:lnTo>
                <a:cubicBezTo>
                  <a:pt x="895" y="49"/>
                  <a:pt x="897" y="52"/>
                  <a:pt x="897" y="55"/>
                </a:cubicBezTo>
                <a:lnTo>
                  <a:pt x="897" y="69"/>
                </a:lnTo>
                <a:lnTo>
                  <a:pt x="889" y="61"/>
                </a:lnTo>
                <a:lnTo>
                  <a:pt x="903" y="61"/>
                </a:lnTo>
                <a:lnTo>
                  <a:pt x="903" y="77"/>
                </a:lnTo>
                <a:lnTo>
                  <a:pt x="889" y="77"/>
                </a:lnTo>
                <a:cubicBezTo>
                  <a:pt x="885" y="77"/>
                  <a:pt x="881" y="74"/>
                  <a:pt x="881" y="69"/>
                </a:cubicBezTo>
                <a:lnTo>
                  <a:pt x="881" y="55"/>
                </a:lnTo>
                <a:lnTo>
                  <a:pt x="886" y="62"/>
                </a:lnTo>
                <a:lnTo>
                  <a:pt x="854" y="48"/>
                </a:lnTo>
                <a:lnTo>
                  <a:pt x="793" y="30"/>
                </a:lnTo>
                <a:cubicBezTo>
                  <a:pt x="792" y="30"/>
                  <a:pt x="790" y="29"/>
                  <a:pt x="789" y="28"/>
                </a:cubicBezTo>
                <a:lnTo>
                  <a:pt x="775" y="14"/>
                </a:lnTo>
                <a:lnTo>
                  <a:pt x="781" y="16"/>
                </a:lnTo>
                <a:lnTo>
                  <a:pt x="766" y="16"/>
                </a:lnTo>
                <a:lnTo>
                  <a:pt x="748" y="16"/>
                </a:lnTo>
                <a:lnTo>
                  <a:pt x="756" y="8"/>
                </a:lnTo>
                <a:lnTo>
                  <a:pt x="756" y="23"/>
                </a:lnTo>
                <a:cubicBezTo>
                  <a:pt x="756" y="27"/>
                  <a:pt x="753" y="31"/>
                  <a:pt x="748" y="31"/>
                </a:cubicBezTo>
                <a:lnTo>
                  <a:pt x="734" y="31"/>
                </a:lnTo>
                <a:lnTo>
                  <a:pt x="742" y="23"/>
                </a:lnTo>
                <a:lnTo>
                  <a:pt x="742" y="41"/>
                </a:lnTo>
                <a:lnTo>
                  <a:pt x="742" y="69"/>
                </a:lnTo>
                <a:cubicBezTo>
                  <a:pt x="742" y="74"/>
                  <a:pt x="738" y="77"/>
                  <a:pt x="734" y="77"/>
                </a:cubicBezTo>
                <a:lnTo>
                  <a:pt x="719" y="77"/>
                </a:lnTo>
                <a:lnTo>
                  <a:pt x="727" y="69"/>
                </a:lnTo>
                <a:lnTo>
                  <a:pt x="727" y="84"/>
                </a:lnTo>
                <a:cubicBezTo>
                  <a:pt x="727" y="88"/>
                  <a:pt x="724" y="92"/>
                  <a:pt x="719" y="92"/>
                </a:cubicBezTo>
                <a:lnTo>
                  <a:pt x="701" y="92"/>
                </a:lnTo>
                <a:lnTo>
                  <a:pt x="687" y="92"/>
                </a:lnTo>
                <a:lnTo>
                  <a:pt x="672" y="92"/>
                </a:lnTo>
                <a:cubicBezTo>
                  <a:pt x="668" y="92"/>
                  <a:pt x="664" y="88"/>
                  <a:pt x="664" y="84"/>
                </a:cubicBezTo>
                <a:lnTo>
                  <a:pt x="664" y="69"/>
                </a:lnTo>
                <a:lnTo>
                  <a:pt x="667" y="75"/>
                </a:lnTo>
                <a:lnTo>
                  <a:pt x="652" y="61"/>
                </a:lnTo>
                <a:cubicBezTo>
                  <a:pt x="651" y="59"/>
                  <a:pt x="650" y="57"/>
                  <a:pt x="650" y="55"/>
                </a:cubicBezTo>
                <a:lnTo>
                  <a:pt x="650" y="23"/>
                </a:lnTo>
                <a:lnTo>
                  <a:pt x="653" y="29"/>
                </a:lnTo>
                <a:lnTo>
                  <a:pt x="635" y="15"/>
                </a:lnTo>
                <a:lnTo>
                  <a:pt x="640" y="16"/>
                </a:lnTo>
                <a:lnTo>
                  <a:pt x="625" y="16"/>
                </a:lnTo>
                <a:lnTo>
                  <a:pt x="611" y="16"/>
                </a:lnTo>
                <a:lnTo>
                  <a:pt x="593" y="16"/>
                </a:lnTo>
                <a:lnTo>
                  <a:pt x="578" y="16"/>
                </a:lnTo>
                <a:lnTo>
                  <a:pt x="564" y="16"/>
                </a:lnTo>
                <a:lnTo>
                  <a:pt x="549" y="16"/>
                </a:lnTo>
                <a:lnTo>
                  <a:pt x="554" y="15"/>
                </a:lnTo>
                <a:lnTo>
                  <a:pt x="536" y="29"/>
                </a:lnTo>
                <a:cubicBezTo>
                  <a:pt x="535" y="30"/>
                  <a:pt x="533" y="31"/>
                  <a:pt x="531" y="31"/>
                </a:cubicBezTo>
                <a:lnTo>
                  <a:pt x="517" y="31"/>
                </a:lnTo>
                <a:lnTo>
                  <a:pt x="523" y="28"/>
                </a:lnTo>
                <a:lnTo>
                  <a:pt x="509" y="46"/>
                </a:lnTo>
                <a:cubicBezTo>
                  <a:pt x="508" y="46"/>
                  <a:pt x="508" y="47"/>
                  <a:pt x="507" y="47"/>
                </a:cubicBezTo>
                <a:lnTo>
                  <a:pt x="489" y="61"/>
                </a:lnTo>
                <a:lnTo>
                  <a:pt x="492" y="55"/>
                </a:lnTo>
                <a:lnTo>
                  <a:pt x="492" y="69"/>
                </a:lnTo>
                <a:lnTo>
                  <a:pt x="492" y="84"/>
                </a:lnTo>
                <a:lnTo>
                  <a:pt x="492" y="116"/>
                </a:lnTo>
                <a:cubicBezTo>
                  <a:pt x="492" y="116"/>
                  <a:pt x="492" y="117"/>
                  <a:pt x="492" y="117"/>
                </a:cubicBezTo>
                <a:lnTo>
                  <a:pt x="478" y="192"/>
                </a:lnTo>
                <a:cubicBezTo>
                  <a:pt x="477" y="196"/>
                  <a:pt x="474" y="199"/>
                  <a:pt x="470" y="199"/>
                </a:cubicBezTo>
                <a:lnTo>
                  <a:pt x="455" y="199"/>
                </a:lnTo>
                <a:lnTo>
                  <a:pt x="441" y="199"/>
                </a:lnTo>
                <a:lnTo>
                  <a:pt x="447" y="196"/>
                </a:lnTo>
                <a:lnTo>
                  <a:pt x="429" y="214"/>
                </a:lnTo>
                <a:lnTo>
                  <a:pt x="431" y="209"/>
                </a:lnTo>
                <a:lnTo>
                  <a:pt x="431" y="223"/>
                </a:lnTo>
                <a:lnTo>
                  <a:pt x="431" y="237"/>
                </a:lnTo>
                <a:lnTo>
                  <a:pt x="431" y="255"/>
                </a:lnTo>
                <a:lnTo>
                  <a:pt x="431" y="269"/>
                </a:lnTo>
                <a:cubicBezTo>
                  <a:pt x="431" y="274"/>
                  <a:pt x="427" y="277"/>
                  <a:pt x="423" y="277"/>
                </a:cubicBezTo>
                <a:lnTo>
                  <a:pt x="409" y="277"/>
                </a:lnTo>
                <a:lnTo>
                  <a:pt x="376" y="277"/>
                </a:lnTo>
                <a:lnTo>
                  <a:pt x="362" y="277"/>
                </a:lnTo>
                <a:lnTo>
                  <a:pt x="367" y="275"/>
                </a:lnTo>
                <a:lnTo>
                  <a:pt x="353" y="289"/>
                </a:lnTo>
                <a:cubicBezTo>
                  <a:pt x="351" y="291"/>
                  <a:pt x="349" y="292"/>
                  <a:pt x="347" y="292"/>
                </a:cubicBezTo>
                <a:lnTo>
                  <a:pt x="333" y="292"/>
                </a:lnTo>
                <a:lnTo>
                  <a:pt x="338" y="290"/>
                </a:lnTo>
                <a:lnTo>
                  <a:pt x="320" y="304"/>
                </a:lnTo>
                <a:lnTo>
                  <a:pt x="321" y="303"/>
                </a:lnTo>
                <a:lnTo>
                  <a:pt x="306" y="321"/>
                </a:lnTo>
                <a:lnTo>
                  <a:pt x="308" y="316"/>
                </a:lnTo>
                <a:lnTo>
                  <a:pt x="308" y="330"/>
                </a:lnTo>
                <a:cubicBezTo>
                  <a:pt x="308" y="335"/>
                  <a:pt x="305" y="338"/>
                  <a:pt x="300" y="338"/>
                </a:cubicBezTo>
                <a:lnTo>
                  <a:pt x="286" y="338"/>
                </a:lnTo>
                <a:lnTo>
                  <a:pt x="291" y="336"/>
                </a:lnTo>
                <a:lnTo>
                  <a:pt x="273" y="351"/>
                </a:lnTo>
                <a:cubicBezTo>
                  <a:pt x="271" y="352"/>
                  <a:pt x="269" y="352"/>
                  <a:pt x="268" y="352"/>
                </a:cubicBezTo>
                <a:lnTo>
                  <a:pt x="253" y="352"/>
                </a:lnTo>
                <a:cubicBezTo>
                  <a:pt x="249" y="352"/>
                  <a:pt x="245" y="349"/>
                  <a:pt x="245" y="344"/>
                </a:cubicBezTo>
                <a:lnTo>
                  <a:pt x="245" y="330"/>
                </a:lnTo>
                <a:lnTo>
                  <a:pt x="253" y="338"/>
                </a:lnTo>
                <a:lnTo>
                  <a:pt x="239" y="338"/>
                </a:lnTo>
                <a:cubicBezTo>
                  <a:pt x="237" y="338"/>
                  <a:pt x="235" y="337"/>
                  <a:pt x="233" y="336"/>
                </a:cubicBezTo>
                <a:lnTo>
                  <a:pt x="219" y="322"/>
                </a:lnTo>
                <a:lnTo>
                  <a:pt x="201" y="304"/>
                </a:lnTo>
                <a:cubicBezTo>
                  <a:pt x="200" y="303"/>
                  <a:pt x="199" y="302"/>
                  <a:pt x="199" y="302"/>
                </a:cubicBezTo>
                <a:lnTo>
                  <a:pt x="184" y="273"/>
                </a:lnTo>
                <a:lnTo>
                  <a:pt x="170" y="241"/>
                </a:lnTo>
                <a:lnTo>
                  <a:pt x="177" y="245"/>
                </a:lnTo>
                <a:lnTo>
                  <a:pt x="159" y="245"/>
                </a:lnTo>
                <a:cubicBezTo>
                  <a:pt x="155" y="245"/>
                  <a:pt x="151" y="242"/>
                  <a:pt x="151" y="237"/>
                </a:cubicBezTo>
                <a:lnTo>
                  <a:pt x="151" y="223"/>
                </a:lnTo>
                <a:lnTo>
                  <a:pt x="154" y="229"/>
                </a:lnTo>
                <a:lnTo>
                  <a:pt x="139" y="214"/>
                </a:lnTo>
                <a:lnTo>
                  <a:pt x="145" y="217"/>
                </a:lnTo>
                <a:lnTo>
                  <a:pt x="130" y="217"/>
                </a:lnTo>
                <a:cubicBezTo>
                  <a:pt x="128" y="217"/>
                  <a:pt x="126" y="216"/>
                  <a:pt x="124" y="214"/>
                </a:cubicBezTo>
                <a:lnTo>
                  <a:pt x="110" y="196"/>
                </a:lnTo>
                <a:lnTo>
                  <a:pt x="116" y="199"/>
                </a:lnTo>
                <a:lnTo>
                  <a:pt x="98" y="199"/>
                </a:lnTo>
                <a:lnTo>
                  <a:pt x="69" y="199"/>
                </a:lnTo>
                <a:lnTo>
                  <a:pt x="54" y="199"/>
                </a:lnTo>
                <a:lnTo>
                  <a:pt x="61" y="195"/>
                </a:lnTo>
                <a:lnTo>
                  <a:pt x="28" y="242"/>
                </a:lnTo>
                <a:lnTo>
                  <a:pt x="30" y="237"/>
                </a:lnTo>
                <a:lnTo>
                  <a:pt x="30" y="255"/>
                </a:lnTo>
                <a:cubicBezTo>
                  <a:pt x="30" y="256"/>
                  <a:pt x="30" y="258"/>
                  <a:pt x="29" y="259"/>
                </a:cubicBezTo>
                <a:lnTo>
                  <a:pt x="15" y="287"/>
                </a:lnTo>
                <a:lnTo>
                  <a:pt x="0" y="280"/>
                </a:lnTo>
                <a:close/>
              </a:path>
            </a:pathLst>
          </a:custGeom>
          <a:solidFill>
            <a:srgbClr val="FF9933"/>
          </a:solidFill>
          <a:ln w="9525">
            <a:solidFill>
              <a:schemeClr val="bg1"/>
            </a:solidFill>
            <a:round/>
            <a:headEnd/>
            <a:tailEnd/>
          </a:ln>
        </p:spPr>
        <p:txBody>
          <a:bodyPr/>
          <a:lstStyle/>
          <a:p>
            <a:endParaRPr lang="ro-RO"/>
          </a:p>
        </p:txBody>
      </p:sp>
      <p:sp>
        <p:nvSpPr>
          <p:cNvPr id="12349" name="Rectangle 62"/>
          <p:cNvSpPr>
            <a:spLocks noChangeArrowheads="1"/>
          </p:cNvSpPr>
          <p:nvPr/>
        </p:nvSpPr>
        <p:spPr bwMode="auto">
          <a:xfrm>
            <a:off x="993775" y="3360738"/>
            <a:ext cx="273050" cy="131762"/>
          </a:xfrm>
          <a:prstGeom prst="rect">
            <a:avLst/>
          </a:prstGeom>
          <a:noFill/>
          <a:ln w="9525">
            <a:noFill/>
            <a:miter lim="800000"/>
            <a:headEnd/>
            <a:tailEnd/>
          </a:ln>
        </p:spPr>
        <p:txBody>
          <a:bodyPr wrap="none" lIns="0" tIns="0" rIns="0" bIns="0">
            <a:spAutoFit/>
          </a:bodyPr>
          <a:lstStyle/>
          <a:p>
            <a:r>
              <a:rPr lang="it-IT" sz="1000">
                <a:solidFill>
                  <a:srgbClr val="FFFFFF"/>
                </a:solidFill>
              </a:rPr>
              <a:t>TIMIS</a:t>
            </a:r>
            <a:endParaRPr lang="it-IT" sz="1800"/>
          </a:p>
        </p:txBody>
      </p:sp>
      <p:sp>
        <p:nvSpPr>
          <p:cNvPr id="12350" name="Rectangle 63"/>
          <p:cNvSpPr>
            <a:spLocks noChangeArrowheads="1"/>
          </p:cNvSpPr>
          <p:nvPr/>
        </p:nvSpPr>
        <p:spPr bwMode="auto">
          <a:xfrm>
            <a:off x="1150938" y="2779713"/>
            <a:ext cx="355600" cy="152400"/>
          </a:xfrm>
          <a:prstGeom prst="rect">
            <a:avLst/>
          </a:prstGeom>
          <a:noFill/>
          <a:ln w="9525">
            <a:noFill/>
            <a:miter lim="800000"/>
            <a:headEnd/>
            <a:tailEnd/>
          </a:ln>
        </p:spPr>
        <p:txBody>
          <a:bodyPr wrap="none" lIns="0" tIns="0" rIns="0" bIns="0">
            <a:spAutoFit/>
          </a:bodyPr>
          <a:lstStyle/>
          <a:p>
            <a:r>
              <a:rPr lang="it-IT" sz="1000">
                <a:solidFill>
                  <a:schemeClr val="bg1"/>
                </a:solidFill>
              </a:rPr>
              <a:t>ARAD</a:t>
            </a:r>
            <a:endParaRPr lang="it-IT" sz="1800">
              <a:solidFill>
                <a:schemeClr val="bg1"/>
              </a:solidFill>
            </a:endParaRPr>
          </a:p>
        </p:txBody>
      </p:sp>
      <p:sp>
        <p:nvSpPr>
          <p:cNvPr id="12351" name="Rectangle 64"/>
          <p:cNvSpPr>
            <a:spLocks noChangeArrowheads="1"/>
          </p:cNvSpPr>
          <p:nvPr/>
        </p:nvSpPr>
        <p:spPr bwMode="auto">
          <a:xfrm>
            <a:off x="1546225" y="2239963"/>
            <a:ext cx="406400" cy="153987"/>
          </a:xfrm>
          <a:prstGeom prst="rect">
            <a:avLst/>
          </a:prstGeom>
          <a:noFill/>
          <a:ln w="9525">
            <a:noFill/>
            <a:miter lim="800000"/>
            <a:headEnd/>
            <a:tailEnd/>
          </a:ln>
        </p:spPr>
        <p:txBody>
          <a:bodyPr wrap="none" lIns="0" tIns="0" rIns="0" bIns="0">
            <a:spAutoFit/>
          </a:bodyPr>
          <a:lstStyle/>
          <a:p>
            <a:r>
              <a:rPr lang="it-IT" sz="1000">
                <a:solidFill>
                  <a:schemeClr val="bg1"/>
                </a:solidFill>
              </a:rPr>
              <a:t>BIHOR</a:t>
            </a:r>
            <a:endParaRPr lang="it-IT" sz="1800">
              <a:solidFill>
                <a:schemeClr val="bg1"/>
              </a:solidFill>
            </a:endParaRPr>
          </a:p>
        </p:txBody>
      </p:sp>
      <p:sp>
        <p:nvSpPr>
          <p:cNvPr id="12352" name="Rectangle 65"/>
          <p:cNvSpPr>
            <a:spLocks noChangeArrowheads="1"/>
          </p:cNvSpPr>
          <p:nvPr/>
        </p:nvSpPr>
        <p:spPr bwMode="auto">
          <a:xfrm>
            <a:off x="1808163" y="1546225"/>
            <a:ext cx="341312" cy="153988"/>
          </a:xfrm>
          <a:prstGeom prst="rect">
            <a:avLst/>
          </a:prstGeom>
          <a:noFill/>
          <a:ln w="9525">
            <a:noFill/>
            <a:miter lim="800000"/>
            <a:headEnd/>
            <a:tailEnd/>
          </a:ln>
        </p:spPr>
        <p:txBody>
          <a:bodyPr wrap="none" lIns="0" tIns="0" rIns="0" bIns="0">
            <a:spAutoFit/>
          </a:bodyPr>
          <a:lstStyle/>
          <a:p>
            <a:r>
              <a:rPr lang="it-IT" sz="1000">
                <a:solidFill>
                  <a:schemeClr val="bg1"/>
                </a:solidFill>
              </a:rPr>
              <a:t>SATU</a:t>
            </a:r>
            <a:endParaRPr lang="it-IT" sz="1800">
              <a:solidFill>
                <a:schemeClr val="bg1"/>
              </a:solidFill>
            </a:endParaRPr>
          </a:p>
        </p:txBody>
      </p:sp>
      <p:sp>
        <p:nvSpPr>
          <p:cNvPr id="12353" name="Rectangle 67"/>
          <p:cNvSpPr>
            <a:spLocks noChangeArrowheads="1"/>
          </p:cNvSpPr>
          <p:nvPr/>
        </p:nvSpPr>
        <p:spPr bwMode="auto">
          <a:xfrm>
            <a:off x="2127250" y="1546225"/>
            <a:ext cx="371475" cy="153988"/>
          </a:xfrm>
          <a:prstGeom prst="rect">
            <a:avLst/>
          </a:prstGeom>
          <a:noFill/>
          <a:ln w="9525">
            <a:noFill/>
            <a:miter lim="800000"/>
            <a:headEnd/>
            <a:tailEnd/>
          </a:ln>
        </p:spPr>
        <p:txBody>
          <a:bodyPr wrap="none" lIns="0" tIns="0" rIns="0" bIns="0">
            <a:spAutoFit/>
          </a:bodyPr>
          <a:lstStyle/>
          <a:p>
            <a:r>
              <a:rPr lang="it-IT" sz="1000">
                <a:solidFill>
                  <a:schemeClr val="bg1"/>
                </a:solidFill>
              </a:rPr>
              <a:t>MARE</a:t>
            </a:r>
            <a:endParaRPr lang="it-IT" sz="1800">
              <a:solidFill>
                <a:schemeClr val="bg1"/>
              </a:solidFill>
            </a:endParaRPr>
          </a:p>
        </p:txBody>
      </p:sp>
      <p:sp>
        <p:nvSpPr>
          <p:cNvPr id="12354" name="Rectangle 68"/>
          <p:cNvSpPr>
            <a:spLocks noChangeArrowheads="1"/>
          </p:cNvSpPr>
          <p:nvPr/>
        </p:nvSpPr>
        <p:spPr bwMode="auto">
          <a:xfrm>
            <a:off x="2127250" y="1928813"/>
            <a:ext cx="85725" cy="153987"/>
          </a:xfrm>
          <a:prstGeom prst="rect">
            <a:avLst/>
          </a:prstGeom>
          <a:noFill/>
          <a:ln w="9525">
            <a:noFill/>
            <a:miter lim="800000"/>
            <a:headEnd/>
            <a:tailEnd/>
          </a:ln>
        </p:spPr>
        <p:txBody>
          <a:bodyPr wrap="none" lIns="0" tIns="0" rIns="0" bIns="0">
            <a:spAutoFit/>
          </a:bodyPr>
          <a:lstStyle/>
          <a:p>
            <a:r>
              <a:rPr lang="it-IT" sz="1000">
                <a:solidFill>
                  <a:schemeClr val="bg1"/>
                </a:solidFill>
              </a:rPr>
              <a:t>S</a:t>
            </a:r>
            <a:endParaRPr lang="it-IT" sz="1800">
              <a:solidFill>
                <a:schemeClr val="bg1"/>
              </a:solidFill>
            </a:endParaRPr>
          </a:p>
        </p:txBody>
      </p:sp>
      <p:sp>
        <p:nvSpPr>
          <p:cNvPr id="12355" name="Rectangle 70"/>
          <p:cNvSpPr>
            <a:spLocks noChangeArrowheads="1"/>
          </p:cNvSpPr>
          <p:nvPr/>
        </p:nvSpPr>
        <p:spPr bwMode="auto">
          <a:xfrm>
            <a:off x="2200275" y="1939925"/>
            <a:ext cx="304800" cy="153988"/>
          </a:xfrm>
          <a:prstGeom prst="rect">
            <a:avLst/>
          </a:prstGeom>
          <a:noFill/>
          <a:ln w="9525">
            <a:noFill/>
            <a:miter lim="800000"/>
            <a:headEnd/>
            <a:tailEnd/>
          </a:ln>
        </p:spPr>
        <p:txBody>
          <a:bodyPr wrap="none" lIns="0" tIns="0" rIns="0" bIns="0">
            <a:spAutoFit/>
          </a:bodyPr>
          <a:lstStyle/>
          <a:p>
            <a:r>
              <a:rPr lang="it-IT" sz="1000">
                <a:solidFill>
                  <a:schemeClr val="bg1"/>
                </a:solidFill>
              </a:rPr>
              <a:t>ALAJ</a:t>
            </a:r>
            <a:endParaRPr lang="it-IT" sz="1800">
              <a:solidFill>
                <a:schemeClr val="bg1"/>
              </a:solidFill>
            </a:endParaRPr>
          </a:p>
        </p:txBody>
      </p:sp>
      <p:sp>
        <p:nvSpPr>
          <p:cNvPr id="12356" name="Rectangle 71"/>
          <p:cNvSpPr>
            <a:spLocks noChangeArrowheads="1"/>
          </p:cNvSpPr>
          <p:nvPr/>
        </p:nvSpPr>
        <p:spPr bwMode="auto">
          <a:xfrm>
            <a:off x="2644775" y="1490663"/>
            <a:ext cx="833438" cy="153987"/>
          </a:xfrm>
          <a:prstGeom prst="rect">
            <a:avLst/>
          </a:prstGeom>
          <a:noFill/>
          <a:ln w="9525">
            <a:noFill/>
            <a:miter lim="800000"/>
            <a:headEnd/>
            <a:tailEnd/>
          </a:ln>
        </p:spPr>
        <p:txBody>
          <a:bodyPr wrap="none" lIns="0" tIns="0" rIns="0" bIns="0">
            <a:spAutoFit/>
          </a:bodyPr>
          <a:lstStyle/>
          <a:p>
            <a:r>
              <a:rPr lang="it-IT" sz="1000">
                <a:solidFill>
                  <a:schemeClr val="bg1"/>
                </a:solidFill>
              </a:rPr>
              <a:t>MARAMURES</a:t>
            </a:r>
            <a:endParaRPr lang="it-IT" sz="1800">
              <a:solidFill>
                <a:schemeClr val="bg1"/>
              </a:solidFill>
            </a:endParaRPr>
          </a:p>
        </p:txBody>
      </p:sp>
      <p:sp>
        <p:nvSpPr>
          <p:cNvPr id="12357" name="Rectangle 72"/>
          <p:cNvSpPr>
            <a:spLocks noChangeArrowheads="1"/>
          </p:cNvSpPr>
          <p:nvPr/>
        </p:nvSpPr>
        <p:spPr bwMode="auto">
          <a:xfrm>
            <a:off x="2540000" y="2297113"/>
            <a:ext cx="320675" cy="153987"/>
          </a:xfrm>
          <a:prstGeom prst="rect">
            <a:avLst/>
          </a:prstGeom>
          <a:noFill/>
          <a:ln w="9525">
            <a:noFill/>
            <a:miter lim="800000"/>
            <a:headEnd/>
            <a:tailEnd/>
          </a:ln>
        </p:spPr>
        <p:txBody>
          <a:bodyPr wrap="none" lIns="0" tIns="0" rIns="0" bIns="0">
            <a:spAutoFit/>
          </a:bodyPr>
          <a:lstStyle/>
          <a:p>
            <a:r>
              <a:rPr lang="it-IT" sz="1000">
                <a:solidFill>
                  <a:schemeClr val="bg1"/>
                </a:solidFill>
              </a:rPr>
              <a:t>CLUJ</a:t>
            </a:r>
            <a:endParaRPr lang="it-IT" sz="1800">
              <a:solidFill>
                <a:schemeClr val="bg1"/>
              </a:solidFill>
            </a:endParaRPr>
          </a:p>
        </p:txBody>
      </p:sp>
      <p:sp>
        <p:nvSpPr>
          <p:cNvPr id="12358" name="Rectangle 73"/>
          <p:cNvSpPr>
            <a:spLocks noChangeArrowheads="1"/>
          </p:cNvSpPr>
          <p:nvPr/>
        </p:nvSpPr>
        <p:spPr bwMode="auto">
          <a:xfrm>
            <a:off x="2928938" y="1822450"/>
            <a:ext cx="503237" cy="133350"/>
          </a:xfrm>
          <a:prstGeom prst="rect">
            <a:avLst/>
          </a:prstGeom>
          <a:noFill/>
          <a:ln w="9525">
            <a:noFill/>
            <a:miter lim="800000"/>
            <a:headEnd/>
            <a:tailEnd/>
          </a:ln>
        </p:spPr>
        <p:txBody>
          <a:bodyPr wrap="none" lIns="0" tIns="0" rIns="0" bIns="0">
            <a:spAutoFit/>
          </a:bodyPr>
          <a:lstStyle/>
          <a:p>
            <a:r>
              <a:rPr lang="it-IT" sz="1000">
                <a:solidFill>
                  <a:srgbClr val="FFFFFF"/>
                </a:solidFill>
              </a:rPr>
              <a:t>BISTRITA </a:t>
            </a:r>
            <a:endParaRPr lang="it-IT" sz="1800"/>
          </a:p>
        </p:txBody>
      </p:sp>
      <p:sp>
        <p:nvSpPr>
          <p:cNvPr id="12359" name="Rectangle 74"/>
          <p:cNvSpPr>
            <a:spLocks noChangeArrowheads="1"/>
          </p:cNvSpPr>
          <p:nvPr/>
        </p:nvSpPr>
        <p:spPr bwMode="auto">
          <a:xfrm>
            <a:off x="2928938" y="1957388"/>
            <a:ext cx="441325" cy="131762"/>
          </a:xfrm>
          <a:prstGeom prst="rect">
            <a:avLst/>
          </a:prstGeom>
          <a:noFill/>
          <a:ln w="9525">
            <a:noFill/>
            <a:miter lim="800000"/>
            <a:headEnd/>
            <a:tailEnd/>
          </a:ln>
        </p:spPr>
        <p:txBody>
          <a:bodyPr wrap="none" lIns="0" tIns="0" rIns="0" bIns="0">
            <a:spAutoFit/>
          </a:bodyPr>
          <a:lstStyle/>
          <a:p>
            <a:r>
              <a:rPr lang="it-IT" sz="1000">
                <a:solidFill>
                  <a:srgbClr val="FFFFFF"/>
                </a:solidFill>
              </a:rPr>
              <a:t>NASAUD</a:t>
            </a:r>
            <a:endParaRPr lang="it-IT" sz="1800"/>
          </a:p>
        </p:txBody>
      </p:sp>
      <p:sp>
        <p:nvSpPr>
          <p:cNvPr id="12360" name="Rectangle 75"/>
          <p:cNvSpPr>
            <a:spLocks noChangeArrowheads="1"/>
          </p:cNvSpPr>
          <p:nvPr/>
        </p:nvSpPr>
        <p:spPr bwMode="auto">
          <a:xfrm>
            <a:off x="3660775" y="1654175"/>
            <a:ext cx="611188" cy="153988"/>
          </a:xfrm>
          <a:prstGeom prst="rect">
            <a:avLst/>
          </a:prstGeom>
          <a:noFill/>
          <a:ln w="9525">
            <a:noFill/>
            <a:miter lim="800000"/>
            <a:headEnd/>
            <a:tailEnd/>
          </a:ln>
        </p:spPr>
        <p:txBody>
          <a:bodyPr wrap="none" lIns="0" tIns="0" rIns="0" bIns="0">
            <a:spAutoFit/>
          </a:bodyPr>
          <a:lstStyle/>
          <a:p>
            <a:r>
              <a:rPr lang="it-IT" sz="1000">
                <a:solidFill>
                  <a:schemeClr val="bg1"/>
                </a:solidFill>
              </a:rPr>
              <a:t>SUCEAVA</a:t>
            </a:r>
            <a:endParaRPr lang="it-IT" sz="1800">
              <a:solidFill>
                <a:schemeClr val="bg1"/>
              </a:solidFill>
            </a:endParaRPr>
          </a:p>
        </p:txBody>
      </p:sp>
      <p:sp>
        <p:nvSpPr>
          <p:cNvPr id="12361" name="Rectangle 76"/>
          <p:cNvSpPr>
            <a:spLocks noChangeArrowheads="1"/>
          </p:cNvSpPr>
          <p:nvPr/>
        </p:nvSpPr>
        <p:spPr bwMode="auto">
          <a:xfrm>
            <a:off x="3116263" y="2670175"/>
            <a:ext cx="461962" cy="153988"/>
          </a:xfrm>
          <a:prstGeom prst="rect">
            <a:avLst/>
          </a:prstGeom>
          <a:noFill/>
          <a:ln w="9525">
            <a:noFill/>
            <a:miter lim="800000"/>
            <a:headEnd/>
            <a:tailEnd/>
          </a:ln>
        </p:spPr>
        <p:txBody>
          <a:bodyPr wrap="none" lIns="0" tIns="0" rIns="0" bIns="0">
            <a:spAutoFit/>
          </a:bodyPr>
          <a:lstStyle/>
          <a:p>
            <a:r>
              <a:rPr lang="it-IT" sz="1000">
                <a:solidFill>
                  <a:schemeClr val="bg1"/>
                </a:solidFill>
              </a:rPr>
              <a:t>MURES</a:t>
            </a:r>
            <a:endParaRPr lang="it-IT" sz="1800">
              <a:solidFill>
                <a:schemeClr val="bg1"/>
              </a:solidFill>
            </a:endParaRPr>
          </a:p>
        </p:txBody>
      </p:sp>
      <p:sp>
        <p:nvSpPr>
          <p:cNvPr id="12362" name="Rectangle 77"/>
          <p:cNvSpPr>
            <a:spLocks noChangeArrowheads="1"/>
          </p:cNvSpPr>
          <p:nvPr/>
        </p:nvSpPr>
        <p:spPr bwMode="auto">
          <a:xfrm>
            <a:off x="4759325" y="1935163"/>
            <a:ext cx="241300" cy="153987"/>
          </a:xfrm>
          <a:prstGeom prst="rect">
            <a:avLst/>
          </a:prstGeom>
          <a:noFill/>
          <a:ln w="9525">
            <a:noFill/>
            <a:miter lim="800000"/>
            <a:headEnd/>
            <a:tailEnd/>
          </a:ln>
        </p:spPr>
        <p:txBody>
          <a:bodyPr wrap="none" lIns="0" tIns="0" rIns="0" bIns="0">
            <a:spAutoFit/>
          </a:bodyPr>
          <a:lstStyle/>
          <a:p>
            <a:r>
              <a:rPr lang="it-IT" sz="1000">
                <a:solidFill>
                  <a:schemeClr val="bg1"/>
                </a:solidFill>
              </a:rPr>
              <a:t>IASI</a:t>
            </a:r>
            <a:endParaRPr lang="it-IT" sz="1800">
              <a:solidFill>
                <a:schemeClr val="bg1"/>
              </a:solidFill>
            </a:endParaRPr>
          </a:p>
        </p:txBody>
      </p:sp>
      <p:sp>
        <p:nvSpPr>
          <p:cNvPr id="12363" name="Rectangle 78"/>
          <p:cNvSpPr>
            <a:spLocks noChangeArrowheads="1"/>
          </p:cNvSpPr>
          <p:nvPr/>
        </p:nvSpPr>
        <p:spPr bwMode="auto">
          <a:xfrm>
            <a:off x="5124450" y="2665413"/>
            <a:ext cx="454025" cy="153987"/>
          </a:xfrm>
          <a:prstGeom prst="rect">
            <a:avLst/>
          </a:prstGeom>
          <a:noFill/>
          <a:ln w="9525">
            <a:noFill/>
            <a:miter lim="800000"/>
            <a:headEnd/>
            <a:tailEnd/>
          </a:ln>
        </p:spPr>
        <p:txBody>
          <a:bodyPr wrap="none" lIns="0" tIns="0" rIns="0" bIns="0">
            <a:spAutoFit/>
          </a:bodyPr>
          <a:lstStyle/>
          <a:p>
            <a:r>
              <a:rPr lang="it-IT" sz="1000">
                <a:solidFill>
                  <a:schemeClr val="bg1"/>
                </a:solidFill>
              </a:rPr>
              <a:t>VASLUI</a:t>
            </a:r>
            <a:endParaRPr lang="it-IT" sz="1800">
              <a:solidFill>
                <a:schemeClr val="bg1"/>
              </a:solidFill>
            </a:endParaRPr>
          </a:p>
        </p:txBody>
      </p:sp>
      <p:sp>
        <p:nvSpPr>
          <p:cNvPr id="12364" name="Rectangle 79"/>
          <p:cNvSpPr>
            <a:spLocks noChangeArrowheads="1"/>
          </p:cNvSpPr>
          <p:nvPr/>
        </p:nvSpPr>
        <p:spPr bwMode="auto">
          <a:xfrm>
            <a:off x="4403725" y="2722563"/>
            <a:ext cx="703263" cy="203200"/>
          </a:xfrm>
          <a:prstGeom prst="rect">
            <a:avLst/>
          </a:prstGeom>
          <a:noFill/>
          <a:ln w="9525" algn="ctr">
            <a:noFill/>
            <a:miter lim="800000"/>
            <a:headEnd/>
            <a:tailEnd/>
          </a:ln>
        </p:spPr>
        <p:txBody>
          <a:bodyPr/>
          <a:lstStyle/>
          <a:p>
            <a:r>
              <a:rPr lang="it-IT" sz="1000">
                <a:solidFill>
                  <a:schemeClr val="bg1"/>
                </a:solidFill>
              </a:rPr>
              <a:t>BACAU</a:t>
            </a:r>
            <a:endParaRPr lang="it-IT" sz="1800">
              <a:solidFill>
                <a:schemeClr val="bg1"/>
              </a:solidFill>
            </a:endParaRPr>
          </a:p>
        </p:txBody>
      </p:sp>
      <p:sp>
        <p:nvSpPr>
          <p:cNvPr id="12365" name="Rectangle 80"/>
          <p:cNvSpPr>
            <a:spLocks noChangeArrowheads="1"/>
          </p:cNvSpPr>
          <p:nvPr/>
        </p:nvSpPr>
        <p:spPr bwMode="auto">
          <a:xfrm>
            <a:off x="5072063" y="3360738"/>
            <a:ext cx="454025" cy="153987"/>
          </a:xfrm>
          <a:prstGeom prst="rect">
            <a:avLst/>
          </a:prstGeom>
          <a:noFill/>
          <a:ln w="9525">
            <a:noFill/>
            <a:miter lim="800000"/>
            <a:headEnd/>
            <a:tailEnd/>
          </a:ln>
        </p:spPr>
        <p:txBody>
          <a:bodyPr wrap="none" lIns="0" tIns="0" rIns="0" bIns="0">
            <a:spAutoFit/>
          </a:bodyPr>
          <a:lstStyle/>
          <a:p>
            <a:r>
              <a:rPr lang="it-IT" sz="1000">
                <a:solidFill>
                  <a:schemeClr val="bg1"/>
                </a:solidFill>
              </a:rPr>
              <a:t>GALATI</a:t>
            </a:r>
            <a:endParaRPr lang="it-IT" sz="1800">
              <a:solidFill>
                <a:schemeClr val="bg1"/>
              </a:solidFill>
            </a:endParaRPr>
          </a:p>
        </p:txBody>
      </p:sp>
      <p:sp>
        <p:nvSpPr>
          <p:cNvPr id="12366" name="Rectangle 81"/>
          <p:cNvSpPr>
            <a:spLocks noChangeArrowheads="1"/>
          </p:cNvSpPr>
          <p:nvPr/>
        </p:nvSpPr>
        <p:spPr bwMode="auto">
          <a:xfrm>
            <a:off x="1778000" y="3508375"/>
            <a:ext cx="669925" cy="131763"/>
          </a:xfrm>
          <a:prstGeom prst="rect">
            <a:avLst/>
          </a:prstGeom>
          <a:noFill/>
          <a:ln w="9525">
            <a:noFill/>
            <a:miter lim="800000"/>
            <a:headEnd/>
            <a:tailEnd/>
          </a:ln>
        </p:spPr>
        <p:txBody>
          <a:bodyPr wrap="none" lIns="0" tIns="0" rIns="0" bIns="0">
            <a:spAutoFit/>
          </a:bodyPr>
          <a:lstStyle/>
          <a:p>
            <a:r>
              <a:rPr lang="it-IT" sz="1000">
                <a:solidFill>
                  <a:srgbClr val="FFFFFF"/>
                </a:solidFill>
              </a:rPr>
              <a:t>HUNEDOARA</a:t>
            </a:r>
            <a:endParaRPr lang="it-IT" sz="1800"/>
          </a:p>
        </p:txBody>
      </p:sp>
      <p:sp>
        <p:nvSpPr>
          <p:cNvPr id="12367" name="Rectangle 82"/>
          <p:cNvSpPr>
            <a:spLocks noChangeArrowheads="1"/>
          </p:cNvSpPr>
          <p:nvPr/>
        </p:nvSpPr>
        <p:spPr bwMode="auto">
          <a:xfrm>
            <a:off x="1306513" y="3900488"/>
            <a:ext cx="395287" cy="133350"/>
          </a:xfrm>
          <a:prstGeom prst="rect">
            <a:avLst/>
          </a:prstGeom>
          <a:noFill/>
          <a:ln w="9525">
            <a:noFill/>
            <a:miter lim="800000"/>
            <a:headEnd/>
            <a:tailEnd/>
          </a:ln>
        </p:spPr>
        <p:txBody>
          <a:bodyPr wrap="none" lIns="0" tIns="0" rIns="0" bIns="0">
            <a:spAutoFit/>
          </a:bodyPr>
          <a:lstStyle/>
          <a:p>
            <a:r>
              <a:rPr lang="it-IT" sz="1000">
                <a:solidFill>
                  <a:srgbClr val="FFFFFF"/>
                </a:solidFill>
              </a:rPr>
              <a:t>CARAS </a:t>
            </a:r>
            <a:endParaRPr lang="it-IT" sz="1800"/>
          </a:p>
        </p:txBody>
      </p:sp>
      <p:sp>
        <p:nvSpPr>
          <p:cNvPr id="12368" name="Rectangle 83"/>
          <p:cNvSpPr>
            <a:spLocks noChangeArrowheads="1"/>
          </p:cNvSpPr>
          <p:nvPr/>
        </p:nvSpPr>
        <p:spPr bwMode="auto">
          <a:xfrm>
            <a:off x="1306513" y="4033838"/>
            <a:ext cx="450850" cy="133350"/>
          </a:xfrm>
          <a:prstGeom prst="rect">
            <a:avLst/>
          </a:prstGeom>
          <a:noFill/>
          <a:ln w="9525">
            <a:noFill/>
            <a:miter lim="800000"/>
            <a:headEnd/>
            <a:tailEnd/>
          </a:ln>
        </p:spPr>
        <p:txBody>
          <a:bodyPr wrap="none" lIns="0" tIns="0" rIns="0" bIns="0">
            <a:spAutoFit/>
          </a:bodyPr>
          <a:lstStyle/>
          <a:p>
            <a:r>
              <a:rPr lang="it-IT" sz="1000">
                <a:solidFill>
                  <a:srgbClr val="FFFFFF"/>
                </a:solidFill>
              </a:rPr>
              <a:t>SEVERIN</a:t>
            </a:r>
            <a:endParaRPr lang="it-IT" sz="1800"/>
          </a:p>
        </p:txBody>
      </p:sp>
      <p:sp>
        <p:nvSpPr>
          <p:cNvPr id="12369" name="Rectangle 84"/>
          <p:cNvSpPr>
            <a:spLocks noChangeArrowheads="1"/>
          </p:cNvSpPr>
          <p:nvPr/>
        </p:nvSpPr>
        <p:spPr bwMode="auto">
          <a:xfrm>
            <a:off x="1898650" y="4713288"/>
            <a:ext cx="722313" cy="160337"/>
          </a:xfrm>
          <a:prstGeom prst="rect">
            <a:avLst/>
          </a:prstGeom>
          <a:noFill/>
          <a:ln w="9525">
            <a:noFill/>
            <a:miter lim="800000"/>
            <a:headEnd/>
            <a:tailEnd/>
          </a:ln>
        </p:spPr>
        <p:txBody>
          <a:bodyPr wrap="none" lIns="0" tIns="0" rIns="0" bIns="0">
            <a:spAutoFit/>
          </a:bodyPr>
          <a:lstStyle/>
          <a:p>
            <a:r>
              <a:rPr lang="it-IT" sz="1000">
                <a:solidFill>
                  <a:schemeClr val="bg1"/>
                </a:solidFill>
              </a:rPr>
              <a:t>MEHEDINTI</a:t>
            </a:r>
            <a:endParaRPr lang="it-IT" sz="1800">
              <a:solidFill>
                <a:schemeClr val="bg1"/>
              </a:solidFill>
            </a:endParaRPr>
          </a:p>
        </p:txBody>
      </p:sp>
      <p:sp>
        <p:nvSpPr>
          <p:cNvPr id="12370" name="Rectangle 85"/>
          <p:cNvSpPr>
            <a:spLocks noChangeArrowheads="1"/>
          </p:cNvSpPr>
          <p:nvPr/>
        </p:nvSpPr>
        <p:spPr bwMode="auto">
          <a:xfrm>
            <a:off x="2405063" y="4968875"/>
            <a:ext cx="274637" cy="131763"/>
          </a:xfrm>
          <a:prstGeom prst="rect">
            <a:avLst/>
          </a:prstGeom>
          <a:noFill/>
          <a:ln w="9525">
            <a:noFill/>
            <a:miter lim="800000"/>
            <a:headEnd/>
            <a:tailEnd/>
          </a:ln>
        </p:spPr>
        <p:txBody>
          <a:bodyPr wrap="none" lIns="0" tIns="0" rIns="0" bIns="0">
            <a:spAutoFit/>
          </a:bodyPr>
          <a:lstStyle/>
          <a:p>
            <a:r>
              <a:rPr lang="it-IT" sz="1000">
                <a:solidFill>
                  <a:srgbClr val="FFFFFF"/>
                </a:solidFill>
              </a:rPr>
              <a:t>DOLJ</a:t>
            </a:r>
            <a:endParaRPr lang="it-IT" sz="1800"/>
          </a:p>
        </p:txBody>
      </p:sp>
      <p:sp>
        <p:nvSpPr>
          <p:cNvPr id="12371" name="Rectangle 86"/>
          <p:cNvSpPr>
            <a:spLocks noChangeArrowheads="1"/>
          </p:cNvSpPr>
          <p:nvPr/>
        </p:nvSpPr>
        <p:spPr bwMode="auto">
          <a:xfrm>
            <a:off x="3190875" y="3957638"/>
            <a:ext cx="365125" cy="131762"/>
          </a:xfrm>
          <a:prstGeom prst="rect">
            <a:avLst/>
          </a:prstGeom>
          <a:noFill/>
          <a:ln w="9525">
            <a:noFill/>
            <a:miter lim="800000"/>
            <a:headEnd/>
            <a:tailEnd/>
          </a:ln>
        </p:spPr>
        <p:txBody>
          <a:bodyPr wrap="none" lIns="0" tIns="0" rIns="0" bIns="0">
            <a:spAutoFit/>
          </a:bodyPr>
          <a:lstStyle/>
          <a:p>
            <a:r>
              <a:rPr lang="it-IT" sz="1000">
                <a:solidFill>
                  <a:srgbClr val="FFFFFF"/>
                </a:solidFill>
              </a:rPr>
              <a:t>ARGES</a:t>
            </a:r>
            <a:endParaRPr lang="it-IT" sz="1800"/>
          </a:p>
        </p:txBody>
      </p:sp>
      <p:sp>
        <p:nvSpPr>
          <p:cNvPr id="12372" name="Rectangle 87"/>
          <p:cNvSpPr>
            <a:spLocks noChangeArrowheads="1"/>
          </p:cNvSpPr>
          <p:nvPr/>
        </p:nvSpPr>
        <p:spPr bwMode="auto">
          <a:xfrm>
            <a:off x="3503613" y="4325938"/>
            <a:ext cx="623887" cy="133350"/>
          </a:xfrm>
          <a:prstGeom prst="rect">
            <a:avLst/>
          </a:prstGeom>
          <a:noFill/>
          <a:ln w="9525">
            <a:noFill/>
            <a:miter lim="800000"/>
            <a:headEnd/>
            <a:tailEnd/>
          </a:ln>
        </p:spPr>
        <p:txBody>
          <a:bodyPr wrap="none" lIns="0" tIns="0" rIns="0" bIns="0">
            <a:spAutoFit/>
          </a:bodyPr>
          <a:lstStyle/>
          <a:p>
            <a:r>
              <a:rPr lang="it-IT" sz="1000">
                <a:solidFill>
                  <a:srgbClr val="FFFFFF"/>
                </a:solidFill>
              </a:rPr>
              <a:t>DÂMBOVITA</a:t>
            </a:r>
            <a:endParaRPr lang="it-IT" sz="1800"/>
          </a:p>
        </p:txBody>
      </p:sp>
      <p:sp>
        <p:nvSpPr>
          <p:cNvPr id="12373" name="Rectangle 88"/>
          <p:cNvSpPr>
            <a:spLocks noChangeArrowheads="1"/>
          </p:cNvSpPr>
          <p:nvPr/>
        </p:nvSpPr>
        <p:spPr bwMode="auto">
          <a:xfrm>
            <a:off x="3817938" y="4013200"/>
            <a:ext cx="514350" cy="133350"/>
          </a:xfrm>
          <a:prstGeom prst="rect">
            <a:avLst/>
          </a:prstGeom>
          <a:noFill/>
          <a:ln w="9525">
            <a:noFill/>
            <a:miter lim="800000"/>
            <a:headEnd/>
            <a:tailEnd/>
          </a:ln>
        </p:spPr>
        <p:txBody>
          <a:bodyPr wrap="none" lIns="0" tIns="0" rIns="0" bIns="0">
            <a:spAutoFit/>
          </a:bodyPr>
          <a:lstStyle/>
          <a:p>
            <a:r>
              <a:rPr lang="it-IT" sz="1000">
                <a:solidFill>
                  <a:srgbClr val="FFFFFF"/>
                </a:solidFill>
              </a:rPr>
              <a:t>PRAHOVA</a:t>
            </a:r>
            <a:endParaRPr lang="it-IT" sz="1800"/>
          </a:p>
        </p:txBody>
      </p:sp>
      <p:sp>
        <p:nvSpPr>
          <p:cNvPr id="12374" name="Rectangle 89"/>
          <p:cNvSpPr>
            <a:spLocks noChangeArrowheads="1"/>
          </p:cNvSpPr>
          <p:nvPr/>
        </p:nvSpPr>
        <p:spPr bwMode="auto">
          <a:xfrm>
            <a:off x="2487613" y="3027363"/>
            <a:ext cx="325437" cy="153987"/>
          </a:xfrm>
          <a:prstGeom prst="rect">
            <a:avLst/>
          </a:prstGeom>
          <a:noFill/>
          <a:ln w="9525">
            <a:noFill/>
            <a:miter lim="800000"/>
            <a:headEnd/>
            <a:tailEnd/>
          </a:ln>
        </p:spPr>
        <p:txBody>
          <a:bodyPr wrap="none" lIns="0" tIns="0" rIns="0" bIns="0">
            <a:spAutoFit/>
          </a:bodyPr>
          <a:lstStyle/>
          <a:p>
            <a:r>
              <a:rPr lang="it-IT" sz="1000">
                <a:solidFill>
                  <a:schemeClr val="bg1"/>
                </a:solidFill>
              </a:rPr>
              <a:t>ALBA</a:t>
            </a:r>
            <a:endParaRPr lang="it-IT" sz="1800">
              <a:solidFill>
                <a:schemeClr val="bg1"/>
              </a:solidFill>
            </a:endParaRPr>
          </a:p>
        </p:txBody>
      </p:sp>
      <p:sp>
        <p:nvSpPr>
          <p:cNvPr id="12375" name="Rectangle 90"/>
          <p:cNvSpPr>
            <a:spLocks noChangeArrowheads="1"/>
          </p:cNvSpPr>
          <p:nvPr/>
        </p:nvSpPr>
        <p:spPr bwMode="auto">
          <a:xfrm>
            <a:off x="2876550" y="3340100"/>
            <a:ext cx="333375" cy="153988"/>
          </a:xfrm>
          <a:prstGeom prst="rect">
            <a:avLst/>
          </a:prstGeom>
          <a:noFill/>
          <a:ln w="9525">
            <a:noFill/>
            <a:miter lim="800000"/>
            <a:headEnd/>
            <a:tailEnd/>
          </a:ln>
        </p:spPr>
        <p:txBody>
          <a:bodyPr wrap="none" lIns="0" tIns="0" rIns="0" bIns="0">
            <a:spAutoFit/>
          </a:bodyPr>
          <a:lstStyle/>
          <a:p>
            <a:r>
              <a:rPr lang="it-IT" sz="1000">
                <a:solidFill>
                  <a:schemeClr val="bg1"/>
                </a:solidFill>
              </a:rPr>
              <a:t>SIBIU</a:t>
            </a:r>
            <a:endParaRPr lang="it-IT" sz="1800">
              <a:solidFill>
                <a:schemeClr val="bg1"/>
              </a:solidFill>
            </a:endParaRPr>
          </a:p>
        </p:txBody>
      </p:sp>
      <p:sp>
        <p:nvSpPr>
          <p:cNvPr id="12376" name="Rectangle 91"/>
          <p:cNvSpPr>
            <a:spLocks noChangeArrowheads="1"/>
          </p:cNvSpPr>
          <p:nvPr/>
        </p:nvSpPr>
        <p:spPr bwMode="auto">
          <a:xfrm>
            <a:off x="3294063" y="3363913"/>
            <a:ext cx="881062" cy="74612"/>
          </a:xfrm>
          <a:prstGeom prst="rect">
            <a:avLst/>
          </a:prstGeom>
          <a:noFill/>
          <a:ln w="9525" algn="ctr">
            <a:noFill/>
            <a:miter lim="800000"/>
            <a:headEnd/>
            <a:tailEnd/>
          </a:ln>
        </p:spPr>
        <p:txBody>
          <a:bodyPr/>
          <a:lstStyle/>
          <a:p>
            <a:r>
              <a:rPr lang="it-IT" sz="1000">
                <a:solidFill>
                  <a:schemeClr val="bg1"/>
                </a:solidFill>
              </a:rPr>
              <a:t>BRASOV</a:t>
            </a:r>
            <a:endParaRPr lang="it-IT" sz="1800">
              <a:solidFill>
                <a:schemeClr val="bg1"/>
              </a:solidFill>
            </a:endParaRPr>
          </a:p>
        </p:txBody>
      </p:sp>
      <p:sp>
        <p:nvSpPr>
          <p:cNvPr id="12377" name="Rectangle 92"/>
          <p:cNvSpPr>
            <a:spLocks noChangeArrowheads="1"/>
          </p:cNvSpPr>
          <p:nvPr/>
        </p:nvSpPr>
        <p:spPr bwMode="auto">
          <a:xfrm>
            <a:off x="4445000" y="3846513"/>
            <a:ext cx="446088" cy="161925"/>
          </a:xfrm>
          <a:prstGeom prst="rect">
            <a:avLst/>
          </a:prstGeom>
          <a:noFill/>
          <a:ln w="9525">
            <a:noFill/>
            <a:miter lim="800000"/>
            <a:headEnd/>
            <a:tailEnd/>
          </a:ln>
        </p:spPr>
        <p:txBody>
          <a:bodyPr wrap="none" lIns="0" tIns="0" rIns="0" bIns="0">
            <a:spAutoFit/>
          </a:bodyPr>
          <a:lstStyle/>
          <a:p>
            <a:r>
              <a:rPr lang="it-IT" sz="1000">
                <a:solidFill>
                  <a:schemeClr val="bg1"/>
                </a:solidFill>
              </a:rPr>
              <a:t>BUZAU</a:t>
            </a:r>
            <a:endParaRPr lang="it-IT" sz="1800">
              <a:solidFill>
                <a:schemeClr val="bg1"/>
              </a:solidFill>
            </a:endParaRPr>
          </a:p>
        </p:txBody>
      </p:sp>
      <p:sp>
        <p:nvSpPr>
          <p:cNvPr id="12378" name="Rectangle 95"/>
          <p:cNvSpPr>
            <a:spLocks noChangeArrowheads="1"/>
          </p:cNvSpPr>
          <p:nvPr/>
        </p:nvSpPr>
        <p:spPr bwMode="auto">
          <a:xfrm>
            <a:off x="5281613" y="5043488"/>
            <a:ext cx="647700" cy="133350"/>
          </a:xfrm>
          <a:prstGeom prst="rect">
            <a:avLst/>
          </a:prstGeom>
          <a:noFill/>
          <a:ln w="9525">
            <a:noFill/>
            <a:miter lim="800000"/>
            <a:headEnd/>
            <a:tailEnd/>
          </a:ln>
        </p:spPr>
        <p:txBody>
          <a:bodyPr wrap="none" lIns="0" tIns="0" rIns="0" bIns="0">
            <a:spAutoFit/>
          </a:bodyPr>
          <a:lstStyle/>
          <a:p>
            <a:r>
              <a:rPr lang="it-IT" sz="1000">
                <a:solidFill>
                  <a:srgbClr val="FFFFFF"/>
                </a:solidFill>
              </a:rPr>
              <a:t>CONSTANTA</a:t>
            </a:r>
            <a:endParaRPr lang="it-IT" sz="1800"/>
          </a:p>
        </p:txBody>
      </p:sp>
      <p:sp>
        <p:nvSpPr>
          <p:cNvPr id="12379" name="Rectangle 96"/>
          <p:cNvSpPr>
            <a:spLocks noChangeArrowheads="1"/>
          </p:cNvSpPr>
          <p:nvPr/>
        </p:nvSpPr>
        <p:spPr bwMode="auto">
          <a:xfrm>
            <a:off x="4289425" y="1317625"/>
            <a:ext cx="660400" cy="153988"/>
          </a:xfrm>
          <a:prstGeom prst="rect">
            <a:avLst/>
          </a:prstGeom>
          <a:noFill/>
          <a:ln w="9525">
            <a:noFill/>
            <a:miter lim="800000"/>
            <a:headEnd/>
            <a:tailEnd/>
          </a:ln>
        </p:spPr>
        <p:txBody>
          <a:bodyPr wrap="none" lIns="0" tIns="0" rIns="0" bIns="0">
            <a:spAutoFit/>
          </a:bodyPr>
          <a:lstStyle/>
          <a:p>
            <a:r>
              <a:rPr lang="it-IT" sz="1000">
                <a:solidFill>
                  <a:schemeClr val="bg1"/>
                </a:solidFill>
              </a:rPr>
              <a:t>BOTOSANI</a:t>
            </a:r>
            <a:endParaRPr lang="it-IT" sz="1800">
              <a:solidFill>
                <a:schemeClr val="bg1"/>
              </a:solidFill>
            </a:endParaRPr>
          </a:p>
        </p:txBody>
      </p:sp>
      <p:sp>
        <p:nvSpPr>
          <p:cNvPr id="12380" name="Rectangle 97"/>
          <p:cNvSpPr>
            <a:spLocks noChangeArrowheads="1"/>
          </p:cNvSpPr>
          <p:nvPr/>
        </p:nvSpPr>
        <p:spPr bwMode="auto">
          <a:xfrm>
            <a:off x="3922713" y="4679950"/>
            <a:ext cx="838200" cy="177800"/>
          </a:xfrm>
          <a:prstGeom prst="rect">
            <a:avLst/>
          </a:prstGeom>
          <a:noFill/>
          <a:ln w="9525">
            <a:noFill/>
            <a:miter lim="800000"/>
            <a:headEnd/>
            <a:tailEnd/>
          </a:ln>
        </p:spPr>
        <p:txBody>
          <a:bodyPr wrap="none" lIns="0" tIns="0" rIns="0" bIns="0">
            <a:spAutoFit/>
          </a:bodyPr>
          <a:lstStyle/>
          <a:p>
            <a:r>
              <a:rPr lang="it-IT" sz="1100">
                <a:solidFill>
                  <a:schemeClr val="bg1"/>
                </a:solidFill>
              </a:rPr>
              <a:t>BUCURESTI</a:t>
            </a:r>
          </a:p>
        </p:txBody>
      </p:sp>
      <p:pic>
        <p:nvPicPr>
          <p:cNvPr id="12381" name="Picture 98"/>
          <p:cNvPicPr>
            <a:picLocks noChangeAspect="1" noChangeArrowheads="1"/>
          </p:cNvPicPr>
          <p:nvPr/>
        </p:nvPicPr>
        <p:blipFill>
          <a:blip r:embed="rId2"/>
          <a:srcRect/>
          <a:stretch>
            <a:fillRect/>
          </a:stretch>
        </p:blipFill>
        <p:spPr bwMode="auto">
          <a:xfrm>
            <a:off x="5689600" y="5222875"/>
            <a:ext cx="138113" cy="153988"/>
          </a:xfrm>
          <a:prstGeom prst="rect">
            <a:avLst/>
          </a:prstGeom>
          <a:noFill/>
          <a:ln w="9525">
            <a:solidFill>
              <a:schemeClr val="bg1"/>
            </a:solidFill>
            <a:miter lim="800000"/>
            <a:headEnd/>
            <a:tailEnd/>
          </a:ln>
        </p:spPr>
      </p:pic>
      <p:pic>
        <p:nvPicPr>
          <p:cNvPr id="12382" name="Picture 99"/>
          <p:cNvPicPr>
            <a:picLocks noChangeAspect="1" noChangeArrowheads="1"/>
          </p:cNvPicPr>
          <p:nvPr/>
        </p:nvPicPr>
        <p:blipFill>
          <a:blip r:embed="rId2"/>
          <a:srcRect/>
          <a:stretch>
            <a:fillRect/>
          </a:stretch>
        </p:blipFill>
        <p:spPr bwMode="auto">
          <a:xfrm>
            <a:off x="3702050" y="4548188"/>
            <a:ext cx="138113" cy="155575"/>
          </a:xfrm>
          <a:prstGeom prst="rect">
            <a:avLst/>
          </a:prstGeom>
          <a:noFill/>
          <a:ln w="9525">
            <a:solidFill>
              <a:schemeClr val="bg1"/>
            </a:solidFill>
            <a:miter lim="800000"/>
            <a:headEnd/>
            <a:tailEnd/>
          </a:ln>
        </p:spPr>
      </p:pic>
      <p:pic>
        <p:nvPicPr>
          <p:cNvPr id="12383" name="Picture 100"/>
          <p:cNvPicPr>
            <a:picLocks noChangeAspect="1" noChangeArrowheads="1"/>
          </p:cNvPicPr>
          <p:nvPr/>
        </p:nvPicPr>
        <p:blipFill>
          <a:blip r:embed="rId2"/>
          <a:srcRect/>
          <a:stretch>
            <a:fillRect/>
          </a:stretch>
        </p:blipFill>
        <p:spPr bwMode="auto">
          <a:xfrm>
            <a:off x="2500313" y="5151438"/>
            <a:ext cx="136525" cy="155575"/>
          </a:xfrm>
          <a:prstGeom prst="rect">
            <a:avLst/>
          </a:prstGeom>
          <a:noFill/>
          <a:ln w="9525">
            <a:solidFill>
              <a:schemeClr val="bg1"/>
            </a:solidFill>
            <a:miter lim="800000"/>
            <a:headEnd/>
            <a:tailEnd/>
          </a:ln>
        </p:spPr>
      </p:pic>
      <p:pic>
        <p:nvPicPr>
          <p:cNvPr id="12384" name="Picture 101"/>
          <p:cNvPicPr>
            <a:picLocks noChangeAspect="1" noChangeArrowheads="1"/>
          </p:cNvPicPr>
          <p:nvPr/>
        </p:nvPicPr>
        <p:blipFill>
          <a:blip r:embed="rId2"/>
          <a:srcRect/>
          <a:stretch>
            <a:fillRect/>
          </a:stretch>
        </p:blipFill>
        <p:spPr bwMode="auto">
          <a:xfrm>
            <a:off x="4957763" y="2120900"/>
            <a:ext cx="138112" cy="152400"/>
          </a:xfrm>
          <a:prstGeom prst="rect">
            <a:avLst/>
          </a:prstGeom>
          <a:noFill/>
          <a:ln w="9525">
            <a:solidFill>
              <a:schemeClr val="bg1"/>
            </a:solidFill>
            <a:miter lim="800000"/>
            <a:headEnd/>
            <a:tailEnd/>
          </a:ln>
        </p:spPr>
      </p:pic>
      <p:pic>
        <p:nvPicPr>
          <p:cNvPr id="12385" name="Picture 102"/>
          <p:cNvPicPr>
            <a:picLocks noChangeAspect="1" noChangeArrowheads="1"/>
          </p:cNvPicPr>
          <p:nvPr/>
        </p:nvPicPr>
        <p:blipFill>
          <a:blip r:embed="rId2"/>
          <a:srcRect/>
          <a:stretch>
            <a:fillRect/>
          </a:stretch>
        </p:blipFill>
        <p:spPr bwMode="auto">
          <a:xfrm>
            <a:off x="3995738" y="4149725"/>
            <a:ext cx="136525" cy="153988"/>
          </a:xfrm>
          <a:prstGeom prst="rect">
            <a:avLst/>
          </a:prstGeom>
          <a:noFill/>
          <a:ln w="9525">
            <a:solidFill>
              <a:schemeClr val="bg1"/>
            </a:solidFill>
            <a:miter lim="800000"/>
            <a:headEnd/>
            <a:tailEnd/>
          </a:ln>
        </p:spPr>
      </p:pic>
      <p:pic>
        <p:nvPicPr>
          <p:cNvPr id="12386" name="Picture 103"/>
          <p:cNvPicPr>
            <a:picLocks noChangeAspect="1" noChangeArrowheads="1"/>
          </p:cNvPicPr>
          <p:nvPr/>
        </p:nvPicPr>
        <p:blipFill>
          <a:blip r:embed="rId2"/>
          <a:srcRect/>
          <a:stretch>
            <a:fillRect/>
          </a:stretch>
        </p:blipFill>
        <p:spPr bwMode="auto">
          <a:xfrm>
            <a:off x="4383088" y="2400300"/>
            <a:ext cx="136525" cy="155575"/>
          </a:xfrm>
          <a:prstGeom prst="rect">
            <a:avLst/>
          </a:prstGeom>
          <a:noFill/>
          <a:ln w="9525">
            <a:solidFill>
              <a:schemeClr val="bg1"/>
            </a:solidFill>
            <a:miter lim="800000"/>
            <a:headEnd/>
            <a:tailEnd/>
          </a:ln>
        </p:spPr>
      </p:pic>
      <p:sp>
        <p:nvSpPr>
          <p:cNvPr id="12387" name="Rectangle 104"/>
          <p:cNvSpPr>
            <a:spLocks noChangeArrowheads="1"/>
          </p:cNvSpPr>
          <p:nvPr/>
        </p:nvSpPr>
        <p:spPr bwMode="auto">
          <a:xfrm>
            <a:off x="4025900" y="2160588"/>
            <a:ext cx="449263" cy="153987"/>
          </a:xfrm>
          <a:prstGeom prst="rect">
            <a:avLst/>
          </a:prstGeom>
          <a:noFill/>
          <a:ln w="9525">
            <a:noFill/>
            <a:miter lim="800000"/>
            <a:headEnd/>
            <a:tailEnd/>
          </a:ln>
        </p:spPr>
        <p:txBody>
          <a:bodyPr wrap="none" lIns="0" tIns="0" rIns="0" bIns="0">
            <a:spAutoFit/>
          </a:bodyPr>
          <a:lstStyle/>
          <a:p>
            <a:r>
              <a:rPr lang="it-IT" sz="1000">
                <a:solidFill>
                  <a:schemeClr val="bg1"/>
                </a:solidFill>
              </a:rPr>
              <a:t>NEAMT</a:t>
            </a:r>
            <a:endParaRPr lang="it-IT" sz="1800">
              <a:solidFill>
                <a:schemeClr val="bg1"/>
              </a:solidFill>
            </a:endParaRPr>
          </a:p>
        </p:txBody>
      </p:sp>
      <p:pic>
        <p:nvPicPr>
          <p:cNvPr id="12388" name="Picture 105"/>
          <p:cNvPicPr>
            <a:picLocks noChangeAspect="1" noChangeArrowheads="1"/>
          </p:cNvPicPr>
          <p:nvPr/>
        </p:nvPicPr>
        <p:blipFill>
          <a:blip r:embed="rId2"/>
          <a:srcRect/>
          <a:stretch>
            <a:fillRect/>
          </a:stretch>
        </p:blipFill>
        <p:spPr bwMode="auto">
          <a:xfrm>
            <a:off x="2154238" y="2120900"/>
            <a:ext cx="134937" cy="152400"/>
          </a:xfrm>
          <a:prstGeom prst="rect">
            <a:avLst/>
          </a:prstGeom>
          <a:noFill/>
          <a:ln w="9525">
            <a:solidFill>
              <a:schemeClr val="bg1"/>
            </a:solidFill>
            <a:miter lim="800000"/>
            <a:headEnd/>
            <a:tailEnd/>
          </a:ln>
        </p:spPr>
      </p:pic>
      <p:pic>
        <p:nvPicPr>
          <p:cNvPr id="12389" name="Picture 106"/>
          <p:cNvPicPr>
            <a:picLocks noChangeAspect="1" noChangeArrowheads="1"/>
          </p:cNvPicPr>
          <p:nvPr/>
        </p:nvPicPr>
        <p:blipFill>
          <a:blip r:embed="rId2"/>
          <a:srcRect/>
          <a:stretch>
            <a:fillRect/>
          </a:stretch>
        </p:blipFill>
        <p:spPr bwMode="auto">
          <a:xfrm>
            <a:off x="898525" y="3522663"/>
            <a:ext cx="136525" cy="155575"/>
          </a:xfrm>
          <a:prstGeom prst="rect">
            <a:avLst/>
          </a:prstGeom>
          <a:noFill/>
          <a:ln w="9525">
            <a:solidFill>
              <a:schemeClr val="bg1"/>
            </a:solidFill>
            <a:miter lim="800000"/>
            <a:headEnd/>
            <a:tailEnd/>
          </a:ln>
        </p:spPr>
      </p:pic>
      <p:pic>
        <p:nvPicPr>
          <p:cNvPr id="12390" name="Picture 107"/>
          <p:cNvPicPr>
            <a:picLocks noChangeAspect="1" noChangeArrowheads="1"/>
          </p:cNvPicPr>
          <p:nvPr/>
        </p:nvPicPr>
        <p:blipFill>
          <a:blip r:embed="rId2"/>
          <a:srcRect/>
          <a:stretch>
            <a:fillRect/>
          </a:stretch>
        </p:blipFill>
        <p:spPr bwMode="auto">
          <a:xfrm>
            <a:off x="2760663" y="3522663"/>
            <a:ext cx="138112" cy="155575"/>
          </a:xfrm>
          <a:prstGeom prst="rect">
            <a:avLst/>
          </a:prstGeom>
          <a:noFill/>
          <a:ln w="9525">
            <a:solidFill>
              <a:schemeClr val="bg1"/>
            </a:solidFill>
            <a:miter lim="800000"/>
            <a:headEnd/>
            <a:tailEnd/>
          </a:ln>
        </p:spPr>
      </p:pic>
      <p:pic>
        <p:nvPicPr>
          <p:cNvPr id="12391" name="Picture 108"/>
          <p:cNvPicPr>
            <a:picLocks noChangeAspect="1" noChangeArrowheads="1"/>
          </p:cNvPicPr>
          <p:nvPr/>
        </p:nvPicPr>
        <p:blipFill>
          <a:blip r:embed="rId2"/>
          <a:srcRect/>
          <a:stretch>
            <a:fillRect/>
          </a:stretch>
        </p:blipFill>
        <p:spPr bwMode="auto">
          <a:xfrm>
            <a:off x="3127375" y="2849563"/>
            <a:ext cx="138113" cy="153987"/>
          </a:xfrm>
          <a:prstGeom prst="rect">
            <a:avLst/>
          </a:prstGeom>
          <a:noFill/>
          <a:ln w="9525">
            <a:solidFill>
              <a:schemeClr val="bg1"/>
            </a:solidFill>
            <a:miter lim="800000"/>
            <a:headEnd/>
            <a:tailEnd/>
          </a:ln>
        </p:spPr>
      </p:pic>
      <p:pic>
        <p:nvPicPr>
          <p:cNvPr id="12392" name="Picture 109"/>
          <p:cNvPicPr>
            <a:picLocks noChangeAspect="1" noChangeArrowheads="1"/>
          </p:cNvPicPr>
          <p:nvPr/>
        </p:nvPicPr>
        <p:blipFill>
          <a:blip r:embed="rId2"/>
          <a:srcRect/>
          <a:stretch>
            <a:fillRect/>
          </a:stretch>
        </p:blipFill>
        <p:spPr bwMode="auto">
          <a:xfrm>
            <a:off x="4611688" y="1501775"/>
            <a:ext cx="136525" cy="153988"/>
          </a:xfrm>
          <a:prstGeom prst="rect">
            <a:avLst/>
          </a:prstGeom>
          <a:noFill/>
          <a:ln w="9525">
            <a:solidFill>
              <a:schemeClr val="bg1"/>
            </a:solidFill>
            <a:miter lim="800000"/>
            <a:headEnd/>
            <a:tailEnd/>
          </a:ln>
        </p:spPr>
      </p:pic>
      <p:pic>
        <p:nvPicPr>
          <p:cNvPr id="12393" name="Picture 110"/>
          <p:cNvPicPr>
            <a:picLocks noChangeAspect="1" noChangeArrowheads="1"/>
          </p:cNvPicPr>
          <p:nvPr/>
        </p:nvPicPr>
        <p:blipFill>
          <a:blip r:embed="rId2"/>
          <a:srcRect/>
          <a:stretch>
            <a:fillRect/>
          </a:stretch>
        </p:blipFill>
        <p:spPr bwMode="auto">
          <a:xfrm>
            <a:off x="3754438" y="1838325"/>
            <a:ext cx="138112" cy="153988"/>
          </a:xfrm>
          <a:prstGeom prst="rect">
            <a:avLst/>
          </a:prstGeom>
          <a:noFill/>
          <a:ln w="9525">
            <a:solidFill>
              <a:schemeClr val="bg1"/>
            </a:solidFill>
            <a:miter lim="800000"/>
            <a:headEnd/>
            <a:tailEnd/>
          </a:ln>
        </p:spPr>
      </p:pic>
      <p:pic>
        <p:nvPicPr>
          <p:cNvPr id="12394" name="Picture 111"/>
          <p:cNvPicPr>
            <a:picLocks noChangeAspect="1" noChangeArrowheads="1"/>
          </p:cNvPicPr>
          <p:nvPr/>
        </p:nvPicPr>
        <p:blipFill>
          <a:blip r:embed="rId2"/>
          <a:srcRect/>
          <a:stretch>
            <a:fillRect/>
          </a:stretch>
        </p:blipFill>
        <p:spPr bwMode="auto">
          <a:xfrm>
            <a:off x="4591050" y="3990975"/>
            <a:ext cx="138113" cy="153988"/>
          </a:xfrm>
          <a:prstGeom prst="rect">
            <a:avLst/>
          </a:prstGeom>
          <a:noFill/>
          <a:ln w="9525">
            <a:solidFill>
              <a:schemeClr val="bg1"/>
            </a:solidFill>
            <a:miter lim="800000"/>
            <a:headEnd/>
            <a:tailEnd/>
          </a:ln>
        </p:spPr>
      </p:pic>
      <p:pic>
        <p:nvPicPr>
          <p:cNvPr id="12395" name="Picture 112"/>
          <p:cNvPicPr>
            <a:picLocks noChangeAspect="1" noChangeArrowheads="1"/>
          </p:cNvPicPr>
          <p:nvPr/>
        </p:nvPicPr>
        <p:blipFill>
          <a:blip r:embed="rId2"/>
          <a:srcRect/>
          <a:stretch>
            <a:fillRect/>
          </a:stretch>
        </p:blipFill>
        <p:spPr bwMode="auto">
          <a:xfrm>
            <a:off x="5272088" y="2906713"/>
            <a:ext cx="136525" cy="153987"/>
          </a:xfrm>
          <a:prstGeom prst="rect">
            <a:avLst/>
          </a:prstGeom>
          <a:noFill/>
          <a:ln w="9525">
            <a:solidFill>
              <a:schemeClr val="bg1"/>
            </a:solidFill>
            <a:miter lim="800000"/>
            <a:headEnd/>
            <a:tailEnd/>
          </a:ln>
        </p:spPr>
      </p:pic>
      <p:pic>
        <p:nvPicPr>
          <p:cNvPr id="12396" name="Picture 113"/>
          <p:cNvPicPr>
            <a:picLocks noChangeAspect="1" noChangeArrowheads="1"/>
          </p:cNvPicPr>
          <p:nvPr/>
        </p:nvPicPr>
        <p:blipFill>
          <a:blip r:embed="rId2"/>
          <a:srcRect/>
          <a:stretch>
            <a:fillRect/>
          </a:stretch>
        </p:blipFill>
        <p:spPr bwMode="auto">
          <a:xfrm>
            <a:off x="5218113" y="3522663"/>
            <a:ext cx="138112" cy="155575"/>
          </a:xfrm>
          <a:prstGeom prst="rect">
            <a:avLst/>
          </a:prstGeom>
          <a:noFill/>
          <a:ln w="9525">
            <a:solidFill>
              <a:schemeClr val="bg1"/>
            </a:solidFill>
            <a:miter lim="800000"/>
            <a:headEnd/>
            <a:tailEnd/>
          </a:ln>
        </p:spPr>
      </p:pic>
      <p:pic>
        <p:nvPicPr>
          <p:cNvPr id="12397" name="Picture 114"/>
          <p:cNvPicPr>
            <a:picLocks noChangeAspect="1" noChangeArrowheads="1"/>
          </p:cNvPicPr>
          <p:nvPr/>
        </p:nvPicPr>
        <p:blipFill>
          <a:blip r:embed="rId2"/>
          <a:srcRect/>
          <a:stretch>
            <a:fillRect/>
          </a:stretch>
        </p:blipFill>
        <p:spPr bwMode="auto">
          <a:xfrm>
            <a:off x="4611688" y="2919413"/>
            <a:ext cx="136525" cy="155575"/>
          </a:xfrm>
          <a:prstGeom prst="rect">
            <a:avLst/>
          </a:prstGeom>
          <a:noFill/>
          <a:ln w="9525">
            <a:solidFill>
              <a:schemeClr val="bg1"/>
            </a:solidFill>
            <a:miter lim="800000"/>
            <a:headEnd/>
            <a:tailEnd/>
          </a:ln>
        </p:spPr>
      </p:pic>
      <p:pic>
        <p:nvPicPr>
          <p:cNvPr id="12398" name="Picture 115"/>
          <p:cNvPicPr>
            <a:picLocks noChangeAspect="1" noChangeArrowheads="1"/>
          </p:cNvPicPr>
          <p:nvPr/>
        </p:nvPicPr>
        <p:blipFill>
          <a:blip r:embed="rId2"/>
          <a:srcRect/>
          <a:stretch>
            <a:fillRect/>
          </a:stretch>
        </p:blipFill>
        <p:spPr bwMode="auto">
          <a:xfrm>
            <a:off x="3074988" y="2120900"/>
            <a:ext cx="136525" cy="152400"/>
          </a:xfrm>
          <a:prstGeom prst="rect">
            <a:avLst/>
          </a:prstGeom>
          <a:noFill/>
          <a:ln w="9525">
            <a:solidFill>
              <a:schemeClr val="bg1"/>
            </a:solidFill>
            <a:miter lim="800000"/>
            <a:headEnd/>
            <a:tailEnd/>
          </a:ln>
        </p:spPr>
      </p:pic>
      <p:pic>
        <p:nvPicPr>
          <p:cNvPr id="12399" name="Picture 116"/>
          <p:cNvPicPr>
            <a:picLocks noChangeAspect="1" noChangeArrowheads="1"/>
          </p:cNvPicPr>
          <p:nvPr/>
        </p:nvPicPr>
        <p:blipFill>
          <a:blip r:embed="rId2"/>
          <a:srcRect/>
          <a:stretch>
            <a:fillRect/>
          </a:stretch>
        </p:blipFill>
        <p:spPr bwMode="auto">
          <a:xfrm>
            <a:off x="2655888" y="1670050"/>
            <a:ext cx="138112" cy="153988"/>
          </a:xfrm>
          <a:prstGeom prst="rect">
            <a:avLst/>
          </a:prstGeom>
          <a:noFill/>
          <a:ln w="9525">
            <a:solidFill>
              <a:schemeClr val="bg1"/>
            </a:solidFill>
            <a:miter lim="800000"/>
            <a:headEnd/>
            <a:tailEnd/>
          </a:ln>
        </p:spPr>
      </p:pic>
      <p:pic>
        <p:nvPicPr>
          <p:cNvPr id="12400" name="Picture 118"/>
          <p:cNvPicPr>
            <a:picLocks noChangeAspect="1" noChangeArrowheads="1"/>
          </p:cNvPicPr>
          <p:nvPr/>
        </p:nvPicPr>
        <p:blipFill>
          <a:blip r:embed="rId2"/>
          <a:srcRect/>
          <a:stretch>
            <a:fillRect/>
          </a:stretch>
        </p:blipFill>
        <p:spPr bwMode="auto">
          <a:xfrm>
            <a:off x="2466975" y="2513013"/>
            <a:ext cx="136525" cy="153987"/>
          </a:xfrm>
          <a:prstGeom prst="rect">
            <a:avLst/>
          </a:prstGeom>
          <a:noFill/>
          <a:ln w="9525">
            <a:solidFill>
              <a:schemeClr val="bg1"/>
            </a:solidFill>
            <a:miter lim="800000"/>
            <a:headEnd/>
            <a:tailEnd/>
          </a:ln>
        </p:spPr>
      </p:pic>
      <p:pic>
        <p:nvPicPr>
          <p:cNvPr id="12401" name="Picture 119"/>
          <p:cNvPicPr>
            <a:picLocks noChangeAspect="1" noChangeArrowheads="1"/>
          </p:cNvPicPr>
          <p:nvPr/>
        </p:nvPicPr>
        <p:blipFill>
          <a:blip r:embed="rId2"/>
          <a:srcRect/>
          <a:stretch>
            <a:fillRect/>
          </a:stretch>
        </p:blipFill>
        <p:spPr bwMode="auto">
          <a:xfrm>
            <a:off x="1630363" y="2414588"/>
            <a:ext cx="136525" cy="153987"/>
          </a:xfrm>
          <a:prstGeom prst="rect">
            <a:avLst/>
          </a:prstGeom>
          <a:noFill/>
          <a:ln w="9525">
            <a:solidFill>
              <a:schemeClr val="bg1"/>
            </a:solidFill>
            <a:miter lim="800000"/>
            <a:headEnd/>
            <a:tailEnd/>
          </a:ln>
        </p:spPr>
      </p:pic>
      <p:pic>
        <p:nvPicPr>
          <p:cNvPr id="12402" name="Picture 120"/>
          <p:cNvPicPr>
            <a:picLocks noChangeAspect="1" noChangeArrowheads="1"/>
          </p:cNvPicPr>
          <p:nvPr/>
        </p:nvPicPr>
        <p:blipFill>
          <a:blip r:embed="rId2"/>
          <a:srcRect/>
          <a:stretch>
            <a:fillRect/>
          </a:stretch>
        </p:blipFill>
        <p:spPr bwMode="auto">
          <a:xfrm>
            <a:off x="1349375" y="2960688"/>
            <a:ext cx="136525" cy="155575"/>
          </a:xfrm>
          <a:prstGeom prst="rect">
            <a:avLst/>
          </a:prstGeom>
          <a:noFill/>
          <a:ln w="9525">
            <a:solidFill>
              <a:schemeClr val="bg1"/>
            </a:solidFill>
            <a:miter lim="800000"/>
            <a:headEnd/>
            <a:tailEnd/>
          </a:ln>
        </p:spPr>
      </p:pic>
      <p:pic>
        <p:nvPicPr>
          <p:cNvPr id="12403" name="Picture 121"/>
          <p:cNvPicPr>
            <a:picLocks noChangeAspect="1" noChangeArrowheads="1"/>
          </p:cNvPicPr>
          <p:nvPr/>
        </p:nvPicPr>
        <p:blipFill>
          <a:blip r:embed="rId2"/>
          <a:srcRect/>
          <a:stretch>
            <a:fillRect/>
          </a:stretch>
        </p:blipFill>
        <p:spPr bwMode="auto">
          <a:xfrm>
            <a:off x="2414588" y="3200400"/>
            <a:ext cx="138112" cy="153988"/>
          </a:xfrm>
          <a:prstGeom prst="rect">
            <a:avLst/>
          </a:prstGeom>
          <a:noFill/>
          <a:ln w="9525">
            <a:solidFill>
              <a:schemeClr val="bg1"/>
            </a:solidFill>
            <a:miter lim="800000"/>
            <a:headEnd/>
            <a:tailEnd/>
          </a:ln>
        </p:spPr>
      </p:pic>
      <p:pic>
        <p:nvPicPr>
          <p:cNvPr id="12404" name="Picture 122"/>
          <p:cNvPicPr>
            <a:picLocks noChangeAspect="1" noChangeArrowheads="1"/>
          </p:cNvPicPr>
          <p:nvPr/>
        </p:nvPicPr>
        <p:blipFill>
          <a:blip r:embed="rId2"/>
          <a:srcRect/>
          <a:stretch>
            <a:fillRect/>
          </a:stretch>
        </p:blipFill>
        <p:spPr bwMode="auto">
          <a:xfrm>
            <a:off x="2028825" y="3762375"/>
            <a:ext cx="138113" cy="153988"/>
          </a:xfrm>
          <a:prstGeom prst="rect">
            <a:avLst/>
          </a:prstGeom>
          <a:noFill/>
          <a:ln w="9525">
            <a:solidFill>
              <a:schemeClr val="bg1"/>
            </a:solidFill>
            <a:miter lim="800000"/>
            <a:headEnd/>
            <a:tailEnd/>
          </a:ln>
        </p:spPr>
      </p:pic>
      <p:pic>
        <p:nvPicPr>
          <p:cNvPr id="12405" name="Picture 123"/>
          <p:cNvPicPr>
            <a:picLocks noChangeAspect="1" noChangeArrowheads="1"/>
          </p:cNvPicPr>
          <p:nvPr/>
        </p:nvPicPr>
        <p:blipFill>
          <a:blip r:embed="rId2"/>
          <a:srcRect/>
          <a:stretch>
            <a:fillRect/>
          </a:stretch>
        </p:blipFill>
        <p:spPr bwMode="auto">
          <a:xfrm>
            <a:off x="1296988" y="4197350"/>
            <a:ext cx="138112" cy="155575"/>
          </a:xfrm>
          <a:prstGeom prst="rect">
            <a:avLst/>
          </a:prstGeom>
          <a:noFill/>
          <a:ln w="9525">
            <a:solidFill>
              <a:schemeClr val="bg1"/>
            </a:solidFill>
            <a:miter lim="800000"/>
            <a:headEnd/>
            <a:tailEnd/>
          </a:ln>
        </p:spPr>
      </p:pic>
      <p:pic>
        <p:nvPicPr>
          <p:cNvPr id="12406" name="Picture 124"/>
          <p:cNvPicPr>
            <a:picLocks noChangeAspect="1" noChangeArrowheads="1"/>
          </p:cNvPicPr>
          <p:nvPr/>
        </p:nvPicPr>
        <p:blipFill>
          <a:blip r:embed="rId2"/>
          <a:srcRect/>
          <a:stretch>
            <a:fillRect/>
          </a:stretch>
        </p:blipFill>
        <p:spPr bwMode="auto">
          <a:xfrm>
            <a:off x="1997075" y="4884738"/>
            <a:ext cx="136525" cy="155575"/>
          </a:xfrm>
          <a:prstGeom prst="rect">
            <a:avLst/>
          </a:prstGeom>
          <a:noFill/>
          <a:ln w="9525">
            <a:solidFill>
              <a:schemeClr val="bg1"/>
            </a:solidFill>
            <a:miter lim="800000"/>
            <a:headEnd/>
            <a:tailEnd/>
          </a:ln>
        </p:spPr>
      </p:pic>
      <p:pic>
        <p:nvPicPr>
          <p:cNvPr id="12407" name="Picture 125"/>
          <p:cNvPicPr>
            <a:picLocks noChangeAspect="1" noChangeArrowheads="1"/>
          </p:cNvPicPr>
          <p:nvPr/>
        </p:nvPicPr>
        <p:blipFill>
          <a:blip r:embed="rId2"/>
          <a:srcRect/>
          <a:stretch>
            <a:fillRect/>
          </a:stretch>
        </p:blipFill>
        <p:spPr bwMode="auto">
          <a:xfrm>
            <a:off x="3284538" y="4140200"/>
            <a:ext cx="136525" cy="155575"/>
          </a:xfrm>
          <a:prstGeom prst="rect">
            <a:avLst/>
          </a:prstGeom>
          <a:noFill/>
          <a:ln w="9525">
            <a:solidFill>
              <a:schemeClr val="bg1"/>
            </a:solidFill>
            <a:miter lim="800000"/>
            <a:headEnd/>
            <a:tailEnd/>
          </a:ln>
        </p:spPr>
      </p:pic>
      <p:pic>
        <p:nvPicPr>
          <p:cNvPr id="12408" name="Picture 126"/>
          <p:cNvPicPr>
            <a:picLocks noChangeAspect="1" noChangeArrowheads="1"/>
          </p:cNvPicPr>
          <p:nvPr/>
        </p:nvPicPr>
        <p:blipFill>
          <a:blip r:embed="rId2"/>
          <a:srcRect/>
          <a:stretch>
            <a:fillRect/>
          </a:stretch>
        </p:blipFill>
        <p:spPr bwMode="auto">
          <a:xfrm>
            <a:off x="3651250" y="3635375"/>
            <a:ext cx="136525" cy="153988"/>
          </a:xfrm>
          <a:prstGeom prst="rect">
            <a:avLst/>
          </a:prstGeom>
          <a:noFill/>
          <a:ln w="9525">
            <a:solidFill>
              <a:schemeClr val="bg1"/>
            </a:solidFill>
            <a:miter lim="800000"/>
            <a:headEnd/>
            <a:tailEnd/>
          </a:ln>
        </p:spPr>
      </p:pic>
      <p:pic>
        <p:nvPicPr>
          <p:cNvPr id="12409" name="Picture 127"/>
          <p:cNvPicPr>
            <a:picLocks noChangeAspect="1" noChangeArrowheads="1"/>
          </p:cNvPicPr>
          <p:nvPr/>
        </p:nvPicPr>
        <p:blipFill>
          <a:blip r:embed="rId2"/>
          <a:srcRect/>
          <a:stretch>
            <a:fillRect/>
          </a:stretch>
        </p:blipFill>
        <p:spPr bwMode="auto">
          <a:xfrm>
            <a:off x="4192588" y="4814888"/>
            <a:ext cx="136525" cy="153987"/>
          </a:xfrm>
          <a:prstGeom prst="rect">
            <a:avLst/>
          </a:prstGeom>
          <a:noFill/>
          <a:ln w="9525">
            <a:solidFill>
              <a:schemeClr val="bg1"/>
            </a:solidFill>
            <a:miter lim="800000"/>
            <a:headEnd/>
            <a:tailEnd/>
          </a:ln>
        </p:spPr>
      </p:pic>
      <p:sp>
        <p:nvSpPr>
          <p:cNvPr id="12410" name="Rectangle 128"/>
          <p:cNvSpPr>
            <a:spLocks noChangeArrowheads="1"/>
          </p:cNvSpPr>
          <p:nvPr/>
        </p:nvSpPr>
        <p:spPr bwMode="auto">
          <a:xfrm>
            <a:off x="2152650" y="4229100"/>
            <a:ext cx="290513" cy="133350"/>
          </a:xfrm>
          <a:prstGeom prst="rect">
            <a:avLst/>
          </a:prstGeom>
          <a:noFill/>
          <a:ln w="9525">
            <a:noFill/>
            <a:miter lim="800000"/>
            <a:headEnd/>
            <a:tailEnd/>
          </a:ln>
        </p:spPr>
        <p:txBody>
          <a:bodyPr wrap="none" lIns="0" tIns="0" rIns="0" bIns="0">
            <a:spAutoFit/>
          </a:bodyPr>
          <a:lstStyle/>
          <a:p>
            <a:r>
              <a:rPr lang="it-IT" sz="1000">
                <a:solidFill>
                  <a:srgbClr val="FFFFFF"/>
                </a:solidFill>
              </a:rPr>
              <a:t>GORJ</a:t>
            </a:r>
            <a:endParaRPr lang="it-IT" sz="1800"/>
          </a:p>
        </p:txBody>
      </p:sp>
      <p:pic>
        <p:nvPicPr>
          <p:cNvPr id="12411" name="Picture 129"/>
          <p:cNvPicPr>
            <a:picLocks noChangeAspect="1" noChangeArrowheads="1"/>
          </p:cNvPicPr>
          <p:nvPr/>
        </p:nvPicPr>
        <p:blipFill>
          <a:blip r:embed="rId2"/>
          <a:srcRect/>
          <a:stretch>
            <a:fillRect/>
          </a:stretch>
        </p:blipFill>
        <p:spPr bwMode="auto">
          <a:xfrm>
            <a:off x="2205038" y="4379913"/>
            <a:ext cx="138112" cy="153987"/>
          </a:xfrm>
          <a:prstGeom prst="rect">
            <a:avLst/>
          </a:prstGeom>
          <a:noFill/>
          <a:ln w="9525">
            <a:solidFill>
              <a:schemeClr val="bg1"/>
            </a:solidFill>
            <a:miter lim="800000"/>
            <a:headEnd/>
            <a:tailEnd/>
          </a:ln>
        </p:spPr>
      </p:pic>
      <p:sp>
        <p:nvSpPr>
          <p:cNvPr id="12412" name="Rectangle 130"/>
          <p:cNvSpPr>
            <a:spLocks noChangeArrowheads="1"/>
          </p:cNvSpPr>
          <p:nvPr/>
        </p:nvSpPr>
        <p:spPr bwMode="auto">
          <a:xfrm>
            <a:off x="3868738" y="3282950"/>
            <a:ext cx="625475" cy="153988"/>
          </a:xfrm>
          <a:prstGeom prst="rect">
            <a:avLst/>
          </a:prstGeom>
          <a:noFill/>
          <a:ln w="9525">
            <a:noFill/>
            <a:miter lim="800000"/>
            <a:headEnd/>
            <a:tailEnd/>
          </a:ln>
        </p:spPr>
        <p:txBody>
          <a:bodyPr wrap="none" lIns="0" tIns="0" rIns="0" bIns="0">
            <a:spAutoFit/>
          </a:bodyPr>
          <a:lstStyle/>
          <a:p>
            <a:r>
              <a:rPr lang="it-IT" sz="1000">
                <a:solidFill>
                  <a:schemeClr val="bg1"/>
                </a:solidFill>
              </a:rPr>
              <a:t>COVASNA</a:t>
            </a:r>
            <a:endParaRPr lang="it-IT" sz="1800">
              <a:solidFill>
                <a:schemeClr val="bg1"/>
              </a:solidFill>
            </a:endParaRPr>
          </a:p>
        </p:txBody>
      </p:sp>
      <p:sp>
        <p:nvSpPr>
          <p:cNvPr id="12413" name="Rectangle 131"/>
          <p:cNvSpPr>
            <a:spLocks noChangeArrowheads="1"/>
          </p:cNvSpPr>
          <p:nvPr/>
        </p:nvSpPr>
        <p:spPr bwMode="auto">
          <a:xfrm>
            <a:off x="2638425" y="3865563"/>
            <a:ext cx="423863" cy="133350"/>
          </a:xfrm>
          <a:prstGeom prst="rect">
            <a:avLst/>
          </a:prstGeom>
          <a:noFill/>
          <a:ln w="9525">
            <a:noFill/>
            <a:miter lim="800000"/>
            <a:headEnd/>
            <a:tailEnd/>
          </a:ln>
        </p:spPr>
        <p:txBody>
          <a:bodyPr wrap="none" lIns="0" tIns="0" rIns="0" bIns="0">
            <a:spAutoFit/>
          </a:bodyPr>
          <a:lstStyle/>
          <a:p>
            <a:r>
              <a:rPr lang="it-IT" sz="1000">
                <a:solidFill>
                  <a:srgbClr val="FFFFFF"/>
                </a:solidFill>
              </a:rPr>
              <a:t>VALCEA</a:t>
            </a:r>
            <a:endParaRPr lang="it-IT" sz="1800"/>
          </a:p>
        </p:txBody>
      </p:sp>
      <p:pic>
        <p:nvPicPr>
          <p:cNvPr id="12414" name="Picture 132"/>
          <p:cNvPicPr>
            <a:picLocks noChangeAspect="1" noChangeArrowheads="1"/>
          </p:cNvPicPr>
          <p:nvPr/>
        </p:nvPicPr>
        <p:blipFill>
          <a:blip r:embed="rId2"/>
          <a:srcRect/>
          <a:stretch>
            <a:fillRect/>
          </a:stretch>
        </p:blipFill>
        <p:spPr bwMode="auto">
          <a:xfrm>
            <a:off x="2832100" y="4086225"/>
            <a:ext cx="138113" cy="152400"/>
          </a:xfrm>
          <a:prstGeom prst="rect">
            <a:avLst/>
          </a:prstGeom>
          <a:noFill/>
          <a:ln w="9525">
            <a:solidFill>
              <a:schemeClr val="bg1"/>
            </a:solidFill>
            <a:miter lim="800000"/>
            <a:headEnd/>
            <a:tailEnd/>
          </a:ln>
        </p:spPr>
      </p:pic>
      <p:sp>
        <p:nvSpPr>
          <p:cNvPr id="12415" name="Rectangle 133"/>
          <p:cNvSpPr>
            <a:spLocks noChangeArrowheads="1"/>
          </p:cNvSpPr>
          <p:nvPr/>
        </p:nvSpPr>
        <p:spPr bwMode="auto">
          <a:xfrm>
            <a:off x="2981325" y="4875213"/>
            <a:ext cx="254000" cy="161925"/>
          </a:xfrm>
          <a:prstGeom prst="rect">
            <a:avLst/>
          </a:prstGeom>
          <a:solidFill>
            <a:srgbClr val="005027"/>
          </a:solidFill>
          <a:ln w="9525">
            <a:noFill/>
            <a:miter lim="800000"/>
            <a:headEnd/>
            <a:tailEnd/>
          </a:ln>
        </p:spPr>
        <p:txBody>
          <a:bodyPr wrap="none" lIns="0" tIns="0" rIns="0" bIns="0">
            <a:spAutoFit/>
          </a:bodyPr>
          <a:lstStyle/>
          <a:p>
            <a:r>
              <a:rPr lang="it-IT" sz="1000">
                <a:solidFill>
                  <a:schemeClr val="bg1"/>
                </a:solidFill>
              </a:rPr>
              <a:t>OLT</a:t>
            </a:r>
            <a:endParaRPr lang="it-IT" sz="1800">
              <a:solidFill>
                <a:schemeClr val="bg1"/>
              </a:solidFill>
            </a:endParaRPr>
          </a:p>
        </p:txBody>
      </p:sp>
      <p:sp>
        <p:nvSpPr>
          <p:cNvPr id="12416" name="Rectangle 134"/>
          <p:cNvSpPr>
            <a:spLocks noChangeArrowheads="1"/>
          </p:cNvSpPr>
          <p:nvPr/>
        </p:nvSpPr>
        <p:spPr bwMode="auto">
          <a:xfrm>
            <a:off x="3241675" y="5249863"/>
            <a:ext cx="815975" cy="161925"/>
          </a:xfrm>
          <a:prstGeom prst="rect">
            <a:avLst/>
          </a:prstGeom>
          <a:solidFill>
            <a:srgbClr val="005027"/>
          </a:solidFill>
          <a:ln w="9525">
            <a:noFill/>
            <a:miter lim="800000"/>
            <a:headEnd/>
            <a:tailEnd/>
          </a:ln>
        </p:spPr>
        <p:txBody>
          <a:bodyPr wrap="none" lIns="0" tIns="0" rIns="0" bIns="0">
            <a:spAutoFit/>
          </a:bodyPr>
          <a:lstStyle/>
          <a:p>
            <a:r>
              <a:rPr lang="it-IT" sz="1000">
                <a:solidFill>
                  <a:schemeClr val="bg1"/>
                </a:solidFill>
              </a:rPr>
              <a:t>TELEORMAN</a:t>
            </a:r>
            <a:endParaRPr lang="it-IT" sz="1800">
              <a:solidFill>
                <a:schemeClr val="bg1"/>
              </a:solidFill>
            </a:endParaRPr>
          </a:p>
        </p:txBody>
      </p:sp>
      <p:sp>
        <p:nvSpPr>
          <p:cNvPr id="12417" name="Rectangle 135"/>
          <p:cNvSpPr>
            <a:spLocks noChangeArrowheads="1"/>
          </p:cNvSpPr>
          <p:nvPr/>
        </p:nvSpPr>
        <p:spPr bwMode="auto">
          <a:xfrm>
            <a:off x="3937000" y="5137150"/>
            <a:ext cx="560388" cy="160338"/>
          </a:xfrm>
          <a:prstGeom prst="rect">
            <a:avLst/>
          </a:prstGeom>
          <a:solidFill>
            <a:srgbClr val="005027"/>
          </a:solidFill>
          <a:ln w="9525">
            <a:noFill/>
            <a:miter lim="800000"/>
            <a:headEnd/>
            <a:tailEnd/>
          </a:ln>
        </p:spPr>
        <p:txBody>
          <a:bodyPr wrap="none" lIns="0" tIns="0" rIns="0" bIns="0">
            <a:spAutoFit/>
          </a:bodyPr>
          <a:lstStyle/>
          <a:p>
            <a:r>
              <a:rPr lang="it-IT" sz="1000">
                <a:solidFill>
                  <a:schemeClr val="bg1"/>
                </a:solidFill>
              </a:rPr>
              <a:t>GIURGIU</a:t>
            </a:r>
            <a:endParaRPr lang="it-IT" sz="1800">
              <a:solidFill>
                <a:schemeClr val="bg1"/>
              </a:solidFill>
            </a:endParaRPr>
          </a:p>
        </p:txBody>
      </p:sp>
      <p:sp>
        <p:nvSpPr>
          <p:cNvPr id="12418" name="Rectangle 136"/>
          <p:cNvSpPr>
            <a:spLocks noChangeArrowheads="1"/>
          </p:cNvSpPr>
          <p:nvPr/>
        </p:nvSpPr>
        <p:spPr bwMode="auto">
          <a:xfrm>
            <a:off x="4746625" y="4913313"/>
            <a:ext cx="646113" cy="160337"/>
          </a:xfrm>
          <a:prstGeom prst="rect">
            <a:avLst/>
          </a:prstGeom>
          <a:solidFill>
            <a:srgbClr val="005027"/>
          </a:solidFill>
          <a:ln w="9525">
            <a:noFill/>
            <a:miter lim="800000"/>
            <a:headEnd/>
            <a:tailEnd/>
          </a:ln>
        </p:spPr>
        <p:txBody>
          <a:bodyPr wrap="none" lIns="0" tIns="0" rIns="0" bIns="0">
            <a:spAutoFit/>
          </a:bodyPr>
          <a:lstStyle/>
          <a:p>
            <a:r>
              <a:rPr lang="it-IT" sz="1000">
                <a:solidFill>
                  <a:schemeClr val="bg1"/>
                </a:solidFill>
              </a:rPr>
              <a:t>CALARASI</a:t>
            </a:r>
            <a:endParaRPr lang="it-IT" sz="1800">
              <a:solidFill>
                <a:schemeClr val="bg1"/>
              </a:solidFill>
            </a:endParaRPr>
          </a:p>
        </p:txBody>
      </p:sp>
      <p:sp>
        <p:nvSpPr>
          <p:cNvPr id="12419" name="Rectangle 137"/>
          <p:cNvSpPr>
            <a:spLocks noChangeArrowheads="1"/>
          </p:cNvSpPr>
          <p:nvPr/>
        </p:nvSpPr>
        <p:spPr bwMode="auto">
          <a:xfrm>
            <a:off x="4864100" y="4575175"/>
            <a:ext cx="609600" cy="161925"/>
          </a:xfrm>
          <a:prstGeom prst="rect">
            <a:avLst/>
          </a:prstGeom>
          <a:solidFill>
            <a:srgbClr val="005027"/>
          </a:solidFill>
          <a:ln w="9525">
            <a:noFill/>
            <a:miter lim="800000"/>
            <a:headEnd/>
            <a:tailEnd/>
          </a:ln>
        </p:spPr>
        <p:txBody>
          <a:bodyPr wrap="none" lIns="0" tIns="0" rIns="0" bIns="0">
            <a:spAutoFit/>
          </a:bodyPr>
          <a:lstStyle/>
          <a:p>
            <a:r>
              <a:rPr lang="it-IT" sz="1000">
                <a:solidFill>
                  <a:schemeClr val="bg1"/>
                </a:solidFill>
              </a:rPr>
              <a:t>IALOMITA</a:t>
            </a:r>
            <a:endParaRPr lang="it-IT" sz="1800">
              <a:solidFill>
                <a:schemeClr val="bg1"/>
              </a:solidFill>
            </a:endParaRPr>
          </a:p>
        </p:txBody>
      </p:sp>
      <p:sp>
        <p:nvSpPr>
          <p:cNvPr id="12420" name="Rectangle 138"/>
          <p:cNvSpPr>
            <a:spLocks noChangeArrowheads="1"/>
          </p:cNvSpPr>
          <p:nvPr/>
        </p:nvSpPr>
        <p:spPr bwMode="auto">
          <a:xfrm>
            <a:off x="5021263" y="4090988"/>
            <a:ext cx="452437" cy="153987"/>
          </a:xfrm>
          <a:prstGeom prst="rect">
            <a:avLst/>
          </a:prstGeom>
          <a:solidFill>
            <a:srgbClr val="005027"/>
          </a:solidFill>
          <a:ln w="9525">
            <a:noFill/>
            <a:miter lim="800000"/>
            <a:headEnd/>
            <a:tailEnd/>
          </a:ln>
        </p:spPr>
        <p:txBody>
          <a:bodyPr wrap="none" lIns="0" tIns="0" rIns="0" bIns="0">
            <a:spAutoFit/>
          </a:bodyPr>
          <a:lstStyle/>
          <a:p>
            <a:r>
              <a:rPr lang="it-IT" sz="1000">
                <a:solidFill>
                  <a:schemeClr val="bg1"/>
                </a:solidFill>
              </a:rPr>
              <a:t>BRAILA</a:t>
            </a:r>
            <a:endParaRPr lang="it-IT" sz="1800">
              <a:solidFill>
                <a:schemeClr val="bg1"/>
              </a:solidFill>
            </a:endParaRPr>
          </a:p>
        </p:txBody>
      </p:sp>
      <p:sp>
        <p:nvSpPr>
          <p:cNvPr id="12421" name="Rectangle 139"/>
          <p:cNvSpPr>
            <a:spLocks noChangeArrowheads="1"/>
          </p:cNvSpPr>
          <p:nvPr/>
        </p:nvSpPr>
        <p:spPr bwMode="auto">
          <a:xfrm>
            <a:off x="5648325" y="4068763"/>
            <a:ext cx="504825" cy="153987"/>
          </a:xfrm>
          <a:prstGeom prst="rect">
            <a:avLst/>
          </a:prstGeom>
          <a:noFill/>
          <a:ln w="9525">
            <a:noFill/>
            <a:miter lim="800000"/>
            <a:headEnd/>
            <a:tailEnd/>
          </a:ln>
        </p:spPr>
        <p:txBody>
          <a:bodyPr wrap="none" lIns="0" tIns="0" rIns="0" bIns="0">
            <a:spAutoFit/>
          </a:bodyPr>
          <a:lstStyle/>
          <a:p>
            <a:r>
              <a:rPr lang="it-IT" sz="1000">
                <a:solidFill>
                  <a:schemeClr val="bg1"/>
                </a:solidFill>
              </a:rPr>
              <a:t>TULCEA</a:t>
            </a:r>
            <a:endParaRPr lang="it-IT" sz="1800">
              <a:solidFill>
                <a:schemeClr val="bg1"/>
              </a:solidFill>
            </a:endParaRPr>
          </a:p>
        </p:txBody>
      </p:sp>
      <p:sp>
        <p:nvSpPr>
          <p:cNvPr id="12422" name="Rectangle 140"/>
          <p:cNvSpPr>
            <a:spLocks noChangeArrowheads="1"/>
          </p:cNvSpPr>
          <p:nvPr/>
        </p:nvSpPr>
        <p:spPr bwMode="auto">
          <a:xfrm>
            <a:off x="4445000" y="3303588"/>
            <a:ext cx="619125" cy="153987"/>
          </a:xfrm>
          <a:prstGeom prst="rect">
            <a:avLst/>
          </a:prstGeom>
          <a:noFill/>
          <a:ln w="9525">
            <a:noFill/>
            <a:miter lim="800000"/>
            <a:headEnd/>
            <a:tailEnd/>
          </a:ln>
        </p:spPr>
        <p:txBody>
          <a:bodyPr wrap="none" lIns="0" tIns="0" rIns="0" bIns="0">
            <a:spAutoFit/>
          </a:bodyPr>
          <a:lstStyle/>
          <a:p>
            <a:r>
              <a:rPr lang="it-IT" sz="1000">
                <a:solidFill>
                  <a:schemeClr val="bg1"/>
                </a:solidFill>
              </a:rPr>
              <a:t>VRANCEA</a:t>
            </a:r>
            <a:endParaRPr lang="it-IT" sz="1800">
              <a:solidFill>
                <a:schemeClr val="bg1"/>
              </a:solidFill>
            </a:endParaRPr>
          </a:p>
        </p:txBody>
      </p:sp>
      <p:sp>
        <p:nvSpPr>
          <p:cNvPr id="12423" name="Rectangle 141"/>
          <p:cNvSpPr>
            <a:spLocks noChangeArrowheads="1"/>
          </p:cNvSpPr>
          <p:nvPr/>
        </p:nvSpPr>
        <p:spPr bwMode="auto">
          <a:xfrm>
            <a:off x="3608388" y="2686050"/>
            <a:ext cx="661987" cy="153988"/>
          </a:xfrm>
          <a:prstGeom prst="rect">
            <a:avLst/>
          </a:prstGeom>
          <a:noFill/>
          <a:ln w="9525">
            <a:noFill/>
            <a:miter lim="800000"/>
            <a:headEnd/>
            <a:tailEnd/>
          </a:ln>
        </p:spPr>
        <p:txBody>
          <a:bodyPr wrap="none" lIns="0" tIns="0" rIns="0" bIns="0">
            <a:spAutoFit/>
          </a:bodyPr>
          <a:lstStyle/>
          <a:p>
            <a:r>
              <a:rPr lang="it-IT" sz="1000">
                <a:solidFill>
                  <a:schemeClr val="bg1"/>
                </a:solidFill>
              </a:rPr>
              <a:t>HARGHITA</a:t>
            </a:r>
            <a:endParaRPr lang="it-IT" sz="1800">
              <a:solidFill>
                <a:schemeClr val="bg1"/>
              </a:solidFill>
            </a:endParaRPr>
          </a:p>
        </p:txBody>
      </p:sp>
      <p:pic>
        <p:nvPicPr>
          <p:cNvPr id="12424" name="Picture 142"/>
          <p:cNvPicPr>
            <a:picLocks noChangeAspect="1" noChangeArrowheads="1"/>
          </p:cNvPicPr>
          <p:nvPr/>
        </p:nvPicPr>
        <p:blipFill>
          <a:blip r:embed="rId2"/>
          <a:srcRect/>
          <a:stretch>
            <a:fillRect/>
          </a:stretch>
        </p:blipFill>
        <p:spPr bwMode="auto">
          <a:xfrm>
            <a:off x="5167313" y="4254500"/>
            <a:ext cx="136525" cy="152400"/>
          </a:xfrm>
          <a:prstGeom prst="rect">
            <a:avLst/>
          </a:prstGeom>
          <a:noFill/>
          <a:ln w="9525">
            <a:solidFill>
              <a:schemeClr val="bg1"/>
            </a:solidFill>
            <a:miter lim="800000"/>
            <a:headEnd/>
            <a:tailEnd/>
          </a:ln>
        </p:spPr>
      </p:pic>
      <p:pic>
        <p:nvPicPr>
          <p:cNvPr id="12425" name="Picture 116"/>
          <p:cNvPicPr>
            <a:picLocks noChangeAspect="1" noChangeArrowheads="1"/>
          </p:cNvPicPr>
          <p:nvPr/>
        </p:nvPicPr>
        <p:blipFill>
          <a:blip r:embed="rId2"/>
          <a:srcRect/>
          <a:stretch>
            <a:fillRect/>
          </a:stretch>
        </p:blipFill>
        <p:spPr bwMode="auto">
          <a:xfrm>
            <a:off x="2032000" y="1684338"/>
            <a:ext cx="138113" cy="155575"/>
          </a:xfrm>
          <a:prstGeom prst="rect">
            <a:avLst/>
          </a:prstGeom>
          <a:noFill/>
          <a:ln w="9525">
            <a:solidFill>
              <a:schemeClr val="bg1"/>
            </a:solidFill>
            <a:miter lim="800000"/>
            <a:headEnd/>
            <a:tailEnd/>
          </a:ln>
        </p:spPr>
      </p:pic>
      <p:sp>
        <p:nvSpPr>
          <p:cNvPr id="12426" name="Text Box 152"/>
          <p:cNvSpPr txBox="1">
            <a:spLocks noChangeArrowheads="1"/>
          </p:cNvSpPr>
          <p:nvPr/>
        </p:nvSpPr>
        <p:spPr bwMode="auto">
          <a:xfrm>
            <a:off x="6475413" y="3244850"/>
            <a:ext cx="1739900" cy="307975"/>
          </a:xfrm>
          <a:prstGeom prst="rect">
            <a:avLst/>
          </a:prstGeom>
          <a:noFill/>
          <a:ln w="9525">
            <a:noFill/>
            <a:miter lim="800000"/>
            <a:headEnd/>
            <a:tailEnd/>
          </a:ln>
        </p:spPr>
        <p:txBody>
          <a:bodyPr>
            <a:spAutoFit/>
          </a:bodyPr>
          <a:lstStyle/>
          <a:p>
            <a:pPr>
              <a:spcBef>
                <a:spcPct val="50000"/>
              </a:spcBef>
            </a:pPr>
            <a:r>
              <a:rPr lang="en-US" sz="1400"/>
              <a:t>Branches</a:t>
            </a:r>
          </a:p>
        </p:txBody>
      </p:sp>
      <p:pic>
        <p:nvPicPr>
          <p:cNvPr id="12427" name="Picture 151"/>
          <p:cNvPicPr>
            <a:picLocks noChangeAspect="1" noChangeArrowheads="1"/>
          </p:cNvPicPr>
          <p:nvPr/>
        </p:nvPicPr>
        <p:blipFill>
          <a:blip r:embed="rId3"/>
          <a:srcRect/>
          <a:stretch>
            <a:fillRect/>
          </a:stretch>
        </p:blipFill>
        <p:spPr bwMode="auto">
          <a:xfrm>
            <a:off x="6173788" y="3244850"/>
            <a:ext cx="312737" cy="327025"/>
          </a:xfrm>
          <a:prstGeom prst="rect">
            <a:avLst/>
          </a:prstGeom>
          <a:noFill/>
          <a:ln w="9525">
            <a:noFill/>
            <a:miter lim="800000"/>
            <a:headEnd/>
            <a:tailEnd/>
          </a:ln>
        </p:spPr>
      </p:pic>
    </p:spTree>
  </p:cSld>
  <p:clrMapOvr>
    <a:masterClrMapping/>
  </p:clrMapOvr>
  <p:transition spd="slow">
    <p:split orient="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115"/>
          <p:cNvSpPr>
            <a:spLocks noChangeArrowheads="1"/>
          </p:cNvSpPr>
          <p:nvPr/>
        </p:nvSpPr>
        <p:spPr bwMode="auto">
          <a:xfrm>
            <a:off x="701675" y="6264275"/>
            <a:ext cx="8010525" cy="44450"/>
          </a:xfrm>
          <a:prstGeom prst="rect">
            <a:avLst/>
          </a:prstGeom>
          <a:solidFill>
            <a:srgbClr val="FD69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sp>
        <p:nvSpPr>
          <p:cNvPr id="31748" name="Text Box 2"/>
          <p:cNvSpPr txBox="1">
            <a:spLocks noChangeArrowheads="1"/>
          </p:cNvSpPr>
          <p:nvPr/>
        </p:nvSpPr>
        <p:spPr bwMode="auto">
          <a:xfrm>
            <a:off x="539750" y="44450"/>
            <a:ext cx="87550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dirty="0"/>
              <a:t>Operatività in Romania</a:t>
            </a:r>
            <a:endParaRPr lang="sk-SK" sz="2400" b="1" dirty="0"/>
          </a:p>
        </p:txBody>
      </p:sp>
      <p:sp>
        <p:nvSpPr>
          <p:cNvPr id="31749" name="Rectangle 3"/>
          <p:cNvSpPr txBox="1">
            <a:spLocks noChangeArrowheads="1"/>
          </p:cNvSpPr>
          <p:nvPr/>
        </p:nvSpPr>
        <p:spPr bwMode="auto">
          <a:xfrm>
            <a:off x="590550" y="631825"/>
            <a:ext cx="8229600" cy="531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lvl="1">
              <a:spcBef>
                <a:spcPct val="20000"/>
              </a:spcBef>
              <a:buFontTx/>
              <a:buBlip>
                <a:blip r:embed="rId2"/>
              </a:buBlip>
            </a:pPr>
            <a:endParaRPr lang="it-IT" sz="1400" b="1" dirty="0"/>
          </a:p>
          <a:p>
            <a:pPr>
              <a:lnSpc>
                <a:spcPct val="150000"/>
              </a:lnSpc>
              <a:spcBef>
                <a:spcPct val="20000"/>
              </a:spcBef>
            </a:pPr>
            <a:r>
              <a:rPr lang="it-IT" sz="1600" dirty="0"/>
              <a:t>Intesa Sanpaolo Bank Romania </a:t>
            </a:r>
            <a:r>
              <a:rPr lang="it-IT" sz="1600" dirty="0" smtClean="0"/>
              <a:t> </a:t>
            </a:r>
            <a:r>
              <a:rPr lang="it-IT" sz="1600" dirty="0"/>
              <a:t>offre </a:t>
            </a:r>
            <a:r>
              <a:rPr lang="it-IT" sz="1600" dirty="0" smtClean="0"/>
              <a:t>una gamma </a:t>
            </a:r>
            <a:r>
              <a:rPr lang="it-IT" sz="1600" dirty="0"/>
              <a:t>completa di prodotti-servizi bancari e assistenza commerciale alle imprese. </a:t>
            </a:r>
          </a:p>
          <a:p>
            <a:pPr>
              <a:lnSpc>
                <a:spcPct val="150000"/>
              </a:lnSpc>
              <a:spcBef>
                <a:spcPct val="20000"/>
              </a:spcBef>
            </a:pPr>
            <a:r>
              <a:rPr lang="it-IT" sz="1600" dirty="0" smtClean="0"/>
              <a:t>La </a:t>
            </a:r>
            <a:r>
              <a:rPr lang="it-IT" sz="1600" dirty="0"/>
              <a:t>banca ha:</a:t>
            </a:r>
          </a:p>
          <a:p>
            <a:pPr>
              <a:lnSpc>
                <a:spcPct val="150000"/>
              </a:lnSpc>
              <a:spcBef>
                <a:spcPct val="20000"/>
              </a:spcBef>
              <a:buFontTx/>
              <a:buBlip>
                <a:blip r:embed="rId2"/>
              </a:buBlip>
            </a:pPr>
            <a:r>
              <a:rPr lang="it-IT" sz="1600" dirty="0"/>
              <a:t>oltre </a:t>
            </a:r>
            <a:r>
              <a:rPr lang="it-IT" sz="1600" dirty="0" smtClean="0"/>
              <a:t>100.000 clienti </a:t>
            </a:r>
            <a:r>
              <a:rPr lang="it-IT" sz="1600" dirty="0"/>
              <a:t>di cui 75% </a:t>
            </a:r>
            <a:r>
              <a:rPr lang="it-IT" sz="1600" dirty="0" err="1"/>
              <a:t>retail</a:t>
            </a:r>
            <a:r>
              <a:rPr lang="it-IT" sz="1600" dirty="0"/>
              <a:t> e 25% corporate</a:t>
            </a:r>
          </a:p>
          <a:p>
            <a:pPr>
              <a:lnSpc>
                <a:spcPct val="150000"/>
              </a:lnSpc>
              <a:spcBef>
                <a:spcPct val="20000"/>
              </a:spcBef>
              <a:buFontTx/>
              <a:buBlip>
                <a:blip r:embed="rId2"/>
              </a:buBlip>
            </a:pPr>
            <a:r>
              <a:rPr lang="it-IT" sz="1600" dirty="0"/>
              <a:t>imprese romene partecipate da soci italiani e affidate circa </a:t>
            </a:r>
            <a:r>
              <a:rPr lang="it-IT" sz="1600" dirty="0" smtClean="0"/>
              <a:t>550</a:t>
            </a:r>
          </a:p>
          <a:p>
            <a:pPr>
              <a:lnSpc>
                <a:spcPct val="150000"/>
              </a:lnSpc>
              <a:spcBef>
                <a:spcPct val="20000"/>
              </a:spcBef>
            </a:pPr>
            <a:r>
              <a:rPr lang="it-IT" sz="1600" dirty="0" smtClean="0"/>
              <a:t>Sono state create strutture specialistiche per assistere e supportare le imprese italiane presenti nel Paese: il Corporate Banking Department offre servizi specializzati per Large Corporate che PMI., tra cui:</a:t>
            </a:r>
          </a:p>
          <a:p>
            <a:pPr lvl="2" eaLnBrk="1" hangingPunct="1"/>
            <a:r>
              <a:rPr lang="en-US" sz="1600" dirty="0" smtClean="0"/>
              <a:t>Cash Management</a:t>
            </a:r>
            <a:endParaRPr lang="en-GB" sz="1600" dirty="0" smtClean="0"/>
          </a:p>
          <a:p>
            <a:pPr lvl="2" eaLnBrk="1" hangingPunct="1"/>
            <a:r>
              <a:rPr lang="en-GB" sz="1600" dirty="0" smtClean="0"/>
              <a:t>International Desk – Assisting Foreign Investor</a:t>
            </a:r>
          </a:p>
          <a:p>
            <a:pPr>
              <a:lnSpc>
                <a:spcPct val="150000"/>
              </a:lnSpc>
              <a:spcBef>
                <a:spcPct val="20000"/>
              </a:spcBef>
              <a:buFontTx/>
              <a:buBlip>
                <a:blip r:embed="rId2"/>
              </a:buBlip>
            </a:pPr>
            <a:r>
              <a:rPr lang="it-IT" sz="1400" dirty="0" smtClean="0"/>
              <a:t>Inoltre la banca mette a Disposzione della propria clientela</a:t>
            </a:r>
          </a:p>
          <a:p>
            <a:pPr>
              <a:lnSpc>
                <a:spcPct val="150000"/>
              </a:lnSpc>
              <a:spcBef>
                <a:spcPct val="20000"/>
              </a:spcBef>
            </a:pPr>
            <a:r>
              <a:rPr lang="it-IT" sz="1400" dirty="0" smtClean="0"/>
              <a:t>	tutti i servizi Retail Banking : Conti correnti, depositi, </a:t>
            </a:r>
          </a:p>
          <a:p>
            <a:pPr>
              <a:lnSpc>
                <a:spcPct val="150000"/>
              </a:lnSpc>
              <a:spcBef>
                <a:spcPct val="20000"/>
              </a:spcBef>
            </a:pPr>
            <a:r>
              <a:rPr lang="it-IT" sz="1400" dirty="0" smtClean="0"/>
              <a:t> 	mutui, carte dicredito, POS, </a:t>
            </a:r>
          </a:p>
          <a:p>
            <a:pPr>
              <a:lnSpc>
                <a:spcPct val="150000"/>
              </a:lnSpc>
              <a:spcBef>
                <a:spcPct val="20000"/>
              </a:spcBef>
              <a:buClr>
                <a:srgbClr val="FF3300"/>
              </a:buClr>
            </a:pPr>
            <a:r>
              <a:rPr lang="it-IT" sz="1400" dirty="0" smtClean="0"/>
              <a:t>	</a:t>
            </a:r>
            <a:endParaRPr lang="it-IT" sz="1400" dirty="0"/>
          </a:p>
        </p:txBody>
      </p:sp>
      <p:pic>
        <p:nvPicPr>
          <p:cNvPr id="6" name="Picture 1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0152" y="4114812"/>
            <a:ext cx="2879998" cy="19724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681224"/>
      </p:ext>
    </p:extLst>
  </p:cSld>
  <p:clrMapOvr>
    <a:masterClrMapping/>
  </p:clrMapOvr>
  <p:transition>
    <p:wheel spokes="3"/>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ChangeArrowheads="1"/>
          </p:cNvSpPr>
          <p:nvPr/>
        </p:nvSpPr>
        <p:spPr bwMode="auto">
          <a:xfrm>
            <a:off x="609600" y="1752600"/>
            <a:ext cx="8145463"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None/>
            </a:pPr>
            <a:endParaRPr lang="it-IT" b="1" dirty="0" smtClean="0">
              <a:solidFill>
                <a:schemeClr val="tx2"/>
              </a:solidFill>
              <a:latin typeface="+mn-lt"/>
              <a:ea typeface="ＭＳ Ｐゴシック" pitchFamily="-28" charset="-128"/>
              <a:cs typeface="Calibri" pitchFamily="34" charset="0"/>
            </a:endParaRPr>
          </a:p>
          <a:p>
            <a:pPr>
              <a:buBlip>
                <a:blip r:embed="rId2"/>
              </a:buBlip>
            </a:pPr>
            <a:r>
              <a:rPr lang="it-IT" sz="2400" b="1" dirty="0" smtClean="0">
                <a:solidFill>
                  <a:schemeClr val="tx1">
                    <a:lumMod val="95000"/>
                    <a:lumOff val="5000"/>
                  </a:schemeClr>
                </a:solidFill>
                <a:latin typeface="+mn-lt"/>
                <a:ea typeface="ＭＳ Ｐゴシック" pitchFamily="-28" charset="-128"/>
                <a:cs typeface="Calibri" pitchFamily="34" charset="0"/>
              </a:rPr>
              <a:t>  Il network internazionale di Intesa Sanpaolo a supporto dell’internazionalizzazione delle PMI</a:t>
            </a:r>
          </a:p>
          <a:p>
            <a:pPr>
              <a:buBlip>
                <a:blip r:embed="rId2"/>
              </a:buBlip>
            </a:pPr>
            <a:endParaRPr lang="it-IT" sz="2400" b="1" dirty="0" smtClean="0">
              <a:solidFill>
                <a:schemeClr val="tx1">
                  <a:lumMod val="95000"/>
                  <a:lumOff val="5000"/>
                </a:schemeClr>
              </a:solidFill>
              <a:latin typeface="+mn-lt"/>
              <a:ea typeface="ＭＳ Ｐゴシック" pitchFamily="-28" charset="-128"/>
              <a:cs typeface="Calibri" pitchFamily="34" charset="0"/>
            </a:endParaRPr>
          </a:p>
          <a:p>
            <a:pPr>
              <a:buBlip>
                <a:blip r:embed="rId2"/>
              </a:buBlip>
            </a:pPr>
            <a:r>
              <a:rPr lang="it-IT" sz="2400" b="1" dirty="0" smtClean="0">
                <a:solidFill>
                  <a:schemeClr val="tx1">
                    <a:lumMod val="95000"/>
                    <a:lumOff val="5000"/>
                  </a:schemeClr>
                </a:solidFill>
                <a:latin typeface="+mn-lt"/>
                <a:ea typeface="ＭＳ Ｐゴシック" pitchFamily="-28" charset="-128"/>
                <a:cs typeface="Calibri" pitchFamily="34" charset="0"/>
              </a:rPr>
              <a:t>  Intesa Sanpaolo Bank Romania</a:t>
            </a:r>
          </a:p>
          <a:p>
            <a:pPr>
              <a:buBlip>
                <a:blip r:embed="rId2"/>
              </a:buBlip>
            </a:pPr>
            <a:endParaRPr lang="it-IT" sz="2400" b="1" dirty="0" smtClean="0">
              <a:solidFill>
                <a:schemeClr val="tx1">
                  <a:lumMod val="95000"/>
                  <a:lumOff val="5000"/>
                </a:schemeClr>
              </a:solidFill>
              <a:latin typeface="+mn-lt"/>
              <a:ea typeface="ＭＳ Ｐゴシック" pitchFamily="-28" charset="-128"/>
              <a:cs typeface="Calibri" pitchFamily="34" charset="0"/>
            </a:endParaRPr>
          </a:p>
          <a:p>
            <a:pPr>
              <a:buBlip>
                <a:blip r:embed="rId2"/>
              </a:buBlip>
            </a:pPr>
            <a:r>
              <a:rPr lang="it-IT" sz="2400" b="1" dirty="0" smtClean="0">
                <a:solidFill>
                  <a:schemeClr val="tx1">
                    <a:lumMod val="95000"/>
                    <a:lumOff val="5000"/>
                  </a:schemeClr>
                </a:solidFill>
                <a:latin typeface="+mn-lt"/>
                <a:ea typeface="ＭＳ Ｐゴシック" pitchFamily="-28" charset="-128"/>
                <a:cs typeface="Calibri" pitchFamily="34" charset="0"/>
              </a:rPr>
              <a:t> Il Mercato Finanziario e il Rapporto Banca Impresa</a:t>
            </a:r>
          </a:p>
        </p:txBody>
      </p:sp>
      <p:sp>
        <p:nvSpPr>
          <p:cNvPr id="5" name="Rectangle 4"/>
          <p:cNvSpPr/>
          <p:nvPr/>
        </p:nvSpPr>
        <p:spPr>
          <a:xfrm>
            <a:off x="533400" y="533400"/>
            <a:ext cx="8305800" cy="1077218"/>
          </a:xfrm>
          <a:prstGeom prst="rect">
            <a:avLst/>
          </a:prstGeom>
        </p:spPr>
        <p:txBody>
          <a:bodyPr wrap="square">
            <a:spAutoFit/>
          </a:bodyPr>
          <a:lstStyle/>
          <a:p>
            <a:pPr>
              <a:buFont typeface="Wingdings" pitchFamily="2" charset="2"/>
              <a:buNone/>
            </a:pPr>
            <a:endParaRPr lang="it-IT" sz="800" b="1" dirty="0" smtClean="0">
              <a:solidFill>
                <a:schemeClr val="tx2"/>
              </a:solidFill>
              <a:ea typeface="ＭＳ Ｐゴシック" pitchFamily="-28" charset="-128"/>
              <a:cs typeface="Calibri" pitchFamily="34" charset="0"/>
            </a:endParaRPr>
          </a:p>
          <a:p>
            <a:pPr>
              <a:buFont typeface="Wingdings" pitchFamily="2" charset="2"/>
              <a:buNone/>
            </a:pPr>
            <a:r>
              <a:rPr lang="it-IT" sz="2800" b="1" dirty="0" smtClean="0">
                <a:solidFill>
                  <a:schemeClr val="tx2"/>
                </a:solidFill>
                <a:ea typeface="ＭＳ Ｐゴシック" pitchFamily="-28" charset="-128"/>
                <a:cs typeface="Calibri" pitchFamily="34" charset="0"/>
              </a:rPr>
              <a:t>Mercato Finanziario  e Rapporto Banca Impresa in Romania </a:t>
            </a:r>
            <a:endParaRPr lang="it-IT" sz="2800" dirty="0">
              <a:solidFill>
                <a:schemeClr val="tx2"/>
              </a:solidFill>
              <a:ea typeface="ＭＳ Ｐゴシック" pitchFamily="-28" charset="-128"/>
              <a:cs typeface="Calibri" pitchFamily="34" charset="0"/>
            </a:endParaRPr>
          </a:p>
        </p:txBody>
      </p:sp>
      <p:sp>
        <p:nvSpPr>
          <p:cNvPr id="6" name="Rounded Rectangle 5"/>
          <p:cNvSpPr/>
          <p:nvPr/>
        </p:nvSpPr>
        <p:spPr>
          <a:xfrm>
            <a:off x="457200" y="3733800"/>
            <a:ext cx="8077200" cy="762000"/>
          </a:xfrm>
          <a:prstGeom prst="roundRect">
            <a:avLst/>
          </a:prstGeom>
          <a:solidFill>
            <a:srgbClr val="FF0000">
              <a:alpha val="3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r>
              <a:rPr lang="en-US" dirty="0" smtClean="0"/>
              <a:t>Uno </a:t>
            </a:r>
            <a:r>
              <a:rPr lang="en-US" dirty="0" err="1" smtClean="0"/>
              <a:t>sguardo</a:t>
            </a:r>
            <a:r>
              <a:rPr lang="en-US" dirty="0" smtClean="0"/>
              <a:t> </a:t>
            </a:r>
            <a:r>
              <a:rPr lang="en-US" dirty="0" err="1" smtClean="0"/>
              <a:t>sul</a:t>
            </a:r>
            <a:r>
              <a:rPr lang="en-US" dirty="0" smtClean="0"/>
              <a:t> </a:t>
            </a:r>
            <a:r>
              <a:rPr lang="en-US" dirty="0" err="1" smtClean="0"/>
              <a:t>sistema</a:t>
            </a:r>
            <a:r>
              <a:rPr lang="en-US" dirty="0" smtClean="0"/>
              <a:t> </a:t>
            </a:r>
            <a:r>
              <a:rPr lang="en-US" dirty="0" err="1" smtClean="0"/>
              <a:t>bancario</a:t>
            </a:r>
            <a:r>
              <a:rPr lang="en-US" dirty="0" smtClean="0"/>
              <a:t> </a:t>
            </a:r>
            <a:r>
              <a:rPr lang="en-US" dirty="0" err="1" smtClean="0"/>
              <a:t>Rumeno</a:t>
            </a:r>
            <a:endParaRPr lang="en-US" dirty="0" smtClean="0"/>
          </a:p>
        </p:txBody>
      </p:sp>
      <p:sp>
        <p:nvSpPr>
          <p:cNvPr id="4099" name="Content Placeholder 2"/>
          <p:cNvSpPr>
            <a:spLocks noGrp="1"/>
          </p:cNvSpPr>
          <p:nvPr>
            <p:ph idx="1"/>
          </p:nvPr>
        </p:nvSpPr>
        <p:spPr>
          <a:xfrm>
            <a:off x="0" y="1066800"/>
            <a:ext cx="6578599" cy="4919662"/>
          </a:xfrm>
        </p:spPr>
        <p:txBody>
          <a:bodyPr/>
          <a:lstStyle/>
          <a:p>
            <a:pPr lvl="2"/>
            <a:r>
              <a:rPr lang="en-US" dirty="0" smtClean="0"/>
              <a:t>67.89% net banking assets as a % of GDP (73.72% in 2010 and 72.73% in 2009)</a:t>
            </a:r>
          </a:p>
          <a:p>
            <a:pPr lvl="2"/>
            <a:r>
              <a:rPr lang="en-US" dirty="0" smtClean="0"/>
              <a:t>81.2% of total banking assets are foreign owned in 34 institutions (85.3% in 2009)</a:t>
            </a:r>
          </a:p>
          <a:p>
            <a:pPr lvl="2"/>
            <a:r>
              <a:rPr lang="en-US" dirty="0" smtClean="0"/>
              <a:t>Concentration degree at the end of Q2 - 2012</a:t>
            </a:r>
          </a:p>
          <a:p>
            <a:pPr lvl="3"/>
            <a:r>
              <a:rPr lang="en-US" dirty="0" smtClean="0"/>
              <a:t>Top 5 banks managed assets % in total assets: 55.2%</a:t>
            </a:r>
          </a:p>
          <a:p>
            <a:pPr lvl="3"/>
            <a:r>
              <a:rPr lang="en-US" dirty="0" smtClean="0"/>
              <a:t>Top 5 banks credit % of total credit: 53.1%</a:t>
            </a:r>
          </a:p>
          <a:p>
            <a:pPr lvl="3"/>
            <a:r>
              <a:rPr lang="en-US" dirty="0" smtClean="0"/>
              <a:t>Top 5 banks deposits % of total deposits 55.6%</a:t>
            </a:r>
          </a:p>
          <a:p>
            <a:pPr lvl="3"/>
            <a:r>
              <a:rPr lang="en-US" dirty="0" smtClean="0"/>
              <a:t>Top 5 banks market share 55.2% (EU27 avg. = 59.4%)</a:t>
            </a:r>
          </a:p>
          <a:p>
            <a:pPr lvl="3"/>
            <a:endParaRPr lang="en-US" dirty="0" smtClean="0"/>
          </a:p>
          <a:p>
            <a:pPr lvl="3"/>
            <a:endParaRPr lang="en-US" dirty="0" smtClean="0"/>
          </a:p>
          <a:p>
            <a:pPr lvl="3"/>
            <a:endParaRPr lang="en-US" dirty="0" smtClean="0"/>
          </a:p>
          <a:p>
            <a:pPr lvl="3"/>
            <a:endParaRPr lang="en-US" dirty="0" smtClean="0"/>
          </a:p>
          <a:p>
            <a:pPr lvl="3"/>
            <a:endParaRPr lang="en-US" dirty="0" smtClean="0"/>
          </a:p>
          <a:p>
            <a:pPr lvl="2"/>
            <a:r>
              <a:rPr lang="en-US" dirty="0" smtClean="0"/>
              <a:t>65 % </a:t>
            </a:r>
            <a:r>
              <a:rPr lang="en-US" dirty="0" err="1" smtClean="0"/>
              <a:t>dei</a:t>
            </a:r>
            <a:r>
              <a:rPr lang="en-US" dirty="0" smtClean="0"/>
              <a:t> </a:t>
            </a:r>
            <a:r>
              <a:rPr lang="en-US" dirty="0" err="1" smtClean="0"/>
              <a:t>depositi</a:t>
            </a:r>
            <a:r>
              <a:rPr lang="en-US" dirty="0" smtClean="0"/>
              <a:t> in </a:t>
            </a:r>
            <a:r>
              <a:rPr lang="en-US" dirty="0" err="1" smtClean="0"/>
              <a:t>da</a:t>
            </a:r>
            <a:r>
              <a:rPr lang="en-US" dirty="0" smtClean="0"/>
              <a:t> </a:t>
            </a:r>
            <a:r>
              <a:rPr lang="en-US" dirty="0" err="1" smtClean="0"/>
              <a:t>residenti</a:t>
            </a:r>
            <a:r>
              <a:rPr lang="en-US" dirty="0" smtClean="0"/>
              <a:t> in Lei 35%  in </a:t>
            </a:r>
            <a:r>
              <a:rPr lang="en-US" dirty="0" err="1" smtClean="0"/>
              <a:t>valuta</a:t>
            </a:r>
            <a:r>
              <a:rPr lang="en-US" dirty="0" smtClean="0"/>
              <a:t> </a:t>
            </a:r>
            <a:r>
              <a:rPr lang="en-US" dirty="0" err="1" smtClean="0"/>
              <a:t>estera</a:t>
            </a:r>
            <a:r>
              <a:rPr lang="en-US" dirty="0" smtClean="0"/>
              <a:t> ~ EURO</a:t>
            </a:r>
          </a:p>
          <a:p>
            <a:pPr lvl="2"/>
            <a:r>
              <a:rPr lang="en-US" dirty="0" err="1" smtClean="0"/>
              <a:t>Rapporto</a:t>
            </a:r>
            <a:r>
              <a:rPr lang="en-US" dirty="0" smtClean="0"/>
              <a:t> </a:t>
            </a:r>
            <a:r>
              <a:rPr lang="en-US" dirty="0" err="1" smtClean="0"/>
              <a:t>Depositi</a:t>
            </a:r>
            <a:r>
              <a:rPr lang="en-US" dirty="0" smtClean="0"/>
              <a:t> </a:t>
            </a:r>
            <a:r>
              <a:rPr lang="en-US" dirty="0" err="1" smtClean="0"/>
              <a:t>impieghi</a:t>
            </a:r>
            <a:r>
              <a:rPr lang="en-US" dirty="0" smtClean="0"/>
              <a:t> 120% BCR (</a:t>
            </a:r>
            <a:r>
              <a:rPr lang="en-US" dirty="0" err="1" smtClean="0"/>
              <a:t>Erste</a:t>
            </a:r>
            <a:r>
              <a:rPr lang="en-US" dirty="0" smtClean="0"/>
              <a:t>)</a:t>
            </a:r>
          </a:p>
          <a:p>
            <a:pPr lvl="2"/>
            <a:r>
              <a:rPr lang="en-US" dirty="0" err="1" smtClean="0"/>
              <a:t>Impieghi</a:t>
            </a:r>
            <a:r>
              <a:rPr lang="en-US" dirty="0" smtClean="0"/>
              <a:t> </a:t>
            </a:r>
            <a:r>
              <a:rPr lang="en-US" dirty="0" err="1" smtClean="0"/>
              <a:t>alle</a:t>
            </a:r>
            <a:r>
              <a:rPr lang="en-US" dirty="0" smtClean="0"/>
              <a:t> </a:t>
            </a:r>
            <a:r>
              <a:rPr lang="en-US" dirty="0" err="1" smtClean="0"/>
              <a:t>famiglie</a:t>
            </a:r>
            <a:r>
              <a:rPr lang="en-US" dirty="0" smtClean="0"/>
              <a:t>  68 % </a:t>
            </a:r>
            <a:r>
              <a:rPr lang="en-US" dirty="0" err="1" smtClean="0"/>
              <a:t>vakuta</a:t>
            </a:r>
            <a:r>
              <a:rPr lang="en-US" dirty="0" smtClean="0"/>
              <a:t> </a:t>
            </a:r>
            <a:r>
              <a:rPr lang="en-US" dirty="0" err="1" smtClean="0"/>
              <a:t>estera</a:t>
            </a:r>
            <a:r>
              <a:rPr lang="en-US" dirty="0" smtClean="0"/>
              <a:t>  ~ EURO </a:t>
            </a:r>
          </a:p>
          <a:p>
            <a:pPr lvl="2"/>
            <a:r>
              <a:rPr lang="en-US" dirty="0" err="1" smtClean="0"/>
              <a:t>Impieghi</a:t>
            </a:r>
            <a:r>
              <a:rPr lang="en-US" dirty="0" smtClean="0"/>
              <a:t> a </a:t>
            </a:r>
            <a:r>
              <a:rPr lang="en-US" dirty="0" err="1" smtClean="0"/>
              <a:t>imprese</a:t>
            </a:r>
            <a:r>
              <a:rPr lang="en-US" dirty="0" smtClean="0"/>
              <a:t> non </a:t>
            </a:r>
            <a:r>
              <a:rPr lang="en-US" dirty="0" err="1" smtClean="0"/>
              <a:t>finaziarie</a:t>
            </a:r>
            <a:r>
              <a:rPr lang="en-US" dirty="0" smtClean="0"/>
              <a:t> 60 % </a:t>
            </a:r>
            <a:r>
              <a:rPr lang="en-US" dirty="0" err="1" smtClean="0"/>
              <a:t>valuta</a:t>
            </a:r>
            <a:r>
              <a:rPr lang="en-US" dirty="0" smtClean="0"/>
              <a:t> </a:t>
            </a:r>
            <a:r>
              <a:rPr lang="en-US" dirty="0" err="1" smtClean="0"/>
              <a:t>estera</a:t>
            </a:r>
            <a:r>
              <a:rPr lang="en-US" dirty="0" smtClean="0"/>
              <a:t> ~ EURO </a:t>
            </a:r>
          </a:p>
          <a:p>
            <a:pPr lvl="2"/>
            <a:r>
              <a:rPr lang="en-US" dirty="0" smtClean="0"/>
              <a:t> ROE </a:t>
            </a:r>
            <a:r>
              <a:rPr lang="en-US" dirty="0" err="1" smtClean="0"/>
              <a:t>Banche</a:t>
            </a:r>
            <a:r>
              <a:rPr lang="en-US" dirty="0" smtClean="0"/>
              <a:t> </a:t>
            </a:r>
            <a:r>
              <a:rPr lang="en-US" dirty="0" err="1" smtClean="0"/>
              <a:t>negativo</a:t>
            </a:r>
            <a:endParaRPr lang="en-US" dirty="0" smtClean="0"/>
          </a:p>
          <a:p>
            <a:pPr lvl="3"/>
            <a:endParaRPr lang="en-US" dirty="0" smtClean="0"/>
          </a:p>
          <a:p>
            <a:pPr lvl="3"/>
            <a:endParaRPr lang="en-US" dirty="0" smtClean="0"/>
          </a:p>
          <a:p>
            <a:pPr lvl="3"/>
            <a:endParaRPr lang="en-US" dirty="0" smtClean="0"/>
          </a:p>
          <a:p>
            <a:pPr lvl="3"/>
            <a:endParaRPr lang="en-US" dirty="0" smtClean="0"/>
          </a:p>
          <a:p>
            <a:pPr lvl="3"/>
            <a:endParaRPr lang="en-US" dirty="0" smtClean="0"/>
          </a:p>
          <a:p>
            <a:pPr lvl="3"/>
            <a:endParaRPr lang="en-US" dirty="0" smtClean="0"/>
          </a:p>
          <a:p>
            <a:pPr lvl="3"/>
            <a:endParaRPr lang="en-US" dirty="0" smtClean="0"/>
          </a:p>
          <a:p>
            <a:pPr lvl="3"/>
            <a:endParaRPr lang="en-US" dirty="0" smtClean="0"/>
          </a:p>
        </p:txBody>
      </p:sp>
      <p:sp>
        <p:nvSpPr>
          <p:cNvPr id="5" name="Slide Number Placeholder 4"/>
          <p:cNvSpPr>
            <a:spLocks noGrp="1"/>
          </p:cNvSpPr>
          <p:nvPr>
            <p:ph type="sldNum" sz="quarter" idx="11"/>
          </p:nvPr>
        </p:nvSpPr>
        <p:spPr/>
        <p:txBody>
          <a:bodyPr/>
          <a:lstStyle/>
          <a:p>
            <a:fld id="{590C64F7-4267-4FD2-B111-22E1E6231371}" type="slidenum">
              <a:rPr lang="en-GB" smtClean="0"/>
              <a:pPr/>
              <a:t>16</a:t>
            </a:fld>
            <a:endParaRPr lang="en-GB"/>
          </a:p>
        </p:txBody>
      </p:sp>
      <p:graphicFrame>
        <p:nvGraphicFramePr>
          <p:cNvPr id="7" name="Chart 6"/>
          <p:cNvGraphicFramePr/>
          <p:nvPr/>
        </p:nvGraphicFramePr>
        <p:xfrm>
          <a:off x="6096000" y="533400"/>
          <a:ext cx="3048000" cy="44196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533400" y="838200"/>
          <a:ext cx="8305800" cy="43434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p:cNvSpPr/>
          <p:nvPr/>
        </p:nvSpPr>
        <p:spPr>
          <a:xfrm>
            <a:off x="228600" y="5257800"/>
            <a:ext cx="8915400" cy="815608"/>
          </a:xfrm>
          <a:prstGeom prst="rect">
            <a:avLst/>
          </a:prstGeom>
        </p:spPr>
        <p:txBody>
          <a:bodyPr wrap="square">
            <a:spAutoFit/>
          </a:bodyPr>
          <a:lstStyle/>
          <a:p>
            <a:pPr marL="90488" lvl="1">
              <a:spcAft>
                <a:spcPts val="600"/>
              </a:spcAft>
            </a:pPr>
            <a:r>
              <a:rPr lang="en-US" sz="1400" b="1" dirty="0" smtClean="0"/>
              <a:t>FX credit continues to outpace RON credit and deposits show high dependency on external financing</a:t>
            </a:r>
          </a:p>
          <a:p>
            <a:pPr marL="590550" lvl="3"/>
            <a:r>
              <a:rPr lang="en-US" sz="1400" b="1" dirty="0" smtClean="0"/>
              <a:t>RON credit 36.3% end June 2012</a:t>
            </a:r>
          </a:p>
          <a:p>
            <a:pPr marL="590550" lvl="3"/>
            <a:r>
              <a:rPr lang="en-US" sz="1400" b="1" dirty="0" smtClean="0"/>
              <a:t>FX credit 63.7% and June 2012</a:t>
            </a:r>
          </a:p>
        </p:txBody>
      </p:sp>
      <p:sp>
        <p:nvSpPr>
          <p:cNvPr id="5" name="Text Box 2"/>
          <p:cNvSpPr txBox="1">
            <a:spLocks noChangeArrowheads="1"/>
          </p:cNvSpPr>
          <p:nvPr/>
        </p:nvSpPr>
        <p:spPr bwMode="auto">
          <a:xfrm>
            <a:off x="539750" y="44450"/>
            <a:ext cx="87550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dirty="0" smtClean="0"/>
              <a:t>Evoluzione credito </a:t>
            </a:r>
            <a:endParaRPr lang="sk-SK" sz="2400" b="1" dirty="0"/>
          </a:p>
        </p:txBody>
      </p:sp>
      <p:sp>
        <p:nvSpPr>
          <p:cNvPr id="6" name="TextBox 5"/>
          <p:cNvSpPr txBox="1"/>
          <p:nvPr/>
        </p:nvSpPr>
        <p:spPr>
          <a:xfrm>
            <a:off x="7696200" y="5791200"/>
            <a:ext cx="1120820" cy="307777"/>
          </a:xfrm>
          <a:prstGeom prst="rect">
            <a:avLst/>
          </a:prstGeom>
          <a:noFill/>
        </p:spPr>
        <p:txBody>
          <a:bodyPr wrap="none" rtlCol="0">
            <a:spAutoFit/>
          </a:bodyPr>
          <a:lstStyle/>
          <a:p>
            <a:r>
              <a:rPr lang="en-US" sz="1400" dirty="0" err="1" smtClean="0"/>
              <a:t>Fonte</a:t>
            </a:r>
            <a:r>
              <a:rPr lang="en-US" sz="1400" dirty="0" smtClean="0"/>
              <a:t>: NBR</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304800" y="838200"/>
          <a:ext cx="8583488" cy="4916016"/>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 Box 2"/>
          <p:cNvSpPr txBox="1">
            <a:spLocks noChangeArrowheads="1"/>
          </p:cNvSpPr>
          <p:nvPr/>
        </p:nvSpPr>
        <p:spPr bwMode="auto">
          <a:xfrm>
            <a:off x="539750" y="44450"/>
            <a:ext cx="87550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dirty="0" smtClean="0"/>
              <a:t>Evoluzione credito </a:t>
            </a:r>
            <a:endParaRPr lang="sk-SK" sz="2400" b="1" dirty="0"/>
          </a:p>
        </p:txBody>
      </p:sp>
      <p:sp>
        <p:nvSpPr>
          <p:cNvPr id="4" name="TextBox 3"/>
          <p:cNvSpPr txBox="1"/>
          <p:nvPr/>
        </p:nvSpPr>
        <p:spPr>
          <a:xfrm>
            <a:off x="762000" y="5867400"/>
            <a:ext cx="1120820" cy="307777"/>
          </a:xfrm>
          <a:prstGeom prst="rect">
            <a:avLst/>
          </a:prstGeom>
          <a:noFill/>
        </p:spPr>
        <p:txBody>
          <a:bodyPr wrap="none" rtlCol="0">
            <a:spAutoFit/>
          </a:bodyPr>
          <a:lstStyle/>
          <a:p>
            <a:r>
              <a:rPr lang="en-US" sz="1400" dirty="0" err="1" smtClean="0"/>
              <a:t>Fonte</a:t>
            </a:r>
            <a:r>
              <a:rPr lang="en-US" sz="1400" dirty="0" smtClean="0"/>
              <a:t>: NBR</a:t>
            </a:r>
            <a:endParaRPr lang="en-US" sz="1400" dirty="0"/>
          </a:p>
        </p:txBody>
      </p:sp>
      <p:sp>
        <p:nvSpPr>
          <p:cNvPr id="5" name="TextBox 4"/>
          <p:cNvSpPr txBox="1"/>
          <p:nvPr/>
        </p:nvSpPr>
        <p:spPr>
          <a:xfrm>
            <a:off x="6705600" y="1219200"/>
            <a:ext cx="2209800" cy="646331"/>
          </a:xfrm>
          <a:prstGeom prst="rect">
            <a:avLst/>
          </a:prstGeom>
          <a:noFill/>
        </p:spPr>
        <p:txBody>
          <a:bodyPr wrap="square" rtlCol="0">
            <a:spAutoFit/>
          </a:bodyPr>
          <a:lstStyle/>
          <a:p>
            <a:r>
              <a:rPr lang="en-US" b="1" dirty="0" smtClean="0"/>
              <a:t>+5,7%% ago 2012</a:t>
            </a:r>
          </a:p>
          <a:p>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381000" y="838200"/>
          <a:ext cx="8229600" cy="41148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Box 2"/>
          <p:cNvSpPr txBox="1">
            <a:spLocks noChangeArrowheads="1"/>
          </p:cNvSpPr>
          <p:nvPr/>
        </p:nvSpPr>
        <p:spPr bwMode="auto">
          <a:xfrm>
            <a:off x="539750" y="44450"/>
            <a:ext cx="87550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dirty="0" smtClean="0"/>
              <a:t>Evoluzione credito </a:t>
            </a:r>
            <a:endParaRPr lang="sk-SK" sz="2400" b="1" dirty="0"/>
          </a:p>
        </p:txBody>
      </p:sp>
      <p:sp>
        <p:nvSpPr>
          <p:cNvPr id="5" name="TextBox 4"/>
          <p:cNvSpPr txBox="1"/>
          <p:nvPr/>
        </p:nvSpPr>
        <p:spPr>
          <a:xfrm>
            <a:off x="838200" y="5791200"/>
            <a:ext cx="1120820" cy="307777"/>
          </a:xfrm>
          <a:prstGeom prst="rect">
            <a:avLst/>
          </a:prstGeom>
          <a:noFill/>
        </p:spPr>
        <p:txBody>
          <a:bodyPr wrap="none" rtlCol="0">
            <a:spAutoFit/>
          </a:bodyPr>
          <a:lstStyle/>
          <a:p>
            <a:r>
              <a:rPr lang="en-US" sz="1400" dirty="0" err="1" smtClean="0"/>
              <a:t>Fonte</a:t>
            </a:r>
            <a:r>
              <a:rPr lang="en-US" sz="1400" dirty="0" smtClean="0"/>
              <a:t>: NBR</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ChangeArrowheads="1"/>
          </p:cNvSpPr>
          <p:nvPr/>
        </p:nvSpPr>
        <p:spPr bwMode="auto">
          <a:xfrm>
            <a:off x="609600" y="2286000"/>
            <a:ext cx="8145463"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buFont typeface="Wingdings" pitchFamily="2" charset="2"/>
              <a:buNone/>
            </a:pPr>
            <a:endParaRPr lang="it-IT" b="1" dirty="0" smtClean="0">
              <a:solidFill>
                <a:schemeClr val="tx2"/>
              </a:solidFill>
              <a:latin typeface="+mn-lt"/>
              <a:ea typeface="ＭＳ Ｐゴシック" pitchFamily="-28" charset="-128"/>
              <a:cs typeface="Calibri" pitchFamily="34" charset="0"/>
            </a:endParaRPr>
          </a:p>
          <a:p>
            <a:pPr>
              <a:buBlip>
                <a:blip r:embed="rId2"/>
              </a:buBlip>
            </a:pPr>
            <a:r>
              <a:rPr lang="it-IT" sz="2400" b="1" dirty="0" smtClean="0">
                <a:solidFill>
                  <a:schemeClr val="tx1">
                    <a:lumMod val="95000"/>
                    <a:lumOff val="5000"/>
                  </a:schemeClr>
                </a:solidFill>
                <a:latin typeface="+mn-lt"/>
                <a:ea typeface="ＭＳ Ｐゴシック" pitchFamily="-28" charset="-128"/>
                <a:cs typeface="Calibri" pitchFamily="34" charset="0"/>
              </a:rPr>
              <a:t>  Il network internazionale di Intesa Sanpaolo a supporto dell’internazionalizzazione delle PMI</a:t>
            </a:r>
          </a:p>
          <a:p>
            <a:pPr>
              <a:buBlip>
                <a:blip r:embed="rId2"/>
              </a:buBlip>
            </a:pPr>
            <a:endParaRPr lang="it-IT" sz="2400" b="1" dirty="0" smtClean="0">
              <a:solidFill>
                <a:schemeClr val="tx1">
                  <a:lumMod val="95000"/>
                  <a:lumOff val="5000"/>
                </a:schemeClr>
              </a:solidFill>
              <a:latin typeface="+mn-lt"/>
              <a:ea typeface="ＭＳ Ｐゴシック" pitchFamily="-28" charset="-128"/>
              <a:cs typeface="Calibri" pitchFamily="34" charset="0"/>
            </a:endParaRPr>
          </a:p>
          <a:p>
            <a:pPr>
              <a:buBlip>
                <a:blip r:embed="rId2"/>
              </a:buBlip>
            </a:pPr>
            <a:r>
              <a:rPr lang="it-IT" sz="2400" b="1" dirty="0" smtClean="0">
                <a:solidFill>
                  <a:schemeClr val="tx1">
                    <a:lumMod val="95000"/>
                    <a:lumOff val="5000"/>
                  </a:schemeClr>
                </a:solidFill>
                <a:latin typeface="+mn-lt"/>
                <a:ea typeface="ＭＳ Ｐゴシック" pitchFamily="-28" charset="-128"/>
                <a:cs typeface="Calibri" pitchFamily="34" charset="0"/>
              </a:rPr>
              <a:t>  Intesa Sanpaolo Bank Romania</a:t>
            </a:r>
          </a:p>
          <a:p>
            <a:pPr>
              <a:buBlip>
                <a:blip r:embed="rId2"/>
              </a:buBlip>
            </a:pPr>
            <a:endParaRPr lang="it-IT" sz="2400" b="1" dirty="0" smtClean="0">
              <a:solidFill>
                <a:schemeClr val="tx1">
                  <a:lumMod val="95000"/>
                  <a:lumOff val="5000"/>
                </a:schemeClr>
              </a:solidFill>
              <a:latin typeface="+mn-lt"/>
              <a:ea typeface="ＭＳ Ｐゴシック" pitchFamily="-28" charset="-128"/>
              <a:cs typeface="Calibri" pitchFamily="34" charset="0"/>
            </a:endParaRPr>
          </a:p>
          <a:p>
            <a:pPr>
              <a:buBlip>
                <a:blip r:embed="rId2"/>
              </a:buBlip>
            </a:pPr>
            <a:r>
              <a:rPr lang="it-IT" sz="2400" b="1" dirty="0" smtClean="0">
                <a:solidFill>
                  <a:schemeClr val="tx1">
                    <a:lumMod val="95000"/>
                    <a:lumOff val="5000"/>
                  </a:schemeClr>
                </a:solidFill>
                <a:latin typeface="+mn-lt"/>
                <a:ea typeface="ＭＳ Ｐゴシック" pitchFamily="-28" charset="-128"/>
                <a:cs typeface="Calibri" pitchFamily="34" charset="0"/>
              </a:rPr>
              <a:t> Il Mercato Finanziario e il Rapporto Banca Impresa</a:t>
            </a:r>
          </a:p>
        </p:txBody>
      </p:sp>
      <p:sp>
        <p:nvSpPr>
          <p:cNvPr id="5" name="Rectangle 4"/>
          <p:cNvSpPr/>
          <p:nvPr/>
        </p:nvSpPr>
        <p:spPr>
          <a:xfrm>
            <a:off x="533400" y="533400"/>
            <a:ext cx="8305800" cy="1077218"/>
          </a:xfrm>
          <a:prstGeom prst="rect">
            <a:avLst/>
          </a:prstGeom>
        </p:spPr>
        <p:txBody>
          <a:bodyPr wrap="square">
            <a:spAutoFit/>
          </a:bodyPr>
          <a:lstStyle/>
          <a:p>
            <a:pPr>
              <a:buFont typeface="Wingdings" pitchFamily="2" charset="2"/>
              <a:buNone/>
            </a:pPr>
            <a:endParaRPr lang="it-IT" sz="800" b="1" dirty="0" smtClean="0">
              <a:solidFill>
                <a:schemeClr val="tx2"/>
              </a:solidFill>
              <a:ea typeface="ＭＳ Ｐゴシック" pitchFamily="-28" charset="-128"/>
              <a:cs typeface="Calibri" pitchFamily="34" charset="0"/>
            </a:endParaRPr>
          </a:p>
          <a:p>
            <a:pPr>
              <a:buFont typeface="Wingdings" pitchFamily="2" charset="2"/>
              <a:buNone/>
            </a:pPr>
            <a:r>
              <a:rPr lang="it-IT" sz="2800" b="1" dirty="0" smtClean="0">
                <a:solidFill>
                  <a:schemeClr val="tx2"/>
                </a:solidFill>
                <a:ea typeface="ＭＳ Ｐゴシック" pitchFamily="-28" charset="-128"/>
                <a:cs typeface="Calibri" pitchFamily="34" charset="0"/>
              </a:rPr>
              <a:t>Mercato Finanziario  e Rapporto Banca Impresa in Romania </a:t>
            </a:r>
            <a:endParaRPr lang="it-IT" sz="2800" dirty="0">
              <a:solidFill>
                <a:schemeClr val="tx2"/>
              </a:solidFill>
              <a:ea typeface="ＭＳ Ｐゴシック" pitchFamily="-28" charset="-128"/>
              <a:cs typeface="Calibri" pitchFamily="34" charset="0"/>
            </a:endParaRPr>
          </a:p>
        </p:txBody>
      </p:sp>
      <p:sp>
        <p:nvSpPr>
          <p:cNvPr id="6" name="Rounded Rectangle 5"/>
          <p:cNvSpPr/>
          <p:nvPr/>
        </p:nvSpPr>
        <p:spPr>
          <a:xfrm>
            <a:off x="457200" y="2438400"/>
            <a:ext cx="8077200" cy="1066800"/>
          </a:xfrm>
          <a:prstGeom prst="roundRect">
            <a:avLst/>
          </a:prstGeom>
          <a:solidFill>
            <a:srgbClr val="FF0000">
              <a:alpha val="3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457200" y="1066800"/>
          <a:ext cx="8305800" cy="3962400"/>
        </p:xfrm>
        <a:graphic>
          <a:graphicData uri="http://schemas.openxmlformats.org/drawingml/2006/chart">
            <c:chart xmlns:c="http://schemas.openxmlformats.org/drawingml/2006/chart" xmlns:r="http://schemas.openxmlformats.org/officeDocument/2006/relationships" r:id="rId2"/>
          </a:graphicData>
        </a:graphic>
      </p:graphicFrame>
      <p:sp>
        <p:nvSpPr>
          <p:cNvPr id="3" name="Content Placeholder 2"/>
          <p:cNvSpPr txBox="1">
            <a:spLocks/>
          </p:cNvSpPr>
          <p:nvPr/>
        </p:nvSpPr>
        <p:spPr bwMode="auto">
          <a:xfrm>
            <a:off x="990600" y="5029200"/>
            <a:ext cx="6858000" cy="534987"/>
          </a:xfrm>
          <a:prstGeom prst="rect">
            <a:avLst/>
          </a:prstGeom>
          <a:noFill/>
          <a:ln w="9525">
            <a:noFill/>
            <a:miter lim="800000"/>
            <a:headEnd/>
            <a:tailEnd/>
          </a:ln>
        </p:spPr>
        <p:txBody>
          <a:bodyPr/>
          <a:lstStyle/>
          <a:p>
            <a:pPr marL="274320" lvl="1" indent="-274638" eaLnBrk="0" hangingPunct="0">
              <a:spcBef>
                <a:spcPct val="50000"/>
              </a:spcBef>
              <a:buClr>
                <a:srgbClr val="FD6917"/>
              </a:buClr>
              <a:buFont typeface="Wingdings" pitchFamily="2" charset="2"/>
              <a:buChar char="n"/>
              <a:defRPr/>
            </a:pPr>
            <a:r>
              <a:rPr lang="en-US" sz="1400" kern="0" dirty="0" smtClean="0">
                <a:latin typeface="+mn-lt"/>
                <a:ea typeface="+mn-ea"/>
                <a:cs typeface="ＭＳ Ｐゴシック"/>
              </a:rPr>
              <a:t>I </a:t>
            </a:r>
            <a:r>
              <a:rPr lang="en-US" sz="1400" kern="0" dirty="0" err="1" smtClean="0">
                <a:latin typeface="+mn-lt"/>
                <a:ea typeface="+mn-ea"/>
                <a:cs typeface="ＭＳ Ｐゴシック"/>
              </a:rPr>
              <a:t>tassi</a:t>
            </a:r>
            <a:r>
              <a:rPr lang="en-US" sz="1400" kern="0" dirty="0" smtClean="0">
                <a:latin typeface="+mn-lt"/>
                <a:ea typeface="+mn-ea"/>
                <a:cs typeface="ＭＳ Ｐゴシック"/>
              </a:rPr>
              <a:t> in Euro </a:t>
            </a:r>
            <a:r>
              <a:rPr lang="en-US" sz="1400" kern="0" dirty="0" err="1" smtClean="0">
                <a:latin typeface="+mn-lt"/>
                <a:ea typeface="+mn-ea"/>
                <a:cs typeface="ＭＳ Ｐゴシック"/>
              </a:rPr>
              <a:t>hanno</a:t>
            </a:r>
            <a:r>
              <a:rPr lang="en-US" sz="1400" kern="0" dirty="0" smtClean="0">
                <a:latin typeface="+mn-lt"/>
                <a:ea typeface="+mn-ea"/>
                <a:cs typeface="ＭＳ Ｐゴシック"/>
              </a:rPr>
              <a:t> </a:t>
            </a:r>
            <a:r>
              <a:rPr lang="en-US" sz="1400" kern="0" dirty="0" err="1" smtClean="0">
                <a:latin typeface="+mn-lt"/>
                <a:ea typeface="+mn-ea"/>
                <a:cs typeface="ＭＳ Ｐゴシック"/>
              </a:rPr>
              <a:t>mostrato</a:t>
            </a:r>
            <a:r>
              <a:rPr lang="en-US" sz="1400" kern="0" dirty="0" smtClean="0">
                <a:latin typeface="+mn-lt"/>
                <a:ea typeface="+mn-ea"/>
                <a:cs typeface="ＭＳ Ｐゴシック"/>
              </a:rPr>
              <a:t> </a:t>
            </a:r>
            <a:r>
              <a:rPr lang="en-US" sz="1400" kern="0" dirty="0" err="1" smtClean="0">
                <a:latin typeface="+mn-lt"/>
                <a:cs typeface="ＭＳ Ｐゴシック"/>
              </a:rPr>
              <a:t>una</a:t>
            </a:r>
            <a:r>
              <a:rPr lang="en-US" sz="1400" kern="0" dirty="0" smtClean="0">
                <a:latin typeface="+mn-lt"/>
                <a:cs typeface="ＭＳ Ｐゴシック"/>
              </a:rPr>
              <a:t> forte </a:t>
            </a:r>
            <a:r>
              <a:rPr lang="en-US" sz="1400" kern="0" dirty="0" err="1" smtClean="0">
                <a:latin typeface="+mn-lt"/>
                <a:cs typeface="ＭＳ Ｐゴシック"/>
              </a:rPr>
              <a:t>riduzione</a:t>
            </a:r>
            <a:r>
              <a:rPr lang="en-US" sz="1400" kern="0" dirty="0" smtClean="0">
                <a:latin typeface="+mn-lt"/>
                <a:cs typeface="ＭＳ Ｐゴシック"/>
              </a:rPr>
              <a:t> </a:t>
            </a:r>
            <a:r>
              <a:rPr lang="en-US" sz="1400" kern="0" dirty="0" err="1" smtClean="0">
                <a:latin typeface="+mn-lt"/>
                <a:cs typeface="ＭＳ Ｐゴシック"/>
              </a:rPr>
              <a:t>cosi</a:t>
            </a:r>
            <a:r>
              <a:rPr lang="en-US" sz="1400" kern="0" dirty="0" smtClean="0">
                <a:latin typeface="+mn-lt"/>
                <a:cs typeface="ＭＳ Ｐゴシック"/>
              </a:rPr>
              <a:t>` come la si e’ </a:t>
            </a:r>
            <a:r>
              <a:rPr lang="en-US" sz="1400" kern="0" dirty="0" err="1" smtClean="0">
                <a:latin typeface="+mn-lt"/>
                <a:cs typeface="ＭＳ Ｐゴシック"/>
              </a:rPr>
              <a:t>abbassata</a:t>
            </a:r>
            <a:r>
              <a:rPr lang="en-US" sz="1400" kern="0" dirty="0" smtClean="0">
                <a:latin typeface="+mn-lt"/>
                <a:cs typeface="ＭＳ Ｐゴシック"/>
              </a:rPr>
              <a:t> la </a:t>
            </a:r>
            <a:r>
              <a:rPr lang="en-US" sz="1400" kern="0" dirty="0" err="1" smtClean="0">
                <a:latin typeface="+mn-lt"/>
                <a:cs typeface="ＭＳ Ｐゴシック"/>
              </a:rPr>
              <a:t>percezione</a:t>
            </a:r>
            <a:r>
              <a:rPr lang="en-US" sz="1400" kern="0" dirty="0" smtClean="0">
                <a:latin typeface="+mn-lt"/>
                <a:cs typeface="ＭＳ Ｐゴシック"/>
              </a:rPr>
              <a:t> del </a:t>
            </a:r>
            <a:r>
              <a:rPr lang="en-US" sz="1400" kern="0" dirty="0" err="1" smtClean="0">
                <a:latin typeface="+mn-lt"/>
                <a:cs typeface="ＭＳ Ｐゴシック"/>
              </a:rPr>
              <a:t>rischio</a:t>
            </a:r>
            <a:r>
              <a:rPr lang="en-US" sz="1400" kern="0" dirty="0" smtClean="0">
                <a:latin typeface="+mn-lt"/>
                <a:cs typeface="ＭＳ Ｐゴシック"/>
              </a:rPr>
              <a:t> </a:t>
            </a:r>
            <a:r>
              <a:rPr lang="en-US" sz="1400" kern="0" dirty="0" err="1" smtClean="0">
                <a:latin typeface="+mn-lt"/>
                <a:cs typeface="ＭＳ Ｐゴシック"/>
              </a:rPr>
              <a:t>sovrano</a:t>
            </a:r>
            <a:r>
              <a:rPr lang="en-US" sz="1400" kern="0" dirty="0" smtClean="0">
                <a:latin typeface="+mn-lt"/>
                <a:ea typeface="+mn-ea"/>
                <a:cs typeface="ＭＳ Ｐゴシック"/>
              </a:rPr>
              <a:t> </a:t>
            </a:r>
            <a:endParaRPr lang="en-US" sz="1400" kern="0" dirty="0">
              <a:latin typeface="+mn-lt"/>
              <a:ea typeface="+mn-ea"/>
              <a:cs typeface="ＭＳ Ｐゴシック"/>
            </a:endParaRPr>
          </a:p>
        </p:txBody>
      </p:sp>
      <p:sp>
        <p:nvSpPr>
          <p:cNvPr id="4" name="Text Box 2"/>
          <p:cNvSpPr txBox="1">
            <a:spLocks noChangeArrowheads="1"/>
          </p:cNvSpPr>
          <p:nvPr/>
        </p:nvSpPr>
        <p:spPr bwMode="auto">
          <a:xfrm>
            <a:off x="539750" y="44450"/>
            <a:ext cx="87550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dirty="0" smtClean="0"/>
              <a:t>Evoluzione tassi di interesse </a:t>
            </a:r>
            <a:endParaRPr lang="sk-SK" sz="2400" b="1" dirty="0"/>
          </a:p>
        </p:txBody>
      </p:sp>
      <p:sp>
        <p:nvSpPr>
          <p:cNvPr id="5" name="TextBox 4"/>
          <p:cNvSpPr txBox="1"/>
          <p:nvPr/>
        </p:nvSpPr>
        <p:spPr>
          <a:xfrm>
            <a:off x="838200" y="5791200"/>
            <a:ext cx="1120820" cy="307777"/>
          </a:xfrm>
          <a:prstGeom prst="rect">
            <a:avLst/>
          </a:prstGeom>
          <a:noFill/>
        </p:spPr>
        <p:txBody>
          <a:bodyPr wrap="none" rtlCol="0">
            <a:spAutoFit/>
          </a:bodyPr>
          <a:lstStyle/>
          <a:p>
            <a:r>
              <a:rPr lang="en-US" sz="1400" dirty="0" err="1" smtClean="0"/>
              <a:t>Fonte</a:t>
            </a:r>
            <a:r>
              <a:rPr lang="en-US" sz="1400" dirty="0" smtClean="0"/>
              <a:t>: NBR</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152400" y="838200"/>
          <a:ext cx="8880377" cy="4419600"/>
        </p:xfrm>
        <a:graphic>
          <a:graphicData uri="http://schemas.openxmlformats.org/drawingml/2006/chart">
            <c:chart xmlns:c="http://schemas.openxmlformats.org/drawingml/2006/chart" xmlns:r="http://schemas.openxmlformats.org/officeDocument/2006/relationships" r:id="rId2"/>
          </a:graphicData>
        </a:graphic>
      </p:graphicFrame>
      <p:sp>
        <p:nvSpPr>
          <p:cNvPr id="3" name="Content Placeholder 2"/>
          <p:cNvSpPr txBox="1">
            <a:spLocks/>
          </p:cNvSpPr>
          <p:nvPr/>
        </p:nvSpPr>
        <p:spPr>
          <a:xfrm>
            <a:off x="685800" y="5334000"/>
            <a:ext cx="7620000" cy="533401"/>
          </a:xfrm>
          <a:prstGeom prst="rect">
            <a:avLst/>
          </a:prstGeom>
        </p:spPr>
        <p:txBody>
          <a:bodyPr/>
          <a:lstStyle/>
          <a:p>
            <a:pPr marL="182563" marR="0" lvl="1" indent="-285750" algn="l" defTabSz="914400" rtl="0" eaLnBrk="0" fontAlgn="base" latinLnBrk="0" hangingPunct="0">
              <a:lnSpc>
                <a:spcPct val="100000"/>
              </a:lnSpc>
              <a:spcBef>
                <a:spcPct val="20000"/>
              </a:spcBef>
              <a:spcAft>
                <a:spcPct val="0"/>
              </a:spcAft>
              <a:buClrTx/>
              <a:buSzTx/>
              <a:tabLst/>
              <a:defRPr/>
            </a:pPr>
            <a:r>
              <a:rPr kumimoji="0" lang="en-US" sz="1400" b="0" i="0" u="none" strike="noStrike" kern="0" cap="none" spc="0" normalizeH="0" baseline="0" noProof="0" dirty="0" smtClean="0">
                <a:ln>
                  <a:noFill/>
                </a:ln>
                <a:solidFill>
                  <a:schemeClr val="tx1"/>
                </a:solidFill>
                <a:effectLst/>
                <a:uLnTx/>
                <a:uFillTx/>
                <a:latin typeface="+mn-lt"/>
                <a:cs typeface="+mn-cs"/>
              </a:rPr>
              <a:t>I </a:t>
            </a:r>
            <a:r>
              <a:rPr kumimoji="0" lang="en-US" sz="1400" b="0" i="0" u="none" strike="noStrike" kern="0" cap="none" spc="0" normalizeH="0" baseline="0" noProof="0" dirty="0" err="1" smtClean="0">
                <a:ln>
                  <a:noFill/>
                </a:ln>
                <a:solidFill>
                  <a:schemeClr val="tx1"/>
                </a:solidFill>
                <a:effectLst/>
                <a:uLnTx/>
                <a:uFillTx/>
                <a:latin typeface="+mn-lt"/>
                <a:cs typeface="+mn-cs"/>
              </a:rPr>
              <a:t>tassi</a:t>
            </a:r>
            <a:r>
              <a:rPr kumimoji="0" lang="en-US" sz="1400" b="0" i="0" u="none" strike="noStrike" kern="0" cap="none" spc="0" normalizeH="0" baseline="0" noProof="0" dirty="0" smtClean="0">
                <a:ln>
                  <a:noFill/>
                </a:ln>
                <a:solidFill>
                  <a:schemeClr val="tx1"/>
                </a:solidFill>
                <a:effectLst/>
                <a:uLnTx/>
                <a:uFillTx/>
                <a:latin typeface="+mn-lt"/>
                <a:cs typeface="+mn-cs"/>
              </a:rPr>
              <a:t> </a:t>
            </a:r>
            <a:r>
              <a:rPr lang="en-US" sz="1400" kern="0" dirty="0" err="1" smtClean="0">
                <a:latin typeface="+mn-lt"/>
                <a:cs typeface="+mn-cs"/>
              </a:rPr>
              <a:t>di</a:t>
            </a:r>
            <a:r>
              <a:rPr lang="en-US" sz="1400" kern="0" dirty="0" smtClean="0">
                <a:latin typeface="+mn-lt"/>
                <a:cs typeface="+mn-cs"/>
              </a:rPr>
              <a:t> </a:t>
            </a:r>
            <a:r>
              <a:rPr lang="en-US" sz="1400" kern="0" dirty="0" err="1" smtClean="0">
                <a:latin typeface="+mn-lt"/>
                <a:cs typeface="+mn-cs"/>
              </a:rPr>
              <a:t>interesse</a:t>
            </a:r>
            <a:r>
              <a:rPr lang="en-US" sz="1400" kern="0" dirty="0" smtClean="0">
                <a:latin typeface="+mn-lt"/>
                <a:cs typeface="+mn-cs"/>
              </a:rPr>
              <a:t> in Ron </a:t>
            </a:r>
            <a:r>
              <a:rPr lang="en-US" sz="1400" kern="0" dirty="0" err="1" smtClean="0">
                <a:latin typeface="+mn-lt"/>
                <a:cs typeface="+mn-cs"/>
              </a:rPr>
              <a:t>hanno</a:t>
            </a:r>
            <a:r>
              <a:rPr lang="en-US" sz="1400" kern="0" dirty="0" smtClean="0">
                <a:latin typeface="+mn-lt"/>
                <a:cs typeface="+mn-cs"/>
              </a:rPr>
              <a:t> </a:t>
            </a:r>
            <a:r>
              <a:rPr lang="en-US" sz="1400" kern="0" dirty="0" err="1" smtClean="0">
                <a:latin typeface="+mn-lt"/>
                <a:cs typeface="+mn-cs"/>
              </a:rPr>
              <a:t>mostrato</a:t>
            </a:r>
            <a:r>
              <a:rPr lang="en-US" sz="1400" kern="0" dirty="0" smtClean="0">
                <a:latin typeface="+mn-lt"/>
                <a:cs typeface="+mn-cs"/>
              </a:rPr>
              <a:t> solo </a:t>
            </a:r>
            <a:r>
              <a:rPr lang="en-US" sz="1400" kern="0" dirty="0" err="1" smtClean="0">
                <a:latin typeface="+mn-lt"/>
                <a:cs typeface="+mn-cs"/>
              </a:rPr>
              <a:t>di</a:t>
            </a:r>
            <a:r>
              <a:rPr lang="en-US" sz="1400" kern="0" dirty="0" smtClean="0">
                <a:latin typeface="+mn-lt"/>
                <a:cs typeface="+mn-cs"/>
              </a:rPr>
              <a:t> </a:t>
            </a:r>
            <a:r>
              <a:rPr lang="en-US" sz="1400" kern="0" dirty="0" err="1" smtClean="0">
                <a:latin typeface="+mn-lt"/>
                <a:cs typeface="+mn-cs"/>
              </a:rPr>
              <a:t>recente</a:t>
            </a:r>
            <a:r>
              <a:rPr lang="en-US" sz="1400" kern="0" dirty="0" smtClean="0">
                <a:latin typeface="+mn-lt"/>
                <a:cs typeface="+mn-cs"/>
              </a:rPr>
              <a:t> </a:t>
            </a:r>
            <a:r>
              <a:rPr lang="en-US" sz="1400" kern="0" dirty="0" err="1" smtClean="0">
                <a:latin typeface="+mn-lt"/>
                <a:cs typeface="+mn-cs"/>
              </a:rPr>
              <a:t>qualche</a:t>
            </a:r>
            <a:r>
              <a:rPr lang="en-US" sz="1400" kern="0" dirty="0" smtClean="0">
                <a:latin typeface="+mn-lt"/>
                <a:cs typeface="+mn-cs"/>
              </a:rPr>
              <a:t> </a:t>
            </a:r>
            <a:r>
              <a:rPr lang="en-US" sz="1400" kern="0" dirty="0" err="1" smtClean="0">
                <a:latin typeface="+mn-lt"/>
                <a:cs typeface="+mn-cs"/>
              </a:rPr>
              <a:t>segnale</a:t>
            </a:r>
            <a:r>
              <a:rPr lang="en-US" sz="1400" kern="0" dirty="0" smtClean="0">
                <a:latin typeface="+mn-lt"/>
                <a:cs typeface="+mn-cs"/>
              </a:rPr>
              <a:t> </a:t>
            </a:r>
            <a:r>
              <a:rPr lang="en-US" sz="1400" kern="0" dirty="0" err="1" smtClean="0">
                <a:latin typeface="+mn-lt"/>
                <a:cs typeface="+mn-cs"/>
              </a:rPr>
              <a:t>di</a:t>
            </a:r>
            <a:r>
              <a:rPr lang="en-US" sz="1400" kern="0" dirty="0" smtClean="0">
                <a:latin typeface="+mn-lt"/>
                <a:cs typeface="+mn-cs"/>
              </a:rPr>
              <a:t> </a:t>
            </a:r>
            <a:r>
              <a:rPr lang="en-US" sz="1400" kern="0" dirty="0" err="1" smtClean="0">
                <a:latin typeface="+mn-lt"/>
                <a:cs typeface="+mn-cs"/>
              </a:rPr>
              <a:t>allentamento</a:t>
            </a:r>
            <a:r>
              <a:rPr lang="en-US" sz="1400" kern="0" dirty="0" smtClean="0">
                <a:latin typeface="+mn-lt"/>
                <a:cs typeface="+mn-cs"/>
              </a:rPr>
              <a:t>, ma le </a:t>
            </a:r>
            <a:r>
              <a:rPr lang="en-US" sz="1400" kern="0" dirty="0" err="1" smtClean="0">
                <a:latin typeface="+mn-lt"/>
                <a:cs typeface="+mn-cs"/>
              </a:rPr>
              <a:t>attese</a:t>
            </a:r>
            <a:r>
              <a:rPr lang="en-US" sz="1400" kern="0" dirty="0" smtClean="0">
                <a:latin typeface="+mn-lt"/>
                <a:cs typeface="+mn-cs"/>
              </a:rPr>
              <a:t> </a:t>
            </a:r>
            <a:r>
              <a:rPr lang="en-US" sz="1400" kern="0" dirty="0" err="1" smtClean="0">
                <a:latin typeface="+mn-lt"/>
                <a:cs typeface="+mn-cs"/>
              </a:rPr>
              <a:t>inflazionistiche</a:t>
            </a:r>
            <a:r>
              <a:rPr lang="en-US" sz="1400" kern="0" dirty="0" smtClean="0">
                <a:latin typeface="+mn-lt"/>
                <a:cs typeface="+mn-cs"/>
              </a:rPr>
              <a:t>, </a:t>
            </a:r>
            <a:r>
              <a:rPr lang="en-US" sz="1400" kern="0" dirty="0" err="1" smtClean="0">
                <a:latin typeface="+mn-lt"/>
                <a:cs typeface="+mn-cs"/>
              </a:rPr>
              <a:t>possono</a:t>
            </a:r>
            <a:r>
              <a:rPr lang="en-US" sz="1400" kern="0" dirty="0" smtClean="0">
                <a:latin typeface="+mn-lt"/>
                <a:cs typeface="+mn-cs"/>
              </a:rPr>
              <a:t> </a:t>
            </a:r>
            <a:r>
              <a:rPr lang="en-US" sz="1400" kern="0" dirty="0" err="1" smtClean="0">
                <a:latin typeface="+mn-lt"/>
                <a:cs typeface="+mn-cs"/>
              </a:rPr>
              <a:t>invertire</a:t>
            </a:r>
            <a:r>
              <a:rPr lang="en-US" sz="1400" kern="0" dirty="0" smtClean="0">
                <a:latin typeface="+mn-lt"/>
                <a:cs typeface="+mn-cs"/>
              </a:rPr>
              <a:t> </a:t>
            </a:r>
            <a:r>
              <a:rPr lang="en-US" sz="1400" kern="0" dirty="0" err="1" smtClean="0">
                <a:latin typeface="+mn-lt"/>
                <a:cs typeface="+mn-cs"/>
              </a:rPr>
              <a:t>itale</a:t>
            </a:r>
            <a:r>
              <a:rPr lang="en-US" sz="1400" kern="0" dirty="0" smtClean="0">
                <a:latin typeface="+mn-lt"/>
                <a:cs typeface="+mn-cs"/>
              </a:rPr>
              <a:t> </a:t>
            </a:r>
            <a:r>
              <a:rPr lang="en-US" sz="1400" kern="0" dirty="0" err="1" smtClean="0">
                <a:latin typeface="+mn-lt"/>
                <a:cs typeface="+mn-cs"/>
              </a:rPr>
              <a:t>dinamica</a:t>
            </a:r>
            <a:endParaRPr kumimoji="0" lang="en-US" sz="1400" b="0" i="0" u="none" strike="noStrike" kern="0" cap="none" spc="0" normalizeH="0" baseline="0" noProof="0" dirty="0" smtClean="0">
              <a:ln>
                <a:noFill/>
              </a:ln>
              <a:solidFill>
                <a:schemeClr val="tx1"/>
              </a:solidFill>
              <a:effectLst/>
              <a:uLnTx/>
              <a:uFillTx/>
              <a:latin typeface="+mn-lt"/>
              <a:cs typeface="+mn-cs"/>
            </a:endParaRPr>
          </a:p>
        </p:txBody>
      </p:sp>
      <p:sp>
        <p:nvSpPr>
          <p:cNvPr id="4" name="Text Box 2"/>
          <p:cNvSpPr txBox="1">
            <a:spLocks noChangeArrowheads="1"/>
          </p:cNvSpPr>
          <p:nvPr/>
        </p:nvSpPr>
        <p:spPr bwMode="auto">
          <a:xfrm>
            <a:off x="539751" y="152400"/>
            <a:ext cx="5099049" cy="60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dirty="0" smtClean="0"/>
              <a:t>Evoluzione tassi di interesse </a:t>
            </a:r>
            <a:endParaRPr lang="sk-SK" sz="2400" b="1" dirty="0"/>
          </a:p>
        </p:txBody>
      </p:sp>
      <p:sp>
        <p:nvSpPr>
          <p:cNvPr id="5" name="TextBox 4"/>
          <p:cNvSpPr txBox="1"/>
          <p:nvPr/>
        </p:nvSpPr>
        <p:spPr>
          <a:xfrm>
            <a:off x="381000" y="6019800"/>
            <a:ext cx="1120820" cy="307777"/>
          </a:xfrm>
          <a:prstGeom prst="rect">
            <a:avLst/>
          </a:prstGeom>
          <a:noFill/>
        </p:spPr>
        <p:txBody>
          <a:bodyPr wrap="none" rtlCol="0">
            <a:spAutoFit/>
          </a:bodyPr>
          <a:lstStyle/>
          <a:p>
            <a:r>
              <a:rPr lang="en-US" sz="1400" dirty="0" err="1" smtClean="0"/>
              <a:t>Fonte</a:t>
            </a:r>
            <a:r>
              <a:rPr lang="en-US" sz="1400" dirty="0" smtClean="0"/>
              <a:t>: NBR</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457200" y="685800"/>
          <a:ext cx="8458200" cy="525780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838200" y="5791200"/>
            <a:ext cx="1120820" cy="307777"/>
          </a:xfrm>
          <a:prstGeom prst="rect">
            <a:avLst/>
          </a:prstGeom>
          <a:noFill/>
        </p:spPr>
        <p:txBody>
          <a:bodyPr wrap="none" rtlCol="0">
            <a:spAutoFit/>
          </a:bodyPr>
          <a:lstStyle/>
          <a:p>
            <a:r>
              <a:rPr lang="en-US" sz="1400" dirty="0" err="1" smtClean="0"/>
              <a:t>Fonte</a:t>
            </a:r>
            <a:r>
              <a:rPr lang="en-US" sz="1400" dirty="0" smtClean="0"/>
              <a:t>: NBR</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nvGraphicFramePr>
        <p:xfrm>
          <a:off x="457200" y="304800"/>
          <a:ext cx="8458200" cy="57150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838200" y="5791200"/>
            <a:ext cx="1120820" cy="307777"/>
          </a:xfrm>
          <a:prstGeom prst="rect">
            <a:avLst/>
          </a:prstGeom>
          <a:noFill/>
        </p:spPr>
        <p:txBody>
          <a:bodyPr wrap="none" rtlCol="0">
            <a:spAutoFit/>
          </a:bodyPr>
          <a:lstStyle/>
          <a:p>
            <a:r>
              <a:rPr lang="en-US" sz="1400" dirty="0" err="1" smtClean="0"/>
              <a:t>Fonte</a:t>
            </a:r>
            <a:r>
              <a:rPr lang="en-US" sz="1400" dirty="0" smtClean="0"/>
              <a:t>: NBR</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152400" y="838200"/>
          <a:ext cx="8534400" cy="52578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Box 2"/>
          <p:cNvSpPr txBox="1">
            <a:spLocks noChangeArrowheads="1"/>
          </p:cNvSpPr>
          <p:nvPr/>
        </p:nvSpPr>
        <p:spPr bwMode="auto">
          <a:xfrm>
            <a:off x="539750" y="44450"/>
            <a:ext cx="87550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dirty="0" smtClean="0"/>
              <a:t>Evoluzione cambio</a:t>
            </a:r>
          </a:p>
          <a:p>
            <a:pPr eaLnBrk="1" hangingPunct="1">
              <a:buClr>
                <a:srgbClr val="000000"/>
              </a:buClr>
              <a:buFont typeface="Times New Roman" pitchFamily="18" charset="0"/>
              <a:buNone/>
            </a:pPr>
            <a:r>
              <a:rPr lang="it-IT" sz="2400" b="1" dirty="0" smtClean="0"/>
              <a:t> </a:t>
            </a:r>
            <a:endParaRPr lang="sk-SK" sz="2400" b="1" dirty="0"/>
          </a:p>
        </p:txBody>
      </p:sp>
      <p:sp>
        <p:nvSpPr>
          <p:cNvPr id="5" name="TextBox 4"/>
          <p:cNvSpPr txBox="1"/>
          <p:nvPr/>
        </p:nvSpPr>
        <p:spPr>
          <a:xfrm>
            <a:off x="838200" y="5791200"/>
            <a:ext cx="1120820" cy="307777"/>
          </a:xfrm>
          <a:prstGeom prst="rect">
            <a:avLst/>
          </a:prstGeom>
          <a:noFill/>
        </p:spPr>
        <p:txBody>
          <a:bodyPr wrap="none" rtlCol="0">
            <a:spAutoFit/>
          </a:bodyPr>
          <a:lstStyle/>
          <a:p>
            <a:r>
              <a:rPr lang="en-US" sz="1400" dirty="0" err="1" smtClean="0"/>
              <a:t>Fonte</a:t>
            </a:r>
            <a:r>
              <a:rPr lang="en-US" sz="1400" dirty="0" smtClean="0"/>
              <a:t>: NBR</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381000" y="1143000"/>
          <a:ext cx="8610600" cy="464820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 Box 2"/>
          <p:cNvSpPr txBox="1">
            <a:spLocks noChangeArrowheads="1"/>
          </p:cNvSpPr>
          <p:nvPr/>
        </p:nvSpPr>
        <p:spPr bwMode="auto">
          <a:xfrm>
            <a:off x="388937" y="228600"/>
            <a:ext cx="87550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dirty="0" smtClean="0"/>
              <a:t>Evoluzione rischio creditizio</a:t>
            </a:r>
          </a:p>
          <a:p>
            <a:pPr eaLnBrk="1" hangingPunct="1">
              <a:buClr>
                <a:srgbClr val="000000"/>
              </a:buClr>
              <a:buFont typeface="Times New Roman" pitchFamily="18" charset="0"/>
              <a:buNone/>
            </a:pPr>
            <a:r>
              <a:rPr lang="it-IT" sz="2400" b="1" dirty="0" smtClean="0"/>
              <a:t> </a:t>
            </a:r>
            <a:endParaRPr lang="sk-SK" sz="2400" b="1" dirty="0"/>
          </a:p>
        </p:txBody>
      </p:sp>
      <p:sp>
        <p:nvSpPr>
          <p:cNvPr id="4" name="TextBox 3"/>
          <p:cNvSpPr txBox="1"/>
          <p:nvPr/>
        </p:nvSpPr>
        <p:spPr>
          <a:xfrm>
            <a:off x="838200" y="5791200"/>
            <a:ext cx="1120820" cy="307777"/>
          </a:xfrm>
          <a:prstGeom prst="rect">
            <a:avLst/>
          </a:prstGeom>
          <a:noFill/>
        </p:spPr>
        <p:txBody>
          <a:bodyPr wrap="none" rtlCol="0">
            <a:spAutoFit/>
          </a:bodyPr>
          <a:lstStyle/>
          <a:p>
            <a:r>
              <a:rPr lang="en-US" sz="1400" dirty="0" err="1" smtClean="0"/>
              <a:t>Fonte</a:t>
            </a:r>
            <a:r>
              <a:rPr lang="en-US" sz="1400" dirty="0" smtClean="0"/>
              <a:t>: NBR</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990599" y="1828800"/>
          <a:ext cx="7467600" cy="3270250"/>
        </p:xfrm>
        <a:graphic>
          <a:graphicData uri="http://schemas.openxmlformats.org/drawingml/2006/table">
            <a:tbl>
              <a:tblPr/>
              <a:tblGrid>
                <a:gridCol w="2667001"/>
                <a:gridCol w="2636023"/>
                <a:gridCol w="2164576"/>
              </a:tblGrid>
              <a:tr h="0">
                <a:tc>
                  <a:txBody>
                    <a:bodyPr/>
                    <a:lstStyle/>
                    <a:p>
                      <a:pPr marL="0" marR="0">
                        <a:lnSpc>
                          <a:spcPts val="1000"/>
                        </a:lnSpc>
                        <a:spcBef>
                          <a:spcPts val="0"/>
                        </a:spcBef>
                        <a:spcAft>
                          <a:spcPts val="0"/>
                        </a:spcAft>
                      </a:pPr>
                      <a:endParaRPr lang="en-GB" sz="800" b="1" dirty="0" smtClean="0">
                        <a:solidFill>
                          <a:srgbClr val="006991"/>
                        </a:solidFill>
                        <a:latin typeface="FrutigerLight"/>
                        <a:ea typeface="Times New Roman"/>
                        <a:cs typeface="Times New Roman"/>
                      </a:endParaRPr>
                    </a:p>
                    <a:p>
                      <a:pPr marL="0" marR="0">
                        <a:lnSpc>
                          <a:spcPts val="1000"/>
                        </a:lnSpc>
                        <a:spcBef>
                          <a:spcPts val="0"/>
                        </a:spcBef>
                        <a:spcAft>
                          <a:spcPts val="0"/>
                        </a:spcAft>
                      </a:pPr>
                      <a:endParaRPr lang="en-GB" sz="800" b="1" dirty="0" smtClean="0">
                        <a:solidFill>
                          <a:srgbClr val="006991"/>
                        </a:solidFill>
                        <a:latin typeface="FrutigerLight"/>
                        <a:ea typeface="Times New Roman"/>
                        <a:cs typeface="Times New Roman"/>
                      </a:endParaRPr>
                    </a:p>
                    <a:p>
                      <a:pPr marL="0" marR="0">
                        <a:lnSpc>
                          <a:spcPts val="1000"/>
                        </a:lnSpc>
                        <a:spcBef>
                          <a:spcPts val="0"/>
                        </a:spcBef>
                        <a:spcAft>
                          <a:spcPts val="0"/>
                        </a:spcAft>
                      </a:pPr>
                      <a:r>
                        <a:rPr lang="en-GB" sz="1800" b="1" baseline="0" dirty="0" smtClean="0">
                          <a:solidFill>
                            <a:srgbClr val="006991"/>
                          </a:solidFill>
                          <a:latin typeface="FrutigerLight"/>
                          <a:ea typeface="Times New Roman"/>
                          <a:cs typeface="Times New Roman"/>
                        </a:rPr>
                        <a:t> </a:t>
                      </a:r>
                    </a:p>
                    <a:p>
                      <a:pPr marL="0" marR="0">
                        <a:lnSpc>
                          <a:spcPts val="1000"/>
                        </a:lnSpc>
                        <a:spcBef>
                          <a:spcPts val="0"/>
                        </a:spcBef>
                        <a:spcAft>
                          <a:spcPts val="0"/>
                        </a:spcAft>
                      </a:pPr>
                      <a:endParaRPr lang="en-GB" sz="1800" b="1" baseline="0" dirty="0" smtClean="0">
                        <a:solidFill>
                          <a:srgbClr val="006991"/>
                        </a:solidFill>
                        <a:latin typeface="FrutigerLight"/>
                        <a:ea typeface="Times New Roman"/>
                        <a:cs typeface="Times New Roman"/>
                      </a:endParaRPr>
                    </a:p>
                    <a:p>
                      <a:pPr marL="0" marR="0">
                        <a:lnSpc>
                          <a:spcPts val="1000"/>
                        </a:lnSpc>
                        <a:spcBef>
                          <a:spcPts val="0"/>
                        </a:spcBef>
                        <a:spcAft>
                          <a:spcPts val="0"/>
                        </a:spcAft>
                      </a:pPr>
                      <a:endParaRPr lang="en-GB" sz="1800" b="1" baseline="0" dirty="0" smtClean="0">
                        <a:solidFill>
                          <a:srgbClr val="006991"/>
                        </a:solidFill>
                        <a:latin typeface="FrutigerLight"/>
                        <a:ea typeface="Times New Roman"/>
                        <a:cs typeface="Times New Roman"/>
                      </a:endParaRPr>
                    </a:p>
                    <a:p>
                      <a:pPr marL="0" marR="0">
                        <a:lnSpc>
                          <a:spcPts val="1000"/>
                        </a:lnSpc>
                        <a:spcBef>
                          <a:spcPts val="0"/>
                        </a:spcBef>
                        <a:spcAft>
                          <a:spcPts val="0"/>
                        </a:spcAft>
                      </a:pPr>
                      <a:endParaRPr lang="en-GB" sz="1800" b="1" baseline="0" dirty="0" smtClean="0">
                        <a:solidFill>
                          <a:srgbClr val="006991"/>
                        </a:solidFill>
                        <a:latin typeface="FrutigerLight"/>
                        <a:ea typeface="Times New Roman"/>
                        <a:cs typeface="Times New Roman"/>
                      </a:endParaRPr>
                    </a:p>
                    <a:p>
                      <a:pPr marL="0" marR="0">
                        <a:lnSpc>
                          <a:spcPts val="1000"/>
                        </a:lnSpc>
                        <a:spcBef>
                          <a:spcPts val="0"/>
                        </a:spcBef>
                        <a:spcAft>
                          <a:spcPts val="0"/>
                        </a:spcAft>
                      </a:pPr>
                      <a:endParaRPr lang="en-GB" sz="1800" b="1" dirty="0">
                        <a:solidFill>
                          <a:srgbClr val="006991"/>
                        </a:solidFill>
                        <a:latin typeface="FrutigerLight"/>
                        <a:ea typeface="Times New Roman"/>
                        <a:cs typeface="Times New Roman"/>
                      </a:endParaRPr>
                    </a:p>
                  </a:txBody>
                  <a:tcPr marL="0" marR="0" marT="0" marB="0" anchor="ctr">
                    <a:lnL>
                      <a:noFill/>
                    </a:lnL>
                    <a:lnR>
                      <a:noFill/>
                    </a:lnR>
                    <a:lnT>
                      <a:noFill/>
                    </a:lnT>
                    <a:lnB w="12700" cap="flat" cmpd="sng" algn="ctr">
                      <a:solidFill>
                        <a:srgbClr val="82A0B4"/>
                      </a:solidFill>
                      <a:prstDash val="solid"/>
                      <a:round/>
                      <a:headEnd type="none" w="med" len="med"/>
                      <a:tailEnd type="none" w="med" len="med"/>
                    </a:lnB>
                  </a:tcPr>
                </a:tc>
                <a:tc>
                  <a:txBody>
                    <a:bodyPr/>
                    <a:lstStyle/>
                    <a:p>
                      <a:pPr marL="0" marR="10795" algn="r">
                        <a:lnSpc>
                          <a:spcPct val="150000"/>
                        </a:lnSpc>
                        <a:spcBef>
                          <a:spcPts val="0"/>
                        </a:spcBef>
                        <a:spcAft>
                          <a:spcPts val="0"/>
                        </a:spcAft>
                      </a:pPr>
                      <a:r>
                        <a:rPr lang="en-GB" sz="1800" b="1" dirty="0">
                          <a:solidFill>
                            <a:srgbClr val="006991"/>
                          </a:solidFill>
                          <a:latin typeface="FrutigerLight"/>
                          <a:ea typeface="Times New Roman"/>
                          <a:cs typeface="Times New Roman"/>
                        </a:rPr>
                        <a:t>Ultimo</a:t>
                      </a:r>
                      <a:endParaRPr lang="en-US" sz="1800" b="1" dirty="0">
                        <a:solidFill>
                          <a:srgbClr val="006991"/>
                        </a:solidFill>
                        <a:latin typeface="FrutigerLight"/>
                        <a:ea typeface="Times New Roman"/>
                        <a:cs typeface="Times New Roman"/>
                      </a:endParaRPr>
                    </a:p>
                  </a:txBody>
                  <a:tcPr marL="0" marR="0" marT="0" marB="0" anchor="ctr">
                    <a:lnL>
                      <a:noFill/>
                    </a:lnL>
                    <a:lnR>
                      <a:noFill/>
                    </a:lnR>
                    <a:lnT>
                      <a:noFill/>
                    </a:lnT>
                    <a:lnB w="12700" cap="flat" cmpd="sng" algn="ctr">
                      <a:solidFill>
                        <a:srgbClr val="82A0B4"/>
                      </a:solidFill>
                      <a:prstDash val="solid"/>
                      <a:round/>
                      <a:headEnd type="none" w="med" len="med"/>
                      <a:tailEnd type="none" w="med" len="med"/>
                    </a:lnB>
                  </a:tcPr>
                </a:tc>
                <a:tc>
                  <a:txBody>
                    <a:bodyPr/>
                    <a:lstStyle/>
                    <a:p>
                      <a:pPr marL="0" marR="10795" algn="r">
                        <a:lnSpc>
                          <a:spcPct val="150000"/>
                        </a:lnSpc>
                        <a:spcBef>
                          <a:spcPts val="0"/>
                        </a:spcBef>
                        <a:spcAft>
                          <a:spcPts val="0"/>
                        </a:spcAft>
                      </a:pPr>
                      <a:r>
                        <a:rPr lang="en-GB" sz="1800" b="1" dirty="0" err="1">
                          <a:solidFill>
                            <a:srgbClr val="006991"/>
                          </a:solidFill>
                          <a:latin typeface="FrutigerLight"/>
                          <a:ea typeface="Times New Roman"/>
                          <a:cs typeface="Times New Roman"/>
                        </a:rPr>
                        <a:t>Precedente</a:t>
                      </a:r>
                      <a:endParaRPr lang="en-US" sz="1800" b="1" dirty="0">
                        <a:solidFill>
                          <a:srgbClr val="006991"/>
                        </a:solidFill>
                        <a:latin typeface="FrutigerLight"/>
                        <a:ea typeface="Times New Roman"/>
                        <a:cs typeface="Times New Roman"/>
                      </a:endParaRPr>
                    </a:p>
                  </a:txBody>
                  <a:tcPr marL="0" marR="0" marT="0" marB="0" anchor="ctr">
                    <a:lnL>
                      <a:noFill/>
                    </a:lnL>
                    <a:lnR>
                      <a:noFill/>
                    </a:lnR>
                    <a:lnT>
                      <a:noFill/>
                    </a:lnT>
                    <a:lnB w="12700" cap="flat" cmpd="sng" algn="ctr">
                      <a:solidFill>
                        <a:srgbClr val="82A0B4"/>
                      </a:solidFill>
                      <a:prstDash val="solid"/>
                      <a:round/>
                      <a:headEnd type="none" w="med" len="med"/>
                      <a:tailEnd type="none" w="med" len="med"/>
                    </a:lnB>
                  </a:tcPr>
                </a:tc>
              </a:tr>
              <a:tr h="476250">
                <a:tc>
                  <a:txBody>
                    <a:bodyPr/>
                    <a:lstStyle/>
                    <a:p>
                      <a:pPr marL="0" marR="0">
                        <a:lnSpc>
                          <a:spcPts val="1000"/>
                        </a:lnSpc>
                        <a:spcBef>
                          <a:spcPts val="0"/>
                        </a:spcBef>
                        <a:spcAft>
                          <a:spcPts val="0"/>
                        </a:spcAft>
                      </a:pPr>
                      <a:r>
                        <a:rPr lang="it-IT" sz="1800" smtClean="0">
                          <a:solidFill>
                            <a:srgbClr val="006991"/>
                          </a:solidFill>
                          <a:latin typeface="FrutigerLight"/>
                          <a:ea typeface="Times New Roman"/>
                          <a:cs typeface="Times New Roman"/>
                        </a:rPr>
                        <a:t>CDS</a:t>
                      </a:r>
                      <a:endParaRPr lang="en-US" sz="1800" smtClean="0">
                        <a:solidFill>
                          <a:srgbClr val="006991"/>
                        </a:solidFill>
                        <a:latin typeface="FrutigerLight"/>
                        <a:ea typeface="Times New Roman"/>
                        <a:cs typeface="Times New Roman"/>
                      </a:endParaRPr>
                    </a:p>
                    <a:p>
                      <a:pPr marL="0" marR="0">
                        <a:lnSpc>
                          <a:spcPts val="1000"/>
                        </a:lnSpc>
                        <a:spcBef>
                          <a:spcPts val="0"/>
                        </a:spcBef>
                        <a:spcAft>
                          <a:spcPts val="0"/>
                        </a:spcAft>
                      </a:pPr>
                      <a:endParaRPr lang="en-US" sz="1800" smtClean="0">
                        <a:solidFill>
                          <a:srgbClr val="006991"/>
                        </a:solidFill>
                        <a:latin typeface="FrutigerLight"/>
                        <a:ea typeface="Times New Roman"/>
                        <a:cs typeface="Times New Roman"/>
                      </a:endParaRPr>
                    </a:p>
                  </a:txBody>
                  <a:tcPr marL="0" marR="0" marT="0" marB="0" anchor="ctr">
                    <a:lnL>
                      <a:noFill/>
                    </a:lnL>
                    <a:lnR>
                      <a:noFill/>
                    </a:lnR>
                    <a:lnT w="12700" cap="flat" cmpd="sng" algn="ctr">
                      <a:solidFill>
                        <a:srgbClr val="82A0B4"/>
                      </a:solidFill>
                      <a:prstDash val="solid"/>
                      <a:round/>
                      <a:headEnd type="none" w="med" len="med"/>
                      <a:tailEnd type="none" w="med" len="med"/>
                    </a:lnT>
                    <a:lnB>
                      <a:noFill/>
                    </a:lnB>
                  </a:tcPr>
                </a:tc>
                <a:tc>
                  <a:txBody>
                    <a:bodyPr/>
                    <a:lstStyle/>
                    <a:p>
                      <a:pPr marL="0" marR="10795" algn="r">
                        <a:lnSpc>
                          <a:spcPts val="1000"/>
                        </a:lnSpc>
                        <a:spcBef>
                          <a:spcPts val="0"/>
                        </a:spcBef>
                        <a:spcAft>
                          <a:spcPts val="0"/>
                        </a:spcAft>
                      </a:pPr>
                      <a:r>
                        <a:rPr lang="en-GB" sz="1800" dirty="0">
                          <a:latin typeface="FrutigerLight"/>
                          <a:ea typeface="Times New Roman"/>
                          <a:cs typeface="Times New Roman"/>
                        </a:rPr>
                        <a:t>258 </a:t>
                      </a:r>
                      <a:r>
                        <a:rPr lang="en-GB" sz="1800" dirty="0" err="1">
                          <a:latin typeface="FrutigerLight"/>
                          <a:ea typeface="Times New Roman"/>
                          <a:cs typeface="Times New Roman"/>
                        </a:rPr>
                        <a:t>pb</a:t>
                      </a:r>
                      <a:r>
                        <a:rPr lang="en-GB" sz="1800" dirty="0">
                          <a:latin typeface="FrutigerLight"/>
                          <a:ea typeface="Times New Roman"/>
                          <a:cs typeface="Times New Roman"/>
                        </a:rPr>
                        <a:t> (media </a:t>
                      </a:r>
                      <a:r>
                        <a:rPr lang="en-GB" sz="1800" dirty="0" err="1">
                          <a:latin typeface="FrutigerLight"/>
                          <a:ea typeface="Times New Roman"/>
                          <a:cs typeface="Times New Roman"/>
                        </a:rPr>
                        <a:t>ottobre</a:t>
                      </a:r>
                      <a:r>
                        <a:rPr lang="en-GB" sz="1800" dirty="0">
                          <a:latin typeface="FrutigerLight"/>
                          <a:ea typeface="Times New Roman"/>
                          <a:cs typeface="Times New Roman"/>
                        </a:rPr>
                        <a:t>)</a:t>
                      </a:r>
                      <a:endParaRPr lang="en-US" sz="1800" dirty="0">
                        <a:latin typeface="FrutigerLight"/>
                        <a:ea typeface="Times New Roman"/>
                        <a:cs typeface="Times New Roman"/>
                      </a:endParaRPr>
                    </a:p>
                  </a:txBody>
                  <a:tcPr marL="0" marR="0" marT="0" marB="0" anchor="ctr">
                    <a:lnL>
                      <a:noFill/>
                    </a:lnL>
                    <a:lnR>
                      <a:noFill/>
                    </a:lnR>
                    <a:lnT w="12700" cap="flat" cmpd="sng" algn="ctr">
                      <a:solidFill>
                        <a:srgbClr val="82A0B4"/>
                      </a:solidFill>
                      <a:prstDash val="solid"/>
                      <a:round/>
                      <a:headEnd type="none" w="med" len="med"/>
                      <a:tailEnd type="none" w="med" len="med"/>
                    </a:lnT>
                    <a:lnB>
                      <a:noFill/>
                    </a:lnB>
                  </a:tcPr>
                </a:tc>
                <a:tc>
                  <a:txBody>
                    <a:bodyPr/>
                    <a:lstStyle/>
                    <a:p>
                      <a:pPr marL="0" marR="10795" algn="r">
                        <a:lnSpc>
                          <a:spcPts val="1000"/>
                        </a:lnSpc>
                        <a:spcBef>
                          <a:spcPts val="0"/>
                        </a:spcBef>
                        <a:spcAft>
                          <a:spcPts val="0"/>
                        </a:spcAft>
                      </a:pPr>
                      <a:r>
                        <a:rPr lang="en-GB" sz="1800">
                          <a:latin typeface="FrutigerLight"/>
                          <a:ea typeface="Times New Roman"/>
                          <a:cs typeface="Times New Roman"/>
                        </a:rPr>
                        <a:t>297 pb (aprile 2012)</a:t>
                      </a:r>
                      <a:endParaRPr lang="en-US" sz="1800">
                        <a:latin typeface="FrutigerLight"/>
                        <a:ea typeface="Times New Roman"/>
                        <a:cs typeface="Times New Roman"/>
                      </a:endParaRPr>
                    </a:p>
                  </a:txBody>
                  <a:tcPr marL="0" marR="0" marT="0" marB="0" anchor="ctr">
                    <a:lnL>
                      <a:noFill/>
                    </a:lnL>
                    <a:lnR>
                      <a:noFill/>
                    </a:lnR>
                    <a:lnT w="12700" cap="flat" cmpd="sng" algn="ctr">
                      <a:solidFill>
                        <a:srgbClr val="82A0B4"/>
                      </a:solidFill>
                      <a:prstDash val="solid"/>
                      <a:round/>
                      <a:headEnd type="none" w="med" len="med"/>
                      <a:tailEnd type="none" w="med" len="med"/>
                    </a:lnT>
                    <a:lnB>
                      <a:noFill/>
                    </a:lnB>
                  </a:tcPr>
                </a:tc>
              </a:tr>
              <a:tr h="476250">
                <a:tc>
                  <a:txBody>
                    <a:bodyPr/>
                    <a:lstStyle/>
                    <a:p>
                      <a:pPr marL="0" marR="0">
                        <a:lnSpc>
                          <a:spcPts val="1000"/>
                        </a:lnSpc>
                        <a:spcBef>
                          <a:spcPts val="0"/>
                        </a:spcBef>
                        <a:spcAft>
                          <a:spcPts val="0"/>
                        </a:spcAft>
                      </a:pPr>
                      <a:r>
                        <a:rPr lang="en-GB" sz="1800" dirty="0">
                          <a:solidFill>
                            <a:srgbClr val="006991"/>
                          </a:solidFill>
                          <a:latin typeface="FrutigerLight"/>
                          <a:ea typeface="Times New Roman"/>
                          <a:cs typeface="Times New Roman"/>
                        </a:rPr>
                        <a:t>Fitch***</a:t>
                      </a:r>
                      <a:endParaRPr lang="en-US" sz="1800" dirty="0">
                        <a:solidFill>
                          <a:srgbClr val="006991"/>
                        </a:solidFill>
                        <a:latin typeface="FrutigerLight"/>
                        <a:ea typeface="Times New Roman"/>
                        <a:cs typeface="Times New Roman"/>
                      </a:endParaRPr>
                    </a:p>
                  </a:txBody>
                  <a:tcPr marL="0" marR="0" marT="0" marB="0" anchor="ctr">
                    <a:lnL>
                      <a:noFill/>
                    </a:lnL>
                    <a:lnR>
                      <a:noFill/>
                    </a:lnR>
                    <a:lnT>
                      <a:noFill/>
                    </a:lnT>
                    <a:lnB>
                      <a:noFill/>
                    </a:lnB>
                  </a:tcPr>
                </a:tc>
                <a:tc>
                  <a:txBody>
                    <a:bodyPr/>
                    <a:lstStyle/>
                    <a:p>
                      <a:pPr marL="0" marR="10795" algn="r">
                        <a:lnSpc>
                          <a:spcPts val="1000"/>
                        </a:lnSpc>
                        <a:spcBef>
                          <a:spcPts val="0"/>
                        </a:spcBef>
                        <a:spcAft>
                          <a:spcPts val="0"/>
                        </a:spcAft>
                      </a:pPr>
                      <a:r>
                        <a:rPr lang="en-GB" sz="1800" dirty="0">
                          <a:latin typeface="FrutigerLight"/>
                          <a:ea typeface="Times New Roman"/>
                          <a:cs typeface="Times New Roman"/>
                        </a:rPr>
                        <a:t>BBB- (</a:t>
                      </a:r>
                      <a:r>
                        <a:rPr lang="en-GB" sz="1800" dirty="0" err="1">
                          <a:latin typeface="FrutigerLight"/>
                          <a:ea typeface="Times New Roman"/>
                          <a:cs typeface="Times New Roman"/>
                        </a:rPr>
                        <a:t>luglio</a:t>
                      </a:r>
                      <a:r>
                        <a:rPr lang="en-GB" sz="1800" dirty="0">
                          <a:latin typeface="FrutigerLight"/>
                          <a:ea typeface="Times New Roman"/>
                          <a:cs typeface="Times New Roman"/>
                        </a:rPr>
                        <a:t> 2011)</a:t>
                      </a:r>
                      <a:endParaRPr lang="en-US" sz="1800" dirty="0">
                        <a:latin typeface="FrutigerLight"/>
                        <a:ea typeface="Times New Roman"/>
                        <a:cs typeface="Times New Roman"/>
                      </a:endParaRPr>
                    </a:p>
                  </a:txBody>
                  <a:tcPr marL="0" marR="0" marT="0" marB="0" anchor="ctr">
                    <a:lnL>
                      <a:noFill/>
                    </a:lnL>
                    <a:lnR>
                      <a:noFill/>
                    </a:lnR>
                    <a:lnT>
                      <a:noFill/>
                    </a:lnT>
                    <a:lnB>
                      <a:noFill/>
                    </a:lnB>
                  </a:tcPr>
                </a:tc>
                <a:tc>
                  <a:txBody>
                    <a:bodyPr/>
                    <a:lstStyle/>
                    <a:p>
                      <a:pPr marL="0" marR="10795" algn="r">
                        <a:lnSpc>
                          <a:spcPts val="1000"/>
                        </a:lnSpc>
                        <a:spcBef>
                          <a:spcPts val="0"/>
                        </a:spcBef>
                        <a:spcAft>
                          <a:spcPts val="0"/>
                        </a:spcAft>
                      </a:pPr>
                      <a:r>
                        <a:rPr lang="en-GB" sz="1800">
                          <a:latin typeface="FrutigerLight"/>
                          <a:ea typeface="Times New Roman"/>
                          <a:cs typeface="Times New Roman"/>
                        </a:rPr>
                        <a:t>BB+ </a:t>
                      </a:r>
                      <a:endParaRPr lang="en-US" sz="1800">
                        <a:latin typeface="FrutigerLight"/>
                        <a:ea typeface="Times New Roman"/>
                        <a:cs typeface="Times New Roman"/>
                      </a:endParaRPr>
                    </a:p>
                  </a:txBody>
                  <a:tcPr marL="0" marR="0" marT="0" marB="0" anchor="ctr">
                    <a:lnL>
                      <a:noFill/>
                    </a:lnL>
                    <a:lnR>
                      <a:noFill/>
                    </a:lnR>
                    <a:lnT>
                      <a:noFill/>
                    </a:lnT>
                    <a:lnB>
                      <a:noFill/>
                    </a:lnB>
                  </a:tcPr>
                </a:tc>
              </a:tr>
              <a:tr h="476250">
                <a:tc>
                  <a:txBody>
                    <a:bodyPr/>
                    <a:lstStyle/>
                    <a:p>
                      <a:pPr marL="0" marR="0">
                        <a:lnSpc>
                          <a:spcPts val="1000"/>
                        </a:lnSpc>
                        <a:spcBef>
                          <a:spcPts val="0"/>
                        </a:spcBef>
                        <a:spcAft>
                          <a:spcPts val="0"/>
                        </a:spcAft>
                      </a:pPr>
                      <a:r>
                        <a:rPr lang="en-GB" sz="1800" dirty="0">
                          <a:solidFill>
                            <a:srgbClr val="006991"/>
                          </a:solidFill>
                          <a:latin typeface="FrutigerLight"/>
                          <a:ea typeface="Times New Roman"/>
                          <a:cs typeface="Times New Roman"/>
                        </a:rPr>
                        <a:t>Standard &amp; Poor's***</a:t>
                      </a:r>
                      <a:endParaRPr lang="en-US" sz="1800" dirty="0">
                        <a:solidFill>
                          <a:srgbClr val="006991"/>
                        </a:solidFill>
                        <a:latin typeface="FrutigerLight"/>
                        <a:ea typeface="Times New Roman"/>
                        <a:cs typeface="Times New Roman"/>
                      </a:endParaRPr>
                    </a:p>
                  </a:txBody>
                  <a:tcPr marL="0" marR="0" marT="0" marB="0" anchor="ctr">
                    <a:lnL>
                      <a:noFill/>
                    </a:lnL>
                    <a:lnR>
                      <a:noFill/>
                    </a:lnR>
                    <a:lnT>
                      <a:noFill/>
                    </a:lnT>
                    <a:lnB>
                      <a:noFill/>
                    </a:lnB>
                  </a:tcPr>
                </a:tc>
                <a:tc>
                  <a:txBody>
                    <a:bodyPr/>
                    <a:lstStyle/>
                    <a:p>
                      <a:pPr marL="0" marR="10795" algn="r">
                        <a:lnSpc>
                          <a:spcPts val="1000"/>
                        </a:lnSpc>
                        <a:spcBef>
                          <a:spcPts val="0"/>
                        </a:spcBef>
                        <a:spcAft>
                          <a:spcPts val="0"/>
                        </a:spcAft>
                      </a:pPr>
                      <a:r>
                        <a:rPr lang="en-GB" sz="1800" dirty="0">
                          <a:latin typeface="FrutigerLight"/>
                          <a:ea typeface="Times New Roman"/>
                          <a:cs typeface="Times New Roman"/>
                        </a:rPr>
                        <a:t>BB+ (</a:t>
                      </a:r>
                      <a:r>
                        <a:rPr lang="en-GB" sz="1800" dirty="0" err="1">
                          <a:latin typeface="FrutigerLight"/>
                          <a:ea typeface="Times New Roman"/>
                          <a:cs typeface="Times New Roman"/>
                        </a:rPr>
                        <a:t>ottobre</a:t>
                      </a:r>
                      <a:r>
                        <a:rPr lang="en-GB" sz="1800" dirty="0">
                          <a:latin typeface="FrutigerLight"/>
                          <a:ea typeface="Times New Roman"/>
                          <a:cs typeface="Times New Roman"/>
                        </a:rPr>
                        <a:t> 2008)</a:t>
                      </a:r>
                      <a:endParaRPr lang="en-US" sz="1800" dirty="0">
                        <a:latin typeface="FrutigerLight"/>
                        <a:ea typeface="Times New Roman"/>
                        <a:cs typeface="Times New Roman"/>
                      </a:endParaRPr>
                    </a:p>
                  </a:txBody>
                  <a:tcPr marL="0" marR="0" marT="0" marB="0" anchor="ctr">
                    <a:lnL>
                      <a:noFill/>
                    </a:lnL>
                    <a:lnR>
                      <a:noFill/>
                    </a:lnR>
                    <a:lnT>
                      <a:noFill/>
                    </a:lnT>
                    <a:lnB>
                      <a:noFill/>
                    </a:lnB>
                  </a:tcPr>
                </a:tc>
                <a:tc>
                  <a:txBody>
                    <a:bodyPr/>
                    <a:lstStyle/>
                    <a:p>
                      <a:pPr marL="0" marR="10795" algn="r">
                        <a:lnSpc>
                          <a:spcPts val="1000"/>
                        </a:lnSpc>
                        <a:spcBef>
                          <a:spcPts val="0"/>
                        </a:spcBef>
                        <a:spcAft>
                          <a:spcPts val="0"/>
                        </a:spcAft>
                      </a:pPr>
                      <a:r>
                        <a:rPr lang="en-GB" sz="1800">
                          <a:latin typeface="FrutigerLight"/>
                          <a:ea typeface="Times New Roman"/>
                          <a:cs typeface="Times New Roman"/>
                        </a:rPr>
                        <a:t>BBB-</a:t>
                      </a:r>
                      <a:endParaRPr lang="en-US" sz="1800">
                        <a:latin typeface="FrutigerLight"/>
                        <a:ea typeface="Times New Roman"/>
                        <a:cs typeface="Times New Roman"/>
                      </a:endParaRPr>
                    </a:p>
                  </a:txBody>
                  <a:tcPr marL="0" marR="0" marT="0" marB="0" anchor="ctr">
                    <a:lnL>
                      <a:noFill/>
                    </a:lnL>
                    <a:lnR>
                      <a:noFill/>
                    </a:lnR>
                    <a:lnT>
                      <a:noFill/>
                    </a:lnT>
                    <a:lnB>
                      <a:noFill/>
                    </a:lnB>
                  </a:tcPr>
                </a:tc>
              </a:tr>
              <a:tr h="476250">
                <a:tc>
                  <a:txBody>
                    <a:bodyPr/>
                    <a:lstStyle/>
                    <a:p>
                      <a:pPr marL="0" marR="0">
                        <a:lnSpc>
                          <a:spcPts val="1000"/>
                        </a:lnSpc>
                        <a:spcBef>
                          <a:spcPts val="0"/>
                        </a:spcBef>
                        <a:spcAft>
                          <a:spcPts val="0"/>
                        </a:spcAft>
                      </a:pPr>
                      <a:r>
                        <a:rPr lang="en-GB" sz="1800" dirty="0">
                          <a:solidFill>
                            <a:srgbClr val="006991"/>
                          </a:solidFill>
                          <a:latin typeface="FrutigerLight"/>
                          <a:ea typeface="Times New Roman"/>
                          <a:cs typeface="Times New Roman"/>
                        </a:rPr>
                        <a:t>Moody's***</a:t>
                      </a:r>
                      <a:endParaRPr lang="en-US" sz="1800" dirty="0">
                        <a:solidFill>
                          <a:srgbClr val="006991"/>
                        </a:solidFill>
                        <a:latin typeface="FrutigerLight"/>
                        <a:ea typeface="Times New Roman"/>
                        <a:cs typeface="Times New Roman"/>
                      </a:endParaRPr>
                    </a:p>
                  </a:txBody>
                  <a:tcPr marL="0" marR="0" marT="0" marB="0" anchor="ctr">
                    <a:lnL>
                      <a:noFill/>
                    </a:lnL>
                    <a:lnR>
                      <a:noFill/>
                    </a:lnR>
                    <a:lnT>
                      <a:noFill/>
                    </a:lnT>
                    <a:lnB>
                      <a:noFill/>
                    </a:lnB>
                  </a:tcPr>
                </a:tc>
                <a:tc>
                  <a:txBody>
                    <a:bodyPr/>
                    <a:lstStyle/>
                    <a:p>
                      <a:pPr marL="0" marR="10795" algn="r">
                        <a:lnSpc>
                          <a:spcPts val="1000"/>
                        </a:lnSpc>
                        <a:spcBef>
                          <a:spcPts val="0"/>
                        </a:spcBef>
                        <a:spcAft>
                          <a:spcPts val="0"/>
                        </a:spcAft>
                      </a:pPr>
                      <a:r>
                        <a:rPr lang="en-GB" sz="1800" dirty="0">
                          <a:latin typeface="FrutigerLight"/>
                          <a:ea typeface="Times New Roman"/>
                          <a:cs typeface="Times New Roman"/>
                        </a:rPr>
                        <a:t>Baa3 (</a:t>
                      </a:r>
                      <a:r>
                        <a:rPr lang="en-GB" sz="1800" dirty="0" err="1">
                          <a:latin typeface="FrutigerLight"/>
                          <a:ea typeface="Times New Roman"/>
                          <a:cs typeface="Times New Roman"/>
                        </a:rPr>
                        <a:t>ottobre</a:t>
                      </a:r>
                      <a:r>
                        <a:rPr lang="en-GB" sz="1800" dirty="0">
                          <a:latin typeface="FrutigerLight"/>
                          <a:ea typeface="Times New Roman"/>
                          <a:cs typeface="Times New Roman"/>
                        </a:rPr>
                        <a:t> 2006)</a:t>
                      </a:r>
                      <a:endParaRPr lang="en-US" sz="1800" dirty="0">
                        <a:latin typeface="FrutigerLight"/>
                        <a:ea typeface="Times New Roman"/>
                        <a:cs typeface="Times New Roman"/>
                      </a:endParaRPr>
                    </a:p>
                  </a:txBody>
                  <a:tcPr marL="0" marR="0" marT="0" marB="0" anchor="ctr">
                    <a:lnL>
                      <a:noFill/>
                    </a:lnL>
                    <a:lnR>
                      <a:noFill/>
                    </a:lnR>
                    <a:lnT>
                      <a:noFill/>
                    </a:lnT>
                    <a:lnB>
                      <a:noFill/>
                    </a:lnB>
                  </a:tcPr>
                </a:tc>
                <a:tc>
                  <a:txBody>
                    <a:bodyPr/>
                    <a:lstStyle/>
                    <a:p>
                      <a:pPr marL="0" marR="10795" algn="r">
                        <a:lnSpc>
                          <a:spcPts val="1000"/>
                        </a:lnSpc>
                        <a:spcBef>
                          <a:spcPts val="0"/>
                        </a:spcBef>
                        <a:spcAft>
                          <a:spcPts val="0"/>
                        </a:spcAft>
                      </a:pPr>
                      <a:r>
                        <a:rPr lang="en-GB" sz="1800" dirty="0">
                          <a:latin typeface="FrutigerLight"/>
                          <a:ea typeface="Times New Roman"/>
                          <a:cs typeface="Times New Roman"/>
                        </a:rPr>
                        <a:t>Ba1</a:t>
                      </a:r>
                      <a:endParaRPr lang="en-US" sz="1800" dirty="0">
                        <a:latin typeface="FrutigerLight"/>
                        <a:ea typeface="Times New Roman"/>
                        <a:cs typeface="Times New Roman"/>
                      </a:endParaRPr>
                    </a:p>
                  </a:txBody>
                  <a:tcPr marL="0" marR="0" marT="0" marB="0" anchor="ctr">
                    <a:lnL>
                      <a:noFill/>
                    </a:lnL>
                    <a:lnR>
                      <a:noFill/>
                    </a:lnR>
                    <a:lnT>
                      <a:noFill/>
                    </a:lnT>
                    <a:lnB>
                      <a:noFill/>
                    </a:lnB>
                  </a:tcPr>
                </a:tc>
              </a:tr>
              <a:tr h="476250">
                <a:tc>
                  <a:txBody>
                    <a:bodyPr/>
                    <a:lstStyle/>
                    <a:p>
                      <a:pPr marL="0" marR="0">
                        <a:lnSpc>
                          <a:spcPts val="1000"/>
                        </a:lnSpc>
                        <a:spcBef>
                          <a:spcPts val="0"/>
                        </a:spcBef>
                        <a:spcAft>
                          <a:spcPts val="0"/>
                        </a:spcAft>
                      </a:pPr>
                      <a:r>
                        <a:rPr lang="en-GB" sz="1800" dirty="0">
                          <a:solidFill>
                            <a:srgbClr val="006991"/>
                          </a:solidFill>
                          <a:latin typeface="FrutigerLight"/>
                          <a:ea typeface="Times New Roman"/>
                          <a:cs typeface="Times New Roman"/>
                        </a:rPr>
                        <a:t>Rating </a:t>
                      </a:r>
                      <a:r>
                        <a:rPr lang="en-GB" sz="1800" dirty="0" err="1">
                          <a:solidFill>
                            <a:srgbClr val="006991"/>
                          </a:solidFill>
                          <a:latin typeface="FrutigerLight"/>
                          <a:ea typeface="Times New Roman"/>
                          <a:cs typeface="Times New Roman"/>
                        </a:rPr>
                        <a:t>macroeconomico</a:t>
                      </a:r>
                      <a:r>
                        <a:rPr lang="en-GB" sz="1800" dirty="0">
                          <a:solidFill>
                            <a:srgbClr val="006991"/>
                          </a:solidFill>
                          <a:latin typeface="FrutigerLight"/>
                          <a:ea typeface="Times New Roman"/>
                          <a:cs typeface="Times New Roman"/>
                        </a:rPr>
                        <a:t> (c)</a:t>
                      </a:r>
                      <a:endParaRPr lang="en-US" sz="1800" dirty="0">
                        <a:solidFill>
                          <a:srgbClr val="006991"/>
                        </a:solidFill>
                        <a:latin typeface="FrutigerLight"/>
                        <a:ea typeface="Times New Roman"/>
                        <a:cs typeface="Times New Roman"/>
                      </a:endParaRPr>
                    </a:p>
                  </a:txBody>
                  <a:tcPr marL="0" marR="0" marT="0" marB="0" anchor="ctr">
                    <a:lnL>
                      <a:noFill/>
                    </a:lnL>
                    <a:lnR>
                      <a:noFill/>
                    </a:lnR>
                    <a:lnT>
                      <a:noFill/>
                    </a:lnT>
                    <a:lnB w="12700" cap="flat" cmpd="sng" algn="ctr">
                      <a:solidFill>
                        <a:srgbClr val="82A0B4"/>
                      </a:solidFill>
                      <a:prstDash val="solid"/>
                      <a:round/>
                      <a:headEnd type="none" w="med" len="med"/>
                      <a:tailEnd type="none" w="med" len="med"/>
                    </a:lnB>
                  </a:tcPr>
                </a:tc>
                <a:tc>
                  <a:txBody>
                    <a:bodyPr/>
                    <a:lstStyle/>
                    <a:p>
                      <a:pPr marL="0" marR="10795" algn="r">
                        <a:lnSpc>
                          <a:spcPts val="1000"/>
                        </a:lnSpc>
                        <a:spcBef>
                          <a:spcPts val="0"/>
                        </a:spcBef>
                        <a:spcAft>
                          <a:spcPts val="0"/>
                        </a:spcAft>
                      </a:pPr>
                      <a:r>
                        <a:rPr lang="it-IT" sz="1800" dirty="0">
                          <a:latin typeface="FrutigerLight"/>
                          <a:ea typeface="Times New Roman"/>
                          <a:cs typeface="Times New Roman"/>
                        </a:rPr>
                        <a:t>BBB (maggio 2012)</a:t>
                      </a:r>
                      <a:endParaRPr lang="en-US" sz="1800" dirty="0">
                        <a:latin typeface="FrutigerLight"/>
                        <a:ea typeface="Times New Roman"/>
                        <a:cs typeface="Times New Roman"/>
                      </a:endParaRPr>
                    </a:p>
                  </a:txBody>
                  <a:tcPr marL="0" marR="0" marT="0" marB="0" anchor="ctr">
                    <a:lnL>
                      <a:noFill/>
                    </a:lnL>
                    <a:lnR>
                      <a:noFill/>
                    </a:lnR>
                    <a:lnT>
                      <a:noFill/>
                    </a:lnT>
                    <a:lnB w="12700" cap="flat" cmpd="sng" algn="ctr">
                      <a:solidFill>
                        <a:srgbClr val="82A0B4"/>
                      </a:solidFill>
                      <a:prstDash val="solid"/>
                      <a:round/>
                      <a:headEnd type="none" w="med" len="med"/>
                      <a:tailEnd type="none" w="med" len="med"/>
                    </a:lnB>
                  </a:tcPr>
                </a:tc>
                <a:tc>
                  <a:txBody>
                    <a:bodyPr/>
                    <a:lstStyle/>
                    <a:p>
                      <a:pPr marL="0" marR="10795" algn="r">
                        <a:lnSpc>
                          <a:spcPts val="1000"/>
                        </a:lnSpc>
                        <a:spcBef>
                          <a:spcPts val="0"/>
                        </a:spcBef>
                        <a:spcAft>
                          <a:spcPts val="0"/>
                        </a:spcAft>
                      </a:pPr>
                      <a:r>
                        <a:rPr lang="it-IT" sz="1800" dirty="0">
                          <a:latin typeface="FrutigerLight"/>
                          <a:ea typeface="Times New Roman"/>
                          <a:cs typeface="Times New Roman"/>
                        </a:rPr>
                        <a:t>BBB </a:t>
                      </a:r>
                      <a:endParaRPr lang="en-US" sz="1800" dirty="0">
                        <a:latin typeface="FrutigerLight"/>
                        <a:ea typeface="Times New Roman"/>
                        <a:cs typeface="Times New Roman"/>
                      </a:endParaRPr>
                    </a:p>
                  </a:txBody>
                  <a:tcPr marL="0" marR="0" marT="0" marB="0" anchor="ctr">
                    <a:lnL>
                      <a:noFill/>
                    </a:lnL>
                    <a:lnR>
                      <a:noFill/>
                    </a:lnR>
                    <a:lnT>
                      <a:noFill/>
                    </a:lnT>
                    <a:lnB w="12700" cap="flat" cmpd="sng" algn="ctr">
                      <a:solidFill>
                        <a:srgbClr val="82A0B4"/>
                      </a:solidFill>
                      <a:prstDash val="solid"/>
                      <a:round/>
                      <a:headEnd type="none" w="med" len="med"/>
                      <a:tailEnd type="none" w="med" len="med"/>
                    </a:lnB>
                  </a:tcPr>
                </a:tc>
              </a:tr>
            </a:tbl>
          </a:graphicData>
        </a:graphic>
      </p:graphicFrame>
      <p:sp>
        <p:nvSpPr>
          <p:cNvPr id="3" name="Rectangle 2"/>
          <p:cNvSpPr/>
          <p:nvPr/>
        </p:nvSpPr>
        <p:spPr>
          <a:xfrm>
            <a:off x="838200" y="685800"/>
            <a:ext cx="3095719" cy="369332"/>
          </a:xfrm>
          <a:prstGeom prst="rect">
            <a:avLst/>
          </a:prstGeom>
        </p:spPr>
        <p:txBody>
          <a:bodyPr wrap="none">
            <a:spAutoFit/>
          </a:bodyPr>
          <a:lstStyle/>
          <a:p>
            <a:pPr eaLnBrk="1" hangingPunct="1">
              <a:buClr>
                <a:srgbClr val="000000"/>
              </a:buClr>
              <a:buFont typeface="Times New Roman" pitchFamily="18" charset="0"/>
              <a:buNone/>
            </a:pPr>
            <a:r>
              <a:rPr lang="it-IT" b="1" dirty="0" smtClean="0"/>
              <a:t>Indicatori di rischio paese </a:t>
            </a:r>
            <a:endParaRPr lang="sk-SK" b="1" dirty="0"/>
          </a:p>
        </p:txBody>
      </p:sp>
      <p:sp>
        <p:nvSpPr>
          <p:cNvPr id="4" name="Rounded Rectangle 3"/>
          <p:cNvSpPr/>
          <p:nvPr/>
        </p:nvSpPr>
        <p:spPr>
          <a:xfrm>
            <a:off x="228600" y="1676400"/>
            <a:ext cx="8686800" cy="3581400"/>
          </a:xfrm>
          <a:prstGeom prst="roundRect">
            <a:avLst/>
          </a:prstGeom>
          <a:solidFill>
            <a:schemeClr val="accent1">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nvGraphicFramePr>
        <p:xfrm>
          <a:off x="838200" y="5638800"/>
          <a:ext cx="7315200" cy="548640"/>
        </p:xfrm>
        <a:graphic>
          <a:graphicData uri="http://schemas.openxmlformats.org/drawingml/2006/table">
            <a:tbl>
              <a:tblPr/>
              <a:tblGrid>
                <a:gridCol w="7315200"/>
              </a:tblGrid>
              <a:tr h="364935">
                <a:tc>
                  <a:txBody>
                    <a:bodyPr/>
                    <a:lstStyle/>
                    <a:p>
                      <a:pPr marL="0" marR="0">
                        <a:lnSpc>
                          <a:spcPct val="150000"/>
                        </a:lnSpc>
                        <a:spcBef>
                          <a:spcPts val="200"/>
                        </a:spcBef>
                        <a:spcAft>
                          <a:spcPts val="0"/>
                        </a:spcAft>
                      </a:pPr>
                      <a:r>
                        <a:rPr lang="it-IT" sz="1200" dirty="0" smtClean="0">
                          <a:latin typeface="FrutigerLight"/>
                          <a:ea typeface="Times New Roman"/>
                          <a:cs typeface="Times New Roman"/>
                        </a:rPr>
                        <a:t>(***) </a:t>
                      </a:r>
                      <a:r>
                        <a:rPr lang="it-IT" sz="1200" dirty="0">
                          <a:latin typeface="FrutigerLight"/>
                          <a:ea typeface="Times New Roman"/>
                          <a:cs typeface="Times New Roman"/>
                        </a:rPr>
                        <a:t>rating su debito sovrano a lungo termine in valuta estera; (c): a cura di Servizio Studi e Ricerche Intesa Sanpaolo, esso non coincide necessariamente con il rating ufficiale della </a:t>
                      </a:r>
                      <a:r>
                        <a:rPr lang="it-IT" sz="1200" dirty="0" smtClean="0">
                          <a:latin typeface="FrutigerLight"/>
                          <a:ea typeface="Times New Roman"/>
                          <a:cs typeface="Times New Roman"/>
                        </a:rPr>
                        <a:t>Banca</a:t>
                      </a:r>
                      <a:endParaRPr lang="en-US" sz="1200" dirty="0">
                        <a:latin typeface="FrutigerLight"/>
                        <a:ea typeface="Times New Roman"/>
                        <a:cs typeface="Times New Roman"/>
                      </a:endParaRPr>
                    </a:p>
                  </a:txBody>
                  <a:tcPr marL="0" marR="0" marT="0" marB="0" anchor="ctr">
                    <a:lnL>
                      <a:noFill/>
                    </a:lnL>
                    <a:lnR>
                      <a:noFill/>
                    </a:lnR>
                    <a:lnT>
                      <a:noFill/>
                    </a:lnT>
                    <a:lnB>
                      <a:noFill/>
                    </a:lnB>
                  </a:tcPr>
                </a:tc>
              </a:tr>
            </a:tbl>
          </a:graphicData>
        </a:graphic>
      </p:graphicFrame>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838200" y="5257800"/>
          <a:ext cx="7467600" cy="254000"/>
        </p:xfrm>
        <a:graphic>
          <a:graphicData uri="http://schemas.openxmlformats.org/drawingml/2006/table">
            <a:tbl>
              <a:tblPr/>
              <a:tblGrid>
                <a:gridCol w="7467600"/>
              </a:tblGrid>
              <a:tr h="0">
                <a:tc>
                  <a:txBody>
                    <a:bodyPr/>
                    <a:lstStyle/>
                    <a:p>
                      <a:pPr marL="0" marR="0" algn="just">
                        <a:lnSpc>
                          <a:spcPts val="1150"/>
                        </a:lnSpc>
                        <a:spcBef>
                          <a:spcPts val="0"/>
                        </a:spcBef>
                        <a:spcAft>
                          <a:spcPts val="0"/>
                        </a:spcAft>
                      </a:pPr>
                      <a:endParaRPr lang="it-IT" sz="1400">
                        <a:latin typeface="FrutigerLight"/>
                        <a:ea typeface="Times New Roman"/>
                        <a:cs typeface="Arial"/>
                      </a:endParaRPr>
                    </a:p>
                  </a:txBody>
                  <a:tcPr marL="0" marR="0" marT="0" marB="0">
                    <a:lnL>
                      <a:noFill/>
                    </a:lnL>
                    <a:lnR>
                      <a:noFill/>
                    </a:lnR>
                    <a:lnT>
                      <a:noFill/>
                    </a:lnT>
                    <a:lnB>
                      <a:noFill/>
                    </a:lnB>
                    <a:solidFill>
                      <a:srgbClr val="FFFFFF"/>
                    </a:solidFill>
                  </a:tcPr>
                </a:tc>
              </a:tr>
              <a:tr h="0">
                <a:tc>
                  <a:txBody>
                    <a:bodyPr/>
                    <a:lstStyle/>
                    <a:p>
                      <a:pPr marL="0" marR="0">
                        <a:lnSpc>
                          <a:spcPts val="750"/>
                        </a:lnSpc>
                        <a:spcBef>
                          <a:spcPts val="200"/>
                        </a:spcBef>
                        <a:spcAft>
                          <a:spcPts val="1200"/>
                        </a:spcAft>
                      </a:pPr>
                      <a:r>
                        <a:rPr lang="it-IT" sz="1400" dirty="0">
                          <a:latin typeface="FrutigerLight"/>
                          <a:ea typeface="Times New Roman"/>
                          <a:cs typeface="Times New Roman"/>
                        </a:rPr>
                        <a:t> Nota: (*) ottobre 2009 base 100. Fonte: Thomson Reuters-Datastream</a:t>
                      </a:r>
                      <a:endParaRPr lang="en-US" sz="1400" dirty="0">
                        <a:latin typeface="FrutigerLight"/>
                        <a:ea typeface="Times New Roman"/>
                        <a:cs typeface="Times New Roman"/>
                      </a:endParaRPr>
                    </a:p>
                  </a:txBody>
                  <a:tcPr marL="0" marR="0" marT="0" marB="0">
                    <a:lnL>
                      <a:noFill/>
                    </a:lnL>
                    <a:lnR>
                      <a:noFill/>
                    </a:lnR>
                    <a:lnT>
                      <a:noFill/>
                    </a:lnT>
                    <a:lnB>
                      <a:noFill/>
                    </a:lnB>
                  </a:tcPr>
                </a:tc>
              </a:tr>
            </a:tbl>
          </a:graphicData>
        </a:graphic>
      </p:graphicFrame>
      <p:pic>
        <p:nvPicPr>
          <p:cNvPr id="86017" name="Picture 1" descr="InsertPic"/>
          <p:cNvPicPr>
            <a:picLocks noChangeAspect="1" noChangeArrowheads="1"/>
          </p:cNvPicPr>
          <p:nvPr/>
        </p:nvPicPr>
        <p:blipFill>
          <a:blip r:embed="rId2"/>
          <a:srcRect/>
          <a:stretch>
            <a:fillRect/>
          </a:stretch>
        </p:blipFill>
        <p:spPr bwMode="auto">
          <a:xfrm>
            <a:off x="457200" y="1371601"/>
            <a:ext cx="8305799" cy="3733799"/>
          </a:xfrm>
          <a:prstGeom prst="rect">
            <a:avLst/>
          </a:prstGeom>
          <a:noFill/>
        </p:spPr>
      </p:pic>
      <p:sp>
        <p:nvSpPr>
          <p:cNvPr id="5" name="Rectangle 4"/>
          <p:cNvSpPr/>
          <p:nvPr/>
        </p:nvSpPr>
        <p:spPr>
          <a:xfrm>
            <a:off x="838200" y="457200"/>
            <a:ext cx="2304862" cy="369332"/>
          </a:xfrm>
          <a:prstGeom prst="rect">
            <a:avLst/>
          </a:prstGeom>
        </p:spPr>
        <p:txBody>
          <a:bodyPr wrap="none">
            <a:spAutoFit/>
          </a:bodyPr>
          <a:lstStyle/>
          <a:p>
            <a:pPr eaLnBrk="1" hangingPunct="1">
              <a:buClr>
                <a:srgbClr val="000000"/>
              </a:buClr>
              <a:buFont typeface="Times New Roman" pitchFamily="18" charset="0"/>
              <a:buNone/>
            </a:pPr>
            <a:r>
              <a:rPr lang="it-IT" b="1" dirty="0" smtClean="0"/>
              <a:t>Mercato Azionario </a:t>
            </a:r>
            <a:endParaRPr lang="sk-SK" b="1" dirty="0"/>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38200" y="914400"/>
            <a:ext cx="7772400" cy="5047536"/>
          </a:xfrm>
          <a:prstGeom prst="rect">
            <a:avLst/>
          </a:prstGeom>
        </p:spPr>
        <p:txBody>
          <a:bodyPr wrap="square">
            <a:spAutoFit/>
          </a:bodyPr>
          <a:lstStyle/>
          <a:p>
            <a:r>
              <a:rPr lang="en-US" b="1" dirty="0" err="1" smtClean="0">
                <a:solidFill>
                  <a:srgbClr val="FFFFFF"/>
                </a:solidFill>
                <a:latin typeface="FrutigerBoldBold"/>
              </a:rPr>
              <a:t>Indice</a:t>
            </a:r>
            <a:r>
              <a:rPr lang="en-US" b="1" dirty="0" smtClean="0">
                <a:solidFill>
                  <a:srgbClr val="FFFFFF"/>
                </a:solidFill>
                <a:latin typeface="FrutigerBoldBold"/>
              </a:rPr>
              <a:t> Doing Business</a:t>
            </a:r>
          </a:p>
          <a:p>
            <a:r>
              <a:rPr lang="it-IT" sz="2800" dirty="0" smtClean="0">
                <a:solidFill>
                  <a:srgbClr val="006992"/>
                </a:solidFill>
                <a:latin typeface="FrutigerLightLight"/>
              </a:rPr>
              <a:t>Facilità di (*)                 2012     2011    Var. </a:t>
            </a:r>
          </a:p>
          <a:p>
            <a:endParaRPr lang="it-IT" sz="2800" dirty="0" smtClean="0">
              <a:solidFill>
                <a:srgbClr val="006992"/>
              </a:solidFill>
              <a:latin typeface="FrutigerLightLight"/>
            </a:endParaRPr>
          </a:p>
          <a:p>
            <a:r>
              <a:rPr lang="it-IT" sz="2000" dirty="0" smtClean="0">
                <a:solidFill>
                  <a:srgbClr val="006992"/>
                </a:solidFill>
                <a:latin typeface="FrutigerLightLight"/>
              </a:rPr>
              <a:t>Svolgere attività di affari                </a:t>
            </a:r>
            <a:r>
              <a:rPr lang="it-IT" sz="2000" dirty="0" smtClean="0">
                <a:solidFill>
                  <a:srgbClr val="000000"/>
                </a:solidFill>
                <a:latin typeface="FrutigerLightLight"/>
              </a:rPr>
              <a:t>72                65            7</a:t>
            </a:r>
          </a:p>
          <a:p>
            <a:r>
              <a:rPr lang="it-IT" sz="2000" dirty="0" smtClean="0">
                <a:solidFill>
                  <a:srgbClr val="006992"/>
                </a:solidFill>
                <a:latin typeface="FrutigerLightLight"/>
              </a:rPr>
              <a:t>Tutela degli investitori                    </a:t>
            </a:r>
            <a:r>
              <a:rPr lang="it-IT" sz="2000" dirty="0" smtClean="0">
                <a:solidFill>
                  <a:srgbClr val="000000"/>
                </a:solidFill>
                <a:latin typeface="FrutigerLightLight"/>
              </a:rPr>
              <a:t>46                44            2</a:t>
            </a:r>
          </a:p>
          <a:p>
            <a:r>
              <a:rPr lang="it-IT" sz="2000" dirty="0" smtClean="0">
                <a:solidFill>
                  <a:srgbClr val="006992"/>
                </a:solidFill>
                <a:latin typeface="FrutigerLightLight"/>
              </a:rPr>
              <a:t>Iniziare un'attività                           </a:t>
            </a:r>
            <a:r>
              <a:rPr lang="it-IT" sz="2000" dirty="0" smtClean="0">
                <a:solidFill>
                  <a:srgbClr val="000000"/>
                </a:solidFill>
                <a:latin typeface="FrutigerLightLight"/>
              </a:rPr>
              <a:t>63                31          32 </a:t>
            </a:r>
          </a:p>
          <a:p>
            <a:r>
              <a:rPr lang="it-IT" sz="2000" dirty="0" smtClean="0">
                <a:solidFill>
                  <a:srgbClr val="006992"/>
                </a:solidFill>
                <a:latin typeface="FrutigerLightLight"/>
              </a:rPr>
              <a:t>Pagamento tasse                         </a:t>
            </a:r>
            <a:r>
              <a:rPr lang="it-IT" sz="2000" dirty="0" smtClean="0">
                <a:solidFill>
                  <a:srgbClr val="000000"/>
                </a:solidFill>
                <a:latin typeface="FrutigerLightLight"/>
              </a:rPr>
              <a:t>154              151            3</a:t>
            </a:r>
          </a:p>
          <a:p>
            <a:r>
              <a:rPr lang="it-IT" sz="2000" dirty="0" smtClean="0">
                <a:solidFill>
                  <a:srgbClr val="006992"/>
                </a:solidFill>
                <a:latin typeface="FrutigerLightLight"/>
              </a:rPr>
              <a:t>Ottenere lic. e permessi               </a:t>
            </a:r>
            <a:r>
              <a:rPr lang="it-IT" sz="2000" dirty="0" smtClean="0">
                <a:solidFill>
                  <a:srgbClr val="000000"/>
                </a:solidFill>
                <a:latin typeface="FrutigerLightLight"/>
              </a:rPr>
              <a:t>123              122            1 </a:t>
            </a:r>
          </a:p>
          <a:p>
            <a:r>
              <a:rPr lang="it-IT" sz="2000" dirty="0" smtClean="0">
                <a:solidFill>
                  <a:srgbClr val="006992"/>
                </a:solidFill>
                <a:latin typeface="FrutigerLightLight"/>
              </a:rPr>
              <a:t>Esportazioni                                    </a:t>
            </a:r>
            <a:r>
              <a:rPr lang="it-IT" sz="2000" dirty="0" smtClean="0">
                <a:solidFill>
                  <a:srgbClr val="000000"/>
                </a:solidFill>
                <a:latin typeface="FrutigerLightLight"/>
              </a:rPr>
              <a:t>72                49         23</a:t>
            </a:r>
          </a:p>
          <a:p>
            <a:r>
              <a:rPr lang="it-IT" sz="2000" dirty="0" smtClean="0">
                <a:solidFill>
                  <a:srgbClr val="006992"/>
                </a:solidFill>
                <a:latin typeface="FrutigerLightLight"/>
              </a:rPr>
              <a:t>Registrare le proprietà                    </a:t>
            </a:r>
            <a:r>
              <a:rPr lang="it-IT" sz="2000" dirty="0" smtClean="0">
                <a:solidFill>
                  <a:srgbClr val="000000"/>
                </a:solidFill>
                <a:latin typeface="FrutigerLightLight"/>
              </a:rPr>
              <a:t>70                64           6 </a:t>
            </a:r>
          </a:p>
          <a:p>
            <a:r>
              <a:rPr lang="it-IT" sz="2000" dirty="0" smtClean="0">
                <a:solidFill>
                  <a:srgbClr val="006992"/>
                </a:solidFill>
                <a:latin typeface="FrutigerLightLight"/>
              </a:rPr>
              <a:t>Tutela contrattuale                          </a:t>
            </a:r>
            <a:r>
              <a:rPr lang="it-IT" sz="2000" dirty="0" smtClean="0">
                <a:solidFill>
                  <a:srgbClr val="000000"/>
                </a:solidFill>
                <a:latin typeface="FrutigerLightLight"/>
              </a:rPr>
              <a:t>56                54           2</a:t>
            </a:r>
          </a:p>
          <a:p>
            <a:r>
              <a:rPr lang="it-IT" sz="2000" dirty="0" smtClean="0">
                <a:solidFill>
                  <a:srgbClr val="006992"/>
                </a:solidFill>
                <a:latin typeface="FrutigerLightLight"/>
              </a:rPr>
              <a:t>Ottenere credito                                </a:t>
            </a:r>
            <a:r>
              <a:rPr lang="it-IT" sz="2000" dirty="0" smtClean="0">
                <a:solidFill>
                  <a:srgbClr val="000000"/>
                </a:solidFill>
                <a:latin typeface="FrutigerLightLight"/>
              </a:rPr>
              <a:t>8                  8           0 </a:t>
            </a:r>
          </a:p>
          <a:p>
            <a:r>
              <a:rPr lang="it-IT" sz="2000" dirty="0" smtClean="0">
                <a:solidFill>
                  <a:srgbClr val="006992"/>
                </a:solidFill>
                <a:latin typeface="FrutigerLightLight"/>
              </a:rPr>
              <a:t>Chiudere un'attività                         </a:t>
            </a:r>
            <a:r>
              <a:rPr lang="it-IT" sz="2000" dirty="0" smtClean="0">
                <a:solidFill>
                  <a:srgbClr val="000000"/>
                </a:solidFill>
                <a:latin typeface="FrutigerLightLight"/>
              </a:rPr>
              <a:t>97              109        -12</a:t>
            </a:r>
          </a:p>
          <a:p>
            <a:endParaRPr lang="it-IT" sz="2000" dirty="0" smtClean="0">
              <a:solidFill>
                <a:srgbClr val="000000"/>
              </a:solidFill>
              <a:latin typeface="FrutigerLightLight"/>
            </a:endParaRPr>
          </a:p>
          <a:p>
            <a:r>
              <a:rPr lang="en-US" sz="1400" dirty="0" smtClean="0">
                <a:solidFill>
                  <a:srgbClr val="000000"/>
                </a:solidFill>
                <a:latin typeface="FrutigerLightLight"/>
              </a:rPr>
              <a:t>(*) </a:t>
            </a:r>
            <a:r>
              <a:rPr lang="en-US" sz="1400" dirty="0" err="1" smtClean="0">
                <a:solidFill>
                  <a:srgbClr val="000000"/>
                </a:solidFill>
                <a:latin typeface="FrutigerLightLight"/>
              </a:rPr>
              <a:t>Graduatoria</a:t>
            </a:r>
            <a:r>
              <a:rPr lang="en-US" sz="1400" dirty="0" smtClean="0">
                <a:solidFill>
                  <a:srgbClr val="000000"/>
                </a:solidFill>
                <a:latin typeface="FrutigerLightLight"/>
              </a:rPr>
              <a:t> </a:t>
            </a:r>
            <a:r>
              <a:rPr lang="en-US" sz="1400" dirty="0" err="1" smtClean="0">
                <a:solidFill>
                  <a:srgbClr val="000000"/>
                </a:solidFill>
                <a:latin typeface="FrutigerLightLight"/>
              </a:rPr>
              <a:t>tra</a:t>
            </a:r>
            <a:r>
              <a:rPr lang="en-US" sz="1400" dirty="0" smtClean="0">
                <a:solidFill>
                  <a:srgbClr val="000000"/>
                </a:solidFill>
                <a:latin typeface="FrutigerLightLight"/>
              </a:rPr>
              <a:t> 183 </a:t>
            </a:r>
            <a:r>
              <a:rPr lang="en-US" sz="1400" dirty="0" err="1" smtClean="0">
                <a:solidFill>
                  <a:srgbClr val="000000"/>
                </a:solidFill>
                <a:latin typeface="FrutigerLightLight"/>
              </a:rPr>
              <a:t>paesi</a:t>
            </a:r>
            <a:r>
              <a:rPr lang="en-US" sz="1400" dirty="0" smtClean="0">
                <a:solidFill>
                  <a:srgbClr val="000000"/>
                </a:solidFill>
                <a:latin typeface="FrutigerLightLight"/>
              </a:rPr>
              <a:t>   </a:t>
            </a:r>
            <a:r>
              <a:rPr lang="it-IT" sz="1400" dirty="0" smtClean="0">
                <a:solidFill>
                  <a:srgbClr val="000000"/>
                </a:solidFill>
                <a:latin typeface="FrutigerLightLight"/>
              </a:rPr>
              <a:t>A numeri bassi corrisp. una maggiore efficienza</a:t>
            </a:r>
          </a:p>
          <a:p>
            <a:r>
              <a:rPr lang="en-US" sz="1400" dirty="0" err="1" smtClean="0">
                <a:solidFill>
                  <a:srgbClr val="000000"/>
                </a:solidFill>
                <a:latin typeface="FrutigerLightLight"/>
              </a:rPr>
              <a:t>Fonte</a:t>
            </a:r>
            <a:r>
              <a:rPr lang="en-US" sz="1400" dirty="0" smtClean="0">
                <a:solidFill>
                  <a:srgbClr val="000000"/>
                </a:solidFill>
                <a:latin typeface="FrutigerLightLight"/>
              </a:rPr>
              <a:t>: </a:t>
            </a:r>
            <a:r>
              <a:rPr lang="en-US" sz="1400" dirty="0" err="1" smtClean="0">
                <a:solidFill>
                  <a:srgbClr val="000000"/>
                </a:solidFill>
                <a:latin typeface="FrutigerLightLight"/>
              </a:rPr>
              <a:t>Banca</a:t>
            </a:r>
            <a:r>
              <a:rPr lang="en-US" sz="1400" dirty="0" smtClean="0">
                <a:solidFill>
                  <a:srgbClr val="000000"/>
                </a:solidFill>
                <a:latin typeface="FrutigerLightLight"/>
              </a:rPr>
              <a:t> </a:t>
            </a:r>
            <a:r>
              <a:rPr lang="en-US" sz="1400" dirty="0" err="1" smtClean="0">
                <a:solidFill>
                  <a:srgbClr val="000000"/>
                </a:solidFill>
                <a:latin typeface="FrutigerLightLight"/>
              </a:rPr>
              <a:t>Mondiale</a:t>
            </a:r>
            <a:endParaRPr lang="en-US" sz="1400" dirty="0"/>
          </a:p>
        </p:txBody>
      </p:sp>
      <p:sp>
        <p:nvSpPr>
          <p:cNvPr id="3" name="Text Box 2"/>
          <p:cNvSpPr txBox="1">
            <a:spLocks noChangeArrowheads="1"/>
          </p:cNvSpPr>
          <p:nvPr/>
        </p:nvSpPr>
        <p:spPr bwMode="auto">
          <a:xfrm>
            <a:off x="539750" y="44450"/>
            <a:ext cx="8755063"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cs typeface="Arial" charset="0"/>
              </a:defRPr>
            </a:lvl9pPr>
          </a:lstStyle>
          <a:p>
            <a:pPr eaLnBrk="1" hangingPunct="1">
              <a:buClr>
                <a:srgbClr val="000000"/>
              </a:buClr>
              <a:buFont typeface="Times New Roman" pitchFamily="18" charset="0"/>
              <a:buNone/>
            </a:pPr>
            <a:r>
              <a:rPr lang="it-IT" sz="2400" b="1" dirty="0" smtClean="0"/>
              <a:t>Indice Doing Business</a:t>
            </a:r>
            <a:endParaRPr lang="sk-SK" sz="2400" b="1" dirty="0"/>
          </a:p>
        </p:txBody>
      </p:sp>
      <p:sp>
        <p:nvSpPr>
          <p:cNvPr id="5" name="Rounded Rectangle 4"/>
          <p:cNvSpPr/>
          <p:nvPr/>
        </p:nvSpPr>
        <p:spPr>
          <a:xfrm>
            <a:off x="533400" y="762000"/>
            <a:ext cx="7543800" cy="4495800"/>
          </a:xfrm>
          <a:prstGeom prst="roundRect">
            <a:avLst/>
          </a:prstGeom>
          <a:solidFill>
            <a:schemeClr val="accent1">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685800" y="5105401"/>
          <a:ext cx="7543800" cy="975360"/>
        </p:xfrm>
        <a:graphic>
          <a:graphicData uri="http://schemas.openxmlformats.org/drawingml/2006/table">
            <a:tbl>
              <a:tblPr/>
              <a:tblGrid>
                <a:gridCol w="7543800"/>
              </a:tblGrid>
              <a:tr h="205740">
                <a:tc>
                  <a:txBody>
                    <a:bodyPr/>
                    <a:lstStyle/>
                    <a:p>
                      <a:pPr marL="0" marR="0" algn="just">
                        <a:lnSpc>
                          <a:spcPct val="100000"/>
                        </a:lnSpc>
                        <a:spcBef>
                          <a:spcPts val="0"/>
                        </a:spcBef>
                        <a:spcAft>
                          <a:spcPts val="0"/>
                        </a:spcAft>
                      </a:pPr>
                      <a:endParaRPr lang="it-IT" sz="1600" dirty="0">
                        <a:latin typeface="FrutigerLight"/>
                        <a:ea typeface="Times New Roman"/>
                        <a:cs typeface="Arial"/>
                      </a:endParaRPr>
                    </a:p>
                  </a:txBody>
                  <a:tcPr marL="0" marR="0" marT="0" marB="0" anchor="ctr">
                    <a:lnL>
                      <a:noFill/>
                    </a:lnL>
                    <a:lnR>
                      <a:noFill/>
                    </a:lnR>
                    <a:lnT>
                      <a:noFill/>
                    </a:lnT>
                    <a:lnB>
                      <a:noFill/>
                    </a:lnB>
                    <a:solidFill>
                      <a:srgbClr val="FFFFFF"/>
                    </a:solidFill>
                  </a:tcPr>
                </a:tc>
              </a:tr>
              <a:tr h="617221">
                <a:tc>
                  <a:txBody>
                    <a:bodyPr/>
                    <a:lstStyle/>
                    <a:p>
                      <a:pPr marL="0" marR="0">
                        <a:lnSpc>
                          <a:spcPct val="100000"/>
                        </a:lnSpc>
                        <a:spcBef>
                          <a:spcPts val="200"/>
                        </a:spcBef>
                        <a:spcAft>
                          <a:spcPts val="1200"/>
                        </a:spcAft>
                      </a:pPr>
                      <a:r>
                        <a:rPr lang="it-IT" sz="1600" dirty="0">
                          <a:latin typeface="FrutigerLight"/>
                          <a:ea typeface="Times New Roman"/>
                          <a:cs typeface="Times New Roman"/>
                        </a:rPr>
                        <a:t>Note: (*) punteggio compreso tra 1 e 7; (**) il benchmark è costituito dai Paesi che secondo il WEF rientrano nella stessa categoria della Romania (Efficiency Driver Country). Fonte: World Economic Forum </a:t>
                      </a:r>
                      <a:endParaRPr lang="en-US" sz="1600" dirty="0">
                        <a:latin typeface="FrutigerLight"/>
                        <a:ea typeface="Times New Roman"/>
                        <a:cs typeface="Times New Roman"/>
                      </a:endParaRPr>
                    </a:p>
                  </a:txBody>
                  <a:tcPr marL="0" marR="0" marT="0" marB="0">
                    <a:lnL>
                      <a:noFill/>
                    </a:lnL>
                    <a:lnR>
                      <a:noFill/>
                    </a:lnR>
                    <a:lnT>
                      <a:noFill/>
                    </a:lnT>
                    <a:lnB>
                      <a:noFill/>
                    </a:lnB>
                  </a:tcPr>
                </a:tc>
              </a:tr>
            </a:tbl>
          </a:graphicData>
        </a:graphic>
      </p:graphicFrame>
      <p:pic>
        <p:nvPicPr>
          <p:cNvPr id="87041" name="Picture 1"/>
          <p:cNvPicPr>
            <a:picLocks noChangeAspect="1" noChangeArrowheads="1"/>
          </p:cNvPicPr>
          <p:nvPr/>
        </p:nvPicPr>
        <p:blipFill>
          <a:blip r:embed="rId2"/>
          <a:srcRect/>
          <a:stretch>
            <a:fillRect/>
          </a:stretch>
        </p:blipFill>
        <p:spPr bwMode="auto">
          <a:xfrm>
            <a:off x="457200" y="713351"/>
            <a:ext cx="7696200" cy="4423799"/>
          </a:xfrm>
          <a:prstGeom prst="rect">
            <a:avLst/>
          </a:prstGeom>
          <a:noFill/>
        </p:spPr>
      </p:pic>
      <p:sp>
        <p:nvSpPr>
          <p:cNvPr id="4" name="TextBox 3"/>
          <p:cNvSpPr txBox="1"/>
          <p:nvPr/>
        </p:nvSpPr>
        <p:spPr>
          <a:xfrm>
            <a:off x="533400" y="304800"/>
            <a:ext cx="3595921" cy="369332"/>
          </a:xfrm>
          <a:prstGeom prst="rect">
            <a:avLst/>
          </a:prstGeom>
          <a:noFill/>
        </p:spPr>
        <p:txBody>
          <a:bodyPr wrap="none" rtlCol="0">
            <a:spAutoFit/>
          </a:bodyPr>
          <a:lstStyle/>
          <a:p>
            <a:r>
              <a:rPr lang="en-US" b="1" dirty="0" err="1" smtClean="0"/>
              <a:t>Indice</a:t>
            </a:r>
            <a:r>
              <a:rPr lang="en-US" b="1" dirty="0" smtClean="0"/>
              <a:t> </a:t>
            </a:r>
            <a:r>
              <a:rPr lang="en-US" b="1" dirty="0" err="1" smtClean="0"/>
              <a:t>di</a:t>
            </a:r>
            <a:r>
              <a:rPr lang="en-US" b="1" dirty="0" smtClean="0"/>
              <a:t> </a:t>
            </a:r>
            <a:r>
              <a:rPr lang="en-US" b="1" dirty="0" err="1" smtClean="0"/>
              <a:t>competitivita</a:t>
            </a:r>
            <a:r>
              <a:rPr lang="en-US" b="1" dirty="0" smtClean="0"/>
              <a:t>’ </a:t>
            </a:r>
            <a:r>
              <a:rPr lang="en-US" b="1" dirty="0" err="1" smtClean="0"/>
              <a:t>globale</a:t>
            </a:r>
            <a:r>
              <a:rPr lang="en-US" b="1" dirty="0" smtClean="0"/>
              <a:t> </a:t>
            </a:r>
            <a:endParaRPr lang="en-US" b="1" dirty="0"/>
          </a:p>
        </p:txBody>
      </p:sp>
      <p:sp>
        <p:nvSpPr>
          <p:cNvPr id="5" name="Rounded Rectangle 4"/>
          <p:cNvSpPr/>
          <p:nvPr/>
        </p:nvSpPr>
        <p:spPr>
          <a:xfrm>
            <a:off x="457200" y="762000"/>
            <a:ext cx="8153400" cy="4419600"/>
          </a:xfrm>
          <a:prstGeom prst="roundRect">
            <a:avLst/>
          </a:prstGeom>
          <a:solidFill>
            <a:schemeClr val="accent1">
              <a:alpha val="2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p:cNvSpPr>
          <p:nvPr>
            <p:ph type="title"/>
          </p:nvPr>
        </p:nvSpPr>
        <p:spPr/>
        <p:txBody>
          <a:bodyPr/>
          <a:lstStyle/>
          <a:p>
            <a:r>
              <a:rPr lang="ro-RO" smtClean="0"/>
              <a:t>Intesa Sanpaolo </a:t>
            </a:r>
            <a:r>
              <a:rPr lang="en-GB" smtClean="0"/>
              <a:t>International network</a:t>
            </a:r>
          </a:p>
        </p:txBody>
      </p:sp>
      <p:sp>
        <p:nvSpPr>
          <p:cNvPr id="9219" name="Slide Number Placeholder 4"/>
          <p:cNvSpPr txBox="1">
            <a:spLocks/>
          </p:cNvSpPr>
          <p:nvPr/>
        </p:nvSpPr>
        <p:spPr bwMode="auto">
          <a:xfrm>
            <a:off x="4191000" y="6310313"/>
            <a:ext cx="762000" cy="457200"/>
          </a:xfrm>
          <a:prstGeom prst="rect">
            <a:avLst/>
          </a:prstGeom>
          <a:noFill/>
          <a:ln w="9525">
            <a:noFill/>
            <a:miter lim="800000"/>
            <a:headEnd/>
            <a:tailEnd/>
          </a:ln>
        </p:spPr>
        <p:txBody>
          <a:bodyPr anchor="ctr"/>
          <a:lstStyle/>
          <a:p>
            <a:pPr algn="ctr"/>
            <a:fld id="{AADC98B4-9B37-430D-8967-A5F33648914F}" type="slidenum">
              <a:rPr lang="en-GB" sz="1000"/>
              <a:pPr algn="ctr"/>
              <a:t>3</a:t>
            </a:fld>
            <a:endParaRPr lang="en-GB" sz="1000"/>
          </a:p>
        </p:txBody>
      </p:sp>
      <p:pic>
        <p:nvPicPr>
          <p:cNvPr id="9220" name="Picture 5"/>
          <p:cNvPicPr>
            <a:picLocks noChangeAspect="1" noChangeArrowheads="1"/>
          </p:cNvPicPr>
          <p:nvPr/>
        </p:nvPicPr>
        <p:blipFill>
          <a:blip r:embed="rId3"/>
          <a:srcRect r="8984"/>
          <a:stretch>
            <a:fillRect/>
          </a:stretch>
        </p:blipFill>
        <p:spPr bwMode="auto">
          <a:xfrm>
            <a:off x="3557588" y="1000125"/>
            <a:ext cx="5514975" cy="3573463"/>
          </a:xfrm>
          <a:prstGeom prst="rect">
            <a:avLst/>
          </a:prstGeom>
          <a:noFill/>
          <a:ln w="9525">
            <a:noFill/>
            <a:miter lim="800000"/>
            <a:headEnd/>
            <a:tailEnd/>
          </a:ln>
        </p:spPr>
      </p:pic>
      <p:graphicFrame>
        <p:nvGraphicFramePr>
          <p:cNvPr id="6" name="Table 5"/>
          <p:cNvGraphicFramePr>
            <a:graphicFrameLocks noGrp="1"/>
          </p:cNvGraphicFramePr>
          <p:nvPr/>
        </p:nvGraphicFramePr>
        <p:xfrm>
          <a:off x="214313" y="927100"/>
          <a:ext cx="3319456" cy="4644408"/>
        </p:xfrm>
        <a:graphic>
          <a:graphicData uri="http://schemas.openxmlformats.org/drawingml/2006/table">
            <a:tbl>
              <a:tblPr firstRow="1" bandRow="1">
                <a:tableStyleId>{5C22544A-7EE6-4342-B048-85BDC9FD1C3A}</a:tableStyleId>
              </a:tblPr>
              <a:tblGrid>
                <a:gridCol w="1533506"/>
                <a:gridCol w="1785950"/>
              </a:tblGrid>
              <a:tr h="428628">
                <a:tc gridSpan="2">
                  <a:txBody>
                    <a:bodyPr/>
                    <a:lstStyle/>
                    <a:p>
                      <a:r>
                        <a:rPr lang="en-US" sz="1400" dirty="0" smtClean="0">
                          <a:solidFill>
                            <a:schemeClr val="tx1"/>
                          </a:solidFill>
                        </a:rPr>
                        <a:t>ITALY</a:t>
                      </a:r>
                      <a:endParaRPr lang="en-US" sz="1400" dirty="0">
                        <a:solidFill>
                          <a:schemeClr val="tx1"/>
                        </a:solidFill>
                      </a:endParaRPr>
                    </a:p>
                  </a:txBody>
                  <a:tcPr anchor="b">
                    <a:noFill/>
                  </a:tcPr>
                </a:tc>
                <a:tc hMerge="1">
                  <a:txBody>
                    <a:bodyPr/>
                    <a:lstStyle/>
                    <a:p>
                      <a:endParaRPr lang="en-US" dirty="0"/>
                    </a:p>
                  </a:txBody>
                  <a:tcPr/>
                </a:tc>
              </a:tr>
              <a:tr h="428628">
                <a:tc gridSpan="2">
                  <a:txBody>
                    <a:bodyPr/>
                    <a:lstStyle/>
                    <a:p>
                      <a:r>
                        <a:rPr lang="en-US" sz="1400" b="1" dirty="0" smtClean="0">
                          <a:solidFill>
                            <a:schemeClr val="bg1"/>
                          </a:solidFill>
                        </a:rPr>
                        <a:t>5,648 Branches</a:t>
                      </a:r>
                      <a:endParaRPr lang="en-US" sz="1400" b="1" dirty="0">
                        <a:solidFill>
                          <a:schemeClr val="bg1"/>
                        </a:solidFill>
                      </a:endParaRPr>
                    </a:p>
                  </a:txBody>
                  <a:tcPr>
                    <a:solidFill>
                      <a:schemeClr val="accent1">
                        <a:lumMod val="50000"/>
                      </a:schemeClr>
                    </a:solidFill>
                  </a:tcPr>
                </a:tc>
                <a:tc hMerge="1">
                  <a:txBody>
                    <a:bodyPr/>
                    <a:lstStyle/>
                    <a:p>
                      <a:endParaRPr lang="en-US" dirty="0"/>
                    </a:p>
                  </a:txBody>
                  <a:tcPr/>
                </a:tc>
              </a:tr>
              <a:tr h="428628">
                <a:tc gridSpan="2">
                  <a:txBody>
                    <a:bodyPr/>
                    <a:lstStyle/>
                    <a:p>
                      <a:r>
                        <a:rPr lang="en-US" sz="1400" b="1" dirty="0" smtClean="0"/>
                        <a:t>OTHER EUROPEAN</a:t>
                      </a:r>
                      <a:r>
                        <a:rPr lang="en-US" sz="1400" b="1" baseline="0" dirty="0" smtClean="0"/>
                        <a:t> COUNTRIES</a:t>
                      </a:r>
                      <a:endParaRPr lang="en-US" sz="1400" b="1" dirty="0"/>
                    </a:p>
                  </a:txBody>
                  <a:tcPr anchor="b">
                    <a:noFill/>
                  </a:tcPr>
                </a:tc>
                <a:tc hMerge="1">
                  <a:txBody>
                    <a:bodyPr/>
                    <a:lstStyle/>
                    <a:p>
                      <a:endParaRPr lang="en-US" dirty="0"/>
                    </a:p>
                  </a:txBody>
                  <a:tcPr/>
                </a:tc>
              </a:tr>
              <a:tr h="428628">
                <a:tc>
                  <a:txBody>
                    <a:bodyPr/>
                    <a:lstStyle/>
                    <a:p>
                      <a:r>
                        <a:rPr lang="en-US" sz="1400" b="1" dirty="0" smtClean="0">
                          <a:solidFill>
                            <a:schemeClr val="bg1"/>
                          </a:solidFill>
                        </a:rPr>
                        <a:t>1,364 Branches</a:t>
                      </a:r>
                      <a:endParaRPr lang="en-US" sz="1400" b="1" dirty="0">
                        <a:solidFill>
                          <a:schemeClr val="bg1"/>
                        </a:solidFill>
                      </a:endParaRPr>
                    </a:p>
                  </a:txBody>
                  <a:tcPr>
                    <a:solidFill>
                      <a:schemeClr val="accent1">
                        <a:lumMod val="75000"/>
                      </a:schemeClr>
                    </a:solidFill>
                  </a:tcPr>
                </a:tc>
                <a:tc>
                  <a:txBody>
                    <a:bodyPr/>
                    <a:lstStyle/>
                    <a:p>
                      <a:r>
                        <a:rPr lang="en-US" sz="1400" b="1" dirty="0" smtClean="0">
                          <a:solidFill>
                            <a:schemeClr val="bg1"/>
                          </a:solidFill>
                        </a:rPr>
                        <a:t>10 Representative</a:t>
                      </a:r>
                    </a:p>
                    <a:p>
                      <a:r>
                        <a:rPr lang="en-US" sz="1400" b="1" dirty="0" smtClean="0">
                          <a:solidFill>
                            <a:schemeClr val="bg1"/>
                          </a:solidFill>
                        </a:rPr>
                        <a:t> Offices</a:t>
                      </a:r>
                      <a:endParaRPr lang="en-US" sz="1400" b="1" dirty="0">
                        <a:solidFill>
                          <a:schemeClr val="bg1"/>
                        </a:solidFill>
                      </a:endParaRPr>
                    </a:p>
                  </a:txBody>
                  <a:tcPr>
                    <a:solidFill>
                      <a:schemeClr val="accent1">
                        <a:lumMod val="75000"/>
                      </a:schemeClr>
                    </a:solidFill>
                  </a:tcPr>
                </a:tc>
              </a:tr>
              <a:tr h="428628">
                <a:tc>
                  <a:txBody>
                    <a:bodyPr/>
                    <a:lstStyle/>
                    <a:p>
                      <a:r>
                        <a:rPr lang="en-US" sz="1400" b="1" dirty="0" smtClean="0"/>
                        <a:t>AMERICA</a:t>
                      </a:r>
                      <a:endParaRPr lang="en-US" sz="1400" b="1" dirty="0"/>
                    </a:p>
                  </a:txBody>
                  <a:tcPr anchor="b">
                    <a:noFill/>
                  </a:tcPr>
                </a:tc>
                <a:tc>
                  <a:txBody>
                    <a:bodyPr/>
                    <a:lstStyle/>
                    <a:p>
                      <a:endParaRPr lang="en-US" sz="1400" dirty="0"/>
                    </a:p>
                  </a:txBody>
                  <a:tcPr>
                    <a:noFill/>
                  </a:tcPr>
                </a:tc>
              </a:tr>
              <a:tr h="428628">
                <a:tc>
                  <a:txBody>
                    <a:bodyPr/>
                    <a:lstStyle/>
                    <a:p>
                      <a:r>
                        <a:rPr lang="en-US" sz="1400" b="1" dirty="0" smtClean="0">
                          <a:solidFill>
                            <a:schemeClr val="bg1"/>
                          </a:solidFill>
                        </a:rPr>
                        <a:t>2 Branches</a:t>
                      </a:r>
                      <a:endParaRPr lang="en-US" sz="1400" b="1" dirty="0">
                        <a:solidFill>
                          <a:schemeClr val="bg1"/>
                        </a:solidFill>
                      </a:endParaRPr>
                    </a:p>
                  </a:txBody>
                  <a:tcPr>
                    <a:solidFill>
                      <a:srgbClr val="00B050"/>
                    </a:solidFill>
                  </a:tcPr>
                </a:tc>
                <a:tc>
                  <a:txBody>
                    <a:bodyPr/>
                    <a:lstStyle/>
                    <a:p>
                      <a:r>
                        <a:rPr lang="en-US" sz="1400" b="1" dirty="0" smtClean="0">
                          <a:solidFill>
                            <a:schemeClr val="bg1"/>
                          </a:solidFill>
                        </a:rPr>
                        <a:t>2 Representative</a:t>
                      </a:r>
                    </a:p>
                    <a:p>
                      <a:r>
                        <a:rPr lang="en-US" sz="1400" b="1" dirty="0" smtClean="0">
                          <a:solidFill>
                            <a:schemeClr val="bg1"/>
                          </a:solidFill>
                        </a:rPr>
                        <a:t> Offices</a:t>
                      </a:r>
                      <a:endParaRPr lang="en-US" sz="1400" b="1" dirty="0">
                        <a:solidFill>
                          <a:schemeClr val="bg1"/>
                        </a:solidFill>
                      </a:endParaRPr>
                    </a:p>
                  </a:txBody>
                  <a:tcPr>
                    <a:solidFill>
                      <a:srgbClr val="00B050"/>
                    </a:solidFill>
                  </a:tcPr>
                </a:tc>
              </a:tr>
              <a:tr h="428628">
                <a:tc>
                  <a:txBody>
                    <a:bodyPr/>
                    <a:lstStyle/>
                    <a:p>
                      <a:r>
                        <a:rPr lang="en-US" sz="1400" b="1" dirty="0" smtClean="0"/>
                        <a:t>ASIA</a:t>
                      </a:r>
                      <a:endParaRPr lang="en-US" sz="1400" b="1" dirty="0"/>
                    </a:p>
                  </a:txBody>
                  <a:tcPr anchor="b">
                    <a:noFill/>
                  </a:tcPr>
                </a:tc>
                <a:tc>
                  <a:txBody>
                    <a:bodyPr/>
                    <a:lstStyle/>
                    <a:p>
                      <a:endParaRPr lang="en-US" sz="1400" dirty="0"/>
                    </a:p>
                  </a:txBody>
                  <a:tcPr>
                    <a:noFill/>
                  </a:tcPr>
                </a:tc>
              </a:tr>
              <a:tr h="428628">
                <a:tc>
                  <a:txBody>
                    <a:bodyPr/>
                    <a:lstStyle/>
                    <a:p>
                      <a:r>
                        <a:rPr lang="en-US" sz="1400" b="1" dirty="0" smtClean="0">
                          <a:solidFill>
                            <a:schemeClr val="bg1"/>
                          </a:solidFill>
                        </a:rPr>
                        <a:t>5 Branches</a:t>
                      </a:r>
                      <a:endParaRPr lang="en-US" sz="1400" b="1" dirty="0">
                        <a:solidFill>
                          <a:schemeClr val="bg1"/>
                        </a:solidFill>
                      </a:endParaRPr>
                    </a:p>
                  </a:txBody>
                  <a:tcPr>
                    <a:solidFill>
                      <a:srgbClr val="FF5200"/>
                    </a:solidFill>
                  </a:tcPr>
                </a:tc>
                <a:tc>
                  <a:txBody>
                    <a:bodyPr/>
                    <a:lstStyle/>
                    <a:p>
                      <a:r>
                        <a:rPr lang="en-US" sz="1400" b="1" dirty="0" smtClean="0">
                          <a:solidFill>
                            <a:schemeClr val="bg1"/>
                          </a:solidFill>
                        </a:rPr>
                        <a:t>7 Representative</a:t>
                      </a:r>
                    </a:p>
                    <a:p>
                      <a:r>
                        <a:rPr lang="en-US" sz="1400" b="1" dirty="0" smtClean="0">
                          <a:solidFill>
                            <a:schemeClr val="bg1"/>
                          </a:solidFill>
                        </a:rPr>
                        <a:t> Offices</a:t>
                      </a:r>
                      <a:endParaRPr lang="en-US" sz="1400" b="1" dirty="0">
                        <a:solidFill>
                          <a:schemeClr val="bg1"/>
                        </a:solidFill>
                      </a:endParaRPr>
                    </a:p>
                  </a:txBody>
                  <a:tcPr>
                    <a:solidFill>
                      <a:srgbClr val="FF5200"/>
                    </a:solidFill>
                  </a:tcPr>
                </a:tc>
              </a:tr>
              <a:tr h="428628">
                <a:tc>
                  <a:txBody>
                    <a:bodyPr/>
                    <a:lstStyle/>
                    <a:p>
                      <a:r>
                        <a:rPr lang="en-US" sz="1400" b="1" dirty="0" smtClean="0"/>
                        <a:t>AFRICA</a:t>
                      </a:r>
                      <a:endParaRPr lang="en-US" sz="1400" b="1" dirty="0"/>
                    </a:p>
                  </a:txBody>
                  <a:tcPr anchor="b">
                    <a:noFill/>
                  </a:tcPr>
                </a:tc>
                <a:tc>
                  <a:txBody>
                    <a:bodyPr/>
                    <a:lstStyle/>
                    <a:p>
                      <a:endParaRPr lang="en-US" sz="1400" dirty="0"/>
                    </a:p>
                  </a:txBody>
                  <a:tcPr>
                    <a:noFill/>
                  </a:tcPr>
                </a:tc>
              </a:tr>
              <a:tr h="428628">
                <a:tc>
                  <a:txBody>
                    <a:bodyPr/>
                    <a:lstStyle/>
                    <a:p>
                      <a:r>
                        <a:rPr lang="en-US" sz="1400" b="1" dirty="0" smtClean="0">
                          <a:solidFill>
                            <a:schemeClr val="bg1"/>
                          </a:solidFill>
                        </a:rPr>
                        <a:t>200 Branches</a:t>
                      </a:r>
                      <a:endParaRPr lang="en-US" sz="1400" b="1" dirty="0">
                        <a:solidFill>
                          <a:schemeClr val="bg1"/>
                        </a:solidFill>
                      </a:endParaRPr>
                    </a:p>
                  </a:txBody>
                  <a:tcPr>
                    <a:solidFill>
                      <a:schemeClr val="accent6"/>
                    </a:solidFill>
                  </a:tcPr>
                </a:tc>
                <a:tc>
                  <a:txBody>
                    <a:bodyPr/>
                    <a:lstStyle/>
                    <a:p>
                      <a:r>
                        <a:rPr lang="en-US" sz="1400" b="1" dirty="0" smtClean="0">
                          <a:solidFill>
                            <a:schemeClr val="bg1"/>
                          </a:solidFill>
                        </a:rPr>
                        <a:t>3 Representative</a:t>
                      </a:r>
                    </a:p>
                    <a:p>
                      <a:r>
                        <a:rPr lang="en-US" sz="1400" b="1" dirty="0" smtClean="0">
                          <a:solidFill>
                            <a:schemeClr val="bg1"/>
                          </a:solidFill>
                        </a:rPr>
                        <a:t> Offices</a:t>
                      </a:r>
                      <a:endParaRPr lang="en-US" sz="1400" b="1" dirty="0">
                        <a:solidFill>
                          <a:schemeClr val="bg1"/>
                        </a:solidFill>
                      </a:endParaRPr>
                    </a:p>
                  </a:txBody>
                  <a:tcPr>
                    <a:solidFill>
                      <a:schemeClr val="accent6"/>
                    </a:solidFill>
                  </a:tcPr>
                </a:tc>
              </a:tr>
            </a:tbl>
          </a:graphicData>
        </a:graphic>
      </p:graphicFrame>
      <p:sp>
        <p:nvSpPr>
          <p:cNvPr id="9253" name="Rectangle 9"/>
          <p:cNvSpPr>
            <a:spLocks noChangeArrowheads="1"/>
          </p:cNvSpPr>
          <p:nvPr/>
        </p:nvSpPr>
        <p:spPr bwMode="auto">
          <a:xfrm>
            <a:off x="360363" y="5754688"/>
            <a:ext cx="4572000" cy="246062"/>
          </a:xfrm>
          <a:prstGeom prst="rect">
            <a:avLst/>
          </a:prstGeom>
          <a:noFill/>
          <a:ln w="9525">
            <a:noFill/>
            <a:miter lim="800000"/>
            <a:headEnd/>
            <a:tailEnd/>
          </a:ln>
        </p:spPr>
        <p:txBody>
          <a:bodyPr>
            <a:spAutoFit/>
          </a:bodyPr>
          <a:lstStyle/>
          <a:p>
            <a:r>
              <a:rPr lang="en-US" sz="1000" i="1"/>
              <a:t>Figures as at 31 March 2012</a:t>
            </a:r>
          </a:p>
        </p:txBody>
      </p:sp>
    </p:spTree>
  </p:cSld>
  <p:clrMapOvr>
    <a:masterClrMapping/>
  </p:clrMapOvr>
  <p:transition spd="slow">
    <p:split orient="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CasellaDiTesto 3"/>
          <p:cNvSpPr txBox="1">
            <a:spLocks noChangeArrowheads="1"/>
          </p:cNvSpPr>
          <p:nvPr/>
        </p:nvSpPr>
        <p:spPr bwMode="auto">
          <a:xfrm>
            <a:off x="3995936" y="5991091"/>
            <a:ext cx="48878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it-IT" sz="1000" dirty="0" smtClean="0"/>
              <a:t>Scheda Perugia – L’Italia delle Province - Servizio </a:t>
            </a:r>
            <a:r>
              <a:rPr lang="it-IT" sz="1000" dirty="0"/>
              <a:t>Studi e Ricerche ISP – </a:t>
            </a:r>
            <a:r>
              <a:rPr lang="it-IT" sz="1000" dirty="0" smtClean="0"/>
              <a:t>09/2012</a:t>
            </a:r>
            <a:endParaRPr lang="it-IT" sz="1000" dirty="0"/>
          </a:p>
        </p:txBody>
      </p:sp>
      <p:sp>
        <p:nvSpPr>
          <p:cNvPr id="16389" name="Rectangle 2"/>
          <p:cNvSpPr>
            <a:spLocks noChangeArrowheads="1"/>
          </p:cNvSpPr>
          <p:nvPr/>
        </p:nvSpPr>
        <p:spPr bwMode="auto">
          <a:xfrm>
            <a:off x="250825" y="257175"/>
            <a:ext cx="91440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r>
              <a:rPr lang="it-IT" sz="2400" b="1" dirty="0"/>
              <a:t>Principali Paesi partner Export </a:t>
            </a:r>
            <a:r>
              <a:rPr lang="it-IT" sz="2400" b="1" dirty="0" smtClean="0"/>
              <a:t>Perugia – Umbria - Italia</a:t>
            </a:r>
            <a:endParaRPr lang="it-IT" sz="2400" b="1"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076" y="679840"/>
            <a:ext cx="8702180" cy="5125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ttangolo 9"/>
          <p:cNvSpPr/>
          <p:nvPr/>
        </p:nvSpPr>
        <p:spPr>
          <a:xfrm>
            <a:off x="231128" y="2810437"/>
            <a:ext cx="8589344" cy="215900"/>
          </a:xfrm>
          <a:prstGeom prst="rect">
            <a:avLst/>
          </a:prstGeom>
          <a:noFill/>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
        <p:nvSpPr>
          <p:cNvPr id="11" name="Freccia a destra 10"/>
          <p:cNvSpPr/>
          <p:nvPr/>
        </p:nvSpPr>
        <p:spPr>
          <a:xfrm>
            <a:off x="-116056" y="2668794"/>
            <a:ext cx="433388" cy="503238"/>
          </a:xfrm>
          <a:prstGeom prst="rightArrow">
            <a:avLst/>
          </a:prstGeom>
          <a:ln>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Tree>
    <p:extLst>
      <p:ext uri="{BB962C8B-B14F-4D97-AF65-F5344CB8AC3E}">
        <p14:creationId xmlns:p14="http://schemas.microsoft.com/office/powerpoint/2010/main" val="29930819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533400" y="234950"/>
            <a:ext cx="8358188" cy="369332"/>
          </a:xfrm>
        </p:spPr>
        <p:txBody>
          <a:bodyPr/>
          <a:lstStyle/>
          <a:p>
            <a:r>
              <a:rPr lang="en-US" dirty="0" smtClean="0"/>
              <a:t>CONTATTI  INTESA SANPAOLOBANK ROMANIA</a:t>
            </a:r>
            <a:endParaRPr lang="ro-RO" dirty="0" smtClean="0"/>
          </a:p>
        </p:txBody>
      </p:sp>
      <p:sp>
        <p:nvSpPr>
          <p:cNvPr id="31" name="Rectangle 79"/>
          <p:cNvSpPr>
            <a:spLocks noChangeArrowheads="1"/>
          </p:cNvSpPr>
          <p:nvPr/>
        </p:nvSpPr>
        <p:spPr bwMode="auto">
          <a:xfrm>
            <a:off x="4494213" y="3044825"/>
            <a:ext cx="0" cy="323850"/>
          </a:xfrm>
          <a:prstGeom prst="rect">
            <a:avLst/>
          </a:prstGeom>
          <a:noFill/>
          <a:ln w="9525">
            <a:solidFill>
              <a:schemeClr val="tx2">
                <a:lumMod val="75000"/>
                <a:lumOff val="25000"/>
              </a:schemeClr>
            </a:solidFill>
            <a:prstDash val="sysDash"/>
            <a:miter lim="800000"/>
            <a:headEnd/>
            <a:tailEnd/>
          </a:ln>
        </p:spPr>
        <p:txBody>
          <a:bodyPr wrap="none" lIns="0" tIns="0" rIns="0" bIns="0">
            <a:spAutoFit/>
          </a:bodyPr>
          <a:lstStyle/>
          <a:p>
            <a:pPr defTabSz="762000" fontAlgn="auto">
              <a:spcBef>
                <a:spcPts val="0"/>
              </a:spcBef>
              <a:spcAft>
                <a:spcPts val="0"/>
              </a:spcAft>
              <a:defRPr/>
            </a:pPr>
            <a:endParaRPr lang="ro-RO" sz="1200">
              <a:latin typeface="+mn-lt"/>
            </a:endParaRPr>
          </a:p>
        </p:txBody>
      </p:sp>
      <p:grpSp>
        <p:nvGrpSpPr>
          <p:cNvPr id="3" name="Group 76"/>
          <p:cNvGrpSpPr>
            <a:grpSpLocks/>
          </p:cNvGrpSpPr>
          <p:nvPr/>
        </p:nvGrpSpPr>
        <p:grpSpPr bwMode="auto">
          <a:xfrm>
            <a:off x="1371600" y="1524000"/>
            <a:ext cx="5332830" cy="1066800"/>
            <a:chOff x="3430" y="1154"/>
            <a:chExt cx="781" cy="479"/>
          </a:xfrm>
        </p:grpSpPr>
        <p:sp>
          <p:nvSpPr>
            <p:cNvPr id="28689" name="Rectangle 77"/>
            <p:cNvSpPr>
              <a:spLocks noChangeArrowheads="1"/>
            </p:cNvSpPr>
            <p:nvPr>
              <p:custDataLst>
                <p:tags r:id="rId3"/>
              </p:custDataLst>
            </p:nvPr>
          </p:nvSpPr>
          <p:spPr bwMode="gray">
            <a:xfrm>
              <a:off x="3430" y="1154"/>
              <a:ext cx="781" cy="479"/>
            </a:xfrm>
            <a:prstGeom prst="rect">
              <a:avLst/>
            </a:prstGeom>
            <a:solidFill>
              <a:srgbClr val="FFFFFF"/>
            </a:solidFill>
            <a:ln w="9525">
              <a:solidFill>
                <a:srgbClr val="000000"/>
              </a:solidFill>
              <a:miter lim="800000"/>
              <a:headEnd/>
              <a:tailEnd/>
            </a:ln>
          </p:spPr>
          <p:txBody>
            <a:bodyPr lIns="0" tIns="18000" rIns="0" bIns="0" anchor="ctr" anchorCtr="1"/>
            <a:lstStyle/>
            <a:p>
              <a:pPr algn="ctr"/>
              <a:r>
                <a:rPr lang="en-US" dirty="0">
                  <a:solidFill>
                    <a:srgbClr val="000000"/>
                  </a:solidFill>
                  <a:cs typeface="Arial" charset="0"/>
                </a:rPr>
                <a:t>Multinational</a:t>
              </a:r>
            </a:p>
            <a:p>
              <a:pPr algn="ctr"/>
              <a:r>
                <a:rPr lang="en-US" b="1" dirty="0">
                  <a:solidFill>
                    <a:srgbClr val="000000"/>
                  </a:solidFill>
                  <a:cs typeface="Arial" charset="0"/>
                </a:rPr>
                <a:t>Alina Bondor</a:t>
              </a:r>
            </a:p>
            <a:p>
              <a:pPr algn="ctr"/>
              <a:r>
                <a:rPr lang="en-US" sz="1000" dirty="0">
                  <a:solidFill>
                    <a:srgbClr val="000000"/>
                  </a:solidFill>
                  <a:cs typeface="Arial" charset="0"/>
                </a:rPr>
                <a:t>Ph: </a:t>
              </a:r>
              <a:r>
                <a:rPr lang="en-US" sz="1000" dirty="0">
                  <a:solidFill>
                    <a:srgbClr val="000000"/>
                  </a:solidFill>
                </a:rPr>
                <a:t>+4021 405 3639</a:t>
              </a:r>
            </a:p>
            <a:p>
              <a:pPr algn="ctr"/>
              <a:r>
                <a:rPr lang="en-US" sz="1000" dirty="0">
                  <a:solidFill>
                    <a:srgbClr val="000000"/>
                  </a:solidFill>
                </a:rPr>
                <a:t>E-mail: alina.bondor@intesasanpaolo.ro</a:t>
              </a:r>
              <a:endParaRPr lang="en-US" sz="1000" dirty="0">
                <a:solidFill>
                  <a:srgbClr val="000000"/>
                </a:solidFill>
                <a:cs typeface="Arial" charset="0"/>
              </a:endParaRPr>
            </a:p>
          </p:txBody>
        </p:sp>
        <p:sp>
          <p:nvSpPr>
            <p:cNvPr id="28690" name="Rectangle 79"/>
            <p:cNvSpPr>
              <a:spLocks noChangeArrowheads="1"/>
            </p:cNvSpPr>
            <p:nvPr/>
          </p:nvSpPr>
          <p:spPr bwMode="auto">
            <a:xfrm>
              <a:off x="3555" y="1413"/>
              <a:ext cx="0" cy="182"/>
            </a:xfrm>
            <a:prstGeom prst="rect">
              <a:avLst/>
            </a:prstGeom>
            <a:noFill/>
            <a:ln w="9525">
              <a:noFill/>
              <a:miter lim="800000"/>
              <a:headEnd/>
              <a:tailEnd/>
            </a:ln>
          </p:spPr>
          <p:txBody>
            <a:bodyPr wrap="none" lIns="0" tIns="0" rIns="0" bIns="0" anchor="ctr">
              <a:spAutoFit/>
            </a:bodyPr>
            <a:lstStyle/>
            <a:p>
              <a:pPr defTabSz="762000"/>
              <a:endParaRPr lang="ro-RO">
                <a:cs typeface="Arial" charset="0"/>
              </a:endParaRPr>
            </a:p>
          </p:txBody>
        </p:sp>
      </p:grpSp>
      <p:sp>
        <p:nvSpPr>
          <p:cNvPr id="28682" name="Rectangle 79"/>
          <p:cNvSpPr>
            <a:spLocks noChangeArrowheads="1"/>
          </p:cNvSpPr>
          <p:nvPr/>
        </p:nvSpPr>
        <p:spPr bwMode="auto">
          <a:xfrm>
            <a:off x="2054225" y="3900488"/>
            <a:ext cx="0" cy="223837"/>
          </a:xfrm>
          <a:prstGeom prst="rect">
            <a:avLst/>
          </a:prstGeom>
          <a:noFill/>
          <a:ln w="9525">
            <a:noFill/>
            <a:miter lim="800000"/>
            <a:headEnd/>
            <a:tailEnd/>
          </a:ln>
        </p:spPr>
        <p:txBody>
          <a:bodyPr wrap="none" lIns="0" tIns="0" rIns="0" bIns="0">
            <a:spAutoFit/>
          </a:bodyPr>
          <a:lstStyle/>
          <a:p>
            <a:pPr defTabSz="762000"/>
            <a:endParaRPr lang="ro-RO" sz="1200">
              <a:latin typeface="Calibri" pitchFamily="34" charset="0"/>
            </a:endParaRPr>
          </a:p>
        </p:txBody>
      </p:sp>
      <p:sp>
        <p:nvSpPr>
          <p:cNvPr id="19" name="Rectangle 77"/>
          <p:cNvSpPr>
            <a:spLocks noChangeArrowheads="1"/>
          </p:cNvSpPr>
          <p:nvPr>
            <p:custDataLst>
              <p:tags r:id="rId1"/>
            </p:custDataLst>
          </p:nvPr>
        </p:nvSpPr>
        <p:spPr bwMode="gray">
          <a:xfrm>
            <a:off x="1371600" y="2895600"/>
            <a:ext cx="5334000" cy="1066800"/>
          </a:xfrm>
          <a:prstGeom prst="rect">
            <a:avLst/>
          </a:prstGeom>
          <a:solidFill>
            <a:srgbClr val="FFFFFF"/>
          </a:solidFill>
          <a:ln w="9525">
            <a:solidFill>
              <a:srgbClr val="000000"/>
            </a:solidFill>
            <a:miter lim="800000"/>
            <a:headEnd/>
            <a:tailEnd/>
          </a:ln>
        </p:spPr>
        <p:txBody>
          <a:bodyPr lIns="0" tIns="18000" rIns="0" bIns="0" anchor="ctr" anchorCtr="1"/>
          <a:lstStyle/>
          <a:p>
            <a:pPr algn="ctr"/>
            <a:r>
              <a:rPr lang="en-US" dirty="0" smtClean="0">
                <a:solidFill>
                  <a:srgbClr val="000000"/>
                </a:solidFill>
                <a:cs typeface="Arial" charset="0"/>
              </a:rPr>
              <a:t>C B O</a:t>
            </a:r>
            <a:endParaRPr lang="en-US" dirty="0">
              <a:solidFill>
                <a:srgbClr val="000000"/>
              </a:solidFill>
              <a:cs typeface="Arial" charset="0"/>
            </a:endParaRPr>
          </a:p>
          <a:p>
            <a:pPr algn="ctr"/>
            <a:r>
              <a:rPr lang="en-US" b="1" dirty="0" smtClean="0">
                <a:solidFill>
                  <a:srgbClr val="000000"/>
                </a:solidFill>
                <a:cs typeface="Arial" charset="0"/>
              </a:rPr>
              <a:t>Stefano </a:t>
            </a:r>
            <a:r>
              <a:rPr lang="en-US" b="1" dirty="0" err="1" smtClean="0">
                <a:solidFill>
                  <a:srgbClr val="000000"/>
                </a:solidFill>
                <a:cs typeface="Arial" charset="0"/>
              </a:rPr>
              <a:t>Burani</a:t>
            </a:r>
            <a:r>
              <a:rPr lang="en-US" b="1" dirty="0" smtClean="0">
                <a:solidFill>
                  <a:srgbClr val="000000"/>
                </a:solidFill>
                <a:cs typeface="Arial" charset="0"/>
              </a:rPr>
              <a:t> </a:t>
            </a:r>
            <a:endParaRPr lang="en-US" b="1" dirty="0">
              <a:solidFill>
                <a:srgbClr val="000000"/>
              </a:solidFill>
              <a:cs typeface="Arial" charset="0"/>
            </a:endParaRPr>
          </a:p>
          <a:p>
            <a:pPr algn="ctr"/>
            <a:r>
              <a:rPr lang="en-US" sz="1000" dirty="0">
                <a:solidFill>
                  <a:srgbClr val="000000"/>
                </a:solidFill>
                <a:cs typeface="Arial" charset="0"/>
              </a:rPr>
              <a:t>Ph: </a:t>
            </a:r>
            <a:r>
              <a:rPr lang="en-US" sz="1000" dirty="0">
                <a:solidFill>
                  <a:srgbClr val="000000"/>
                </a:solidFill>
              </a:rPr>
              <a:t>+4021 </a:t>
            </a:r>
            <a:r>
              <a:rPr lang="en-US" sz="1000" dirty="0" smtClean="0">
                <a:solidFill>
                  <a:srgbClr val="000000"/>
                </a:solidFill>
              </a:rPr>
              <a:t> 405 3670</a:t>
            </a:r>
            <a:endParaRPr lang="en-US" sz="1000" dirty="0">
              <a:solidFill>
                <a:srgbClr val="000000"/>
              </a:solidFill>
            </a:endParaRPr>
          </a:p>
          <a:p>
            <a:pPr algn="ctr"/>
            <a:r>
              <a:rPr lang="en-US" sz="1000" dirty="0">
                <a:solidFill>
                  <a:srgbClr val="000000"/>
                </a:solidFill>
              </a:rPr>
              <a:t>E-mail: </a:t>
            </a:r>
            <a:r>
              <a:rPr lang="en-US" sz="1000" dirty="0" smtClean="0">
                <a:solidFill>
                  <a:srgbClr val="000000"/>
                </a:solidFill>
              </a:rPr>
              <a:t>stefano.burani@intesasanpaolo.ro</a:t>
            </a:r>
            <a:endParaRPr lang="en-US" sz="1000" dirty="0">
              <a:solidFill>
                <a:srgbClr val="000000"/>
              </a:solidFill>
              <a:cs typeface="Arial" charset="0"/>
            </a:endParaRPr>
          </a:p>
        </p:txBody>
      </p:sp>
      <p:sp>
        <p:nvSpPr>
          <p:cNvPr id="20" name="Rectangle 77"/>
          <p:cNvSpPr>
            <a:spLocks noChangeArrowheads="1"/>
          </p:cNvSpPr>
          <p:nvPr>
            <p:custDataLst>
              <p:tags r:id="rId2"/>
            </p:custDataLst>
          </p:nvPr>
        </p:nvSpPr>
        <p:spPr bwMode="gray">
          <a:xfrm>
            <a:off x="1371600" y="4343400"/>
            <a:ext cx="5334000" cy="1066800"/>
          </a:xfrm>
          <a:prstGeom prst="rect">
            <a:avLst/>
          </a:prstGeom>
          <a:solidFill>
            <a:srgbClr val="FFFFFF"/>
          </a:solidFill>
          <a:ln w="9525">
            <a:solidFill>
              <a:srgbClr val="000000"/>
            </a:solidFill>
            <a:miter lim="800000"/>
            <a:headEnd/>
            <a:tailEnd/>
          </a:ln>
        </p:spPr>
        <p:txBody>
          <a:bodyPr lIns="0" tIns="18000" rIns="0" bIns="0" anchor="ctr" anchorCtr="1"/>
          <a:lstStyle/>
          <a:p>
            <a:pPr algn="ctr"/>
            <a:r>
              <a:rPr lang="en-US" dirty="0" smtClean="0">
                <a:solidFill>
                  <a:srgbClr val="000000"/>
                </a:solidFill>
                <a:cs typeface="Arial" charset="0"/>
              </a:rPr>
              <a:t>C L O</a:t>
            </a:r>
            <a:endParaRPr lang="en-US" dirty="0">
              <a:solidFill>
                <a:srgbClr val="000000"/>
              </a:solidFill>
              <a:cs typeface="Arial" charset="0"/>
            </a:endParaRPr>
          </a:p>
          <a:p>
            <a:pPr algn="ctr"/>
            <a:r>
              <a:rPr lang="en-US" b="1" dirty="0" err="1" smtClean="0">
                <a:solidFill>
                  <a:srgbClr val="000000"/>
                </a:solidFill>
              </a:rPr>
              <a:t>Enzo</a:t>
            </a:r>
            <a:r>
              <a:rPr lang="en-US" b="1" dirty="0" smtClean="0">
                <a:solidFill>
                  <a:srgbClr val="000000"/>
                </a:solidFill>
              </a:rPr>
              <a:t> Pellegrino</a:t>
            </a:r>
            <a:r>
              <a:rPr lang="en-US" b="1" dirty="0" smtClean="0">
                <a:solidFill>
                  <a:srgbClr val="000000"/>
                </a:solidFill>
                <a:cs typeface="Arial" charset="0"/>
              </a:rPr>
              <a:t> </a:t>
            </a:r>
            <a:endParaRPr lang="en-US" b="1" dirty="0">
              <a:solidFill>
                <a:srgbClr val="000000"/>
              </a:solidFill>
              <a:cs typeface="Arial" charset="0"/>
            </a:endParaRPr>
          </a:p>
          <a:p>
            <a:pPr algn="ctr"/>
            <a:r>
              <a:rPr lang="en-US" sz="1000" dirty="0">
                <a:solidFill>
                  <a:srgbClr val="000000"/>
                </a:solidFill>
                <a:cs typeface="Arial" charset="0"/>
              </a:rPr>
              <a:t>Ph: </a:t>
            </a:r>
            <a:r>
              <a:rPr lang="en-US" sz="1000" dirty="0">
                <a:solidFill>
                  <a:srgbClr val="000000"/>
                </a:solidFill>
              </a:rPr>
              <a:t>+4021 405 </a:t>
            </a:r>
            <a:r>
              <a:rPr lang="en-US" sz="1000" dirty="0" smtClean="0">
                <a:solidFill>
                  <a:srgbClr val="000000"/>
                </a:solidFill>
              </a:rPr>
              <a:t>3650</a:t>
            </a:r>
            <a:endParaRPr lang="en-US" sz="1000" dirty="0">
              <a:solidFill>
                <a:srgbClr val="000000"/>
              </a:solidFill>
            </a:endParaRPr>
          </a:p>
          <a:p>
            <a:pPr algn="ctr"/>
            <a:r>
              <a:rPr lang="en-US" sz="1000" dirty="0">
                <a:solidFill>
                  <a:srgbClr val="000000"/>
                </a:solidFill>
              </a:rPr>
              <a:t>E-mail: </a:t>
            </a:r>
            <a:r>
              <a:rPr lang="en-US" sz="1000" dirty="0" smtClean="0">
                <a:solidFill>
                  <a:srgbClr val="000000"/>
                </a:solidFill>
              </a:rPr>
              <a:t>enzo.pellegrino@intesasanpaolo.ro</a:t>
            </a:r>
            <a:endParaRPr lang="en-US" sz="1000" dirty="0">
              <a:solidFill>
                <a:srgbClr val="000000"/>
              </a:solidFill>
              <a:cs typeface="Arial" charset="0"/>
            </a:endParaRPr>
          </a:p>
        </p:txBody>
      </p:sp>
      <p:sp>
        <p:nvSpPr>
          <p:cNvPr id="12" name="Rectangle 11"/>
          <p:cNvSpPr/>
          <p:nvPr/>
        </p:nvSpPr>
        <p:spPr>
          <a:xfrm>
            <a:off x="1066800" y="762000"/>
            <a:ext cx="6160721" cy="646331"/>
          </a:xfrm>
          <a:prstGeom prst="rect">
            <a:avLst/>
          </a:prstGeom>
          <a:solidFill>
            <a:schemeClr val="lt1">
              <a:alpha val="24000"/>
            </a:schemeClr>
          </a:solidFill>
          <a:ln>
            <a:solidFill>
              <a:srgbClr val="FFFF00"/>
            </a:solidFill>
          </a:ln>
          <a:scene3d>
            <a:camera prst="orthographicFront">
              <a:rot lat="0" lon="0" rev="0"/>
            </a:camera>
            <a:lightRig rig="threePt" dir="t"/>
          </a:scene3d>
        </p:spPr>
        <p:style>
          <a:lnRef idx="2">
            <a:schemeClr val="accent4"/>
          </a:lnRef>
          <a:fillRef idx="1">
            <a:schemeClr val="lt1"/>
          </a:fillRef>
          <a:effectRef idx="0">
            <a:schemeClr val="accent4"/>
          </a:effectRef>
          <a:fontRef idx="minor">
            <a:schemeClr val="dk1"/>
          </a:fontRef>
        </p:style>
        <p:txBody>
          <a:bodyPr wrap="square" lIns="91440" tIns="45720" rIns="91440" bIns="45720">
            <a:spAutoFit/>
          </a:bodyPr>
          <a:lstStyle/>
          <a:p>
            <a:pPr algn="ctr"/>
            <a:r>
              <a:rPr lang="en-US" sz="3600" b="1" cap="none" spc="0" dirty="0" err="1" smtClean="0">
                <a:ln w="17780" cmpd="sng">
                  <a:solidFill>
                    <a:srgbClr val="FFFFFF"/>
                  </a:solidFill>
                  <a:prstDash val="solid"/>
                  <a:miter lim="800000"/>
                </a:ln>
                <a:solidFill>
                  <a:srgbClr val="FFFF00"/>
                </a:solidFill>
                <a:effectLst>
                  <a:outerShdw blurRad="50800" algn="tl" rotWithShape="0">
                    <a:srgbClr val="000000"/>
                  </a:outerShdw>
                </a:effectLst>
              </a:rPr>
              <a:t>Tramite</a:t>
            </a:r>
            <a:r>
              <a:rPr lang="en-US" sz="3600" b="1" cap="none" spc="0" dirty="0" smtClean="0">
                <a:ln w="17780" cmpd="sng">
                  <a:solidFill>
                    <a:srgbClr val="FFFFFF"/>
                  </a:solidFill>
                  <a:prstDash val="solid"/>
                  <a:miter lim="800000"/>
                </a:ln>
                <a:solidFill>
                  <a:srgbClr val="FFFF00"/>
                </a:solidFill>
                <a:effectLst>
                  <a:outerShdw blurRad="50800" algn="tl" rotWithShape="0">
                    <a:srgbClr val="000000"/>
                  </a:outerShdw>
                </a:effectLst>
              </a:rPr>
              <a:t> </a:t>
            </a:r>
            <a:r>
              <a:rPr lang="en-US" sz="3600" b="1" cap="none" spc="0" dirty="0" err="1" smtClean="0">
                <a:ln w="17780" cmpd="sng">
                  <a:solidFill>
                    <a:srgbClr val="FFFFFF"/>
                  </a:solidFill>
                  <a:prstDash val="solid"/>
                  <a:miter lim="800000"/>
                </a:ln>
                <a:solidFill>
                  <a:srgbClr val="FFFF00"/>
                </a:solidFill>
                <a:effectLst>
                  <a:outerShdw blurRad="50800" algn="tl" rotWithShape="0">
                    <a:srgbClr val="000000"/>
                  </a:outerShdw>
                </a:effectLst>
              </a:rPr>
              <a:t>Banca</a:t>
            </a:r>
            <a:r>
              <a:rPr lang="en-US" sz="3600" b="1" cap="none" spc="0" dirty="0" smtClean="0">
                <a:ln w="17780" cmpd="sng">
                  <a:solidFill>
                    <a:srgbClr val="FFFFFF"/>
                  </a:solidFill>
                  <a:prstDash val="solid"/>
                  <a:miter lim="800000"/>
                </a:ln>
                <a:solidFill>
                  <a:srgbClr val="FFFF00"/>
                </a:solidFill>
                <a:effectLst>
                  <a:outerShdw blurRad="50800" algn="tl" rotWithShape="0">
                    <a:srgbClr val="000000"/>
                  </a:outerShdw>
                </a:effectLst>
              </a:rPr>
              <a:t> </a:t>
            </a:r>
            <a:r>
              <a:rPr lang="en-US" sz="3600" b="1" dirty="0" err="1" smtClean="0">
                <a:ln w="17780" cmpd="sng">
                  <a:solidFill>
                    <a:srgbClr val="FFFFFF"/>
                  </a:solidFill>
                  <a:prstDash val="solid"/>
                  <a:miter lim="800000"/>
                </a:ln>
                <a:solidFill>
                  <a:srgbClr val="FFFF00"/>
                </a:solidFill>
                <a:effectLst>
                  <a:outerShdw blurRad="50800" algn="tl" rotWithShape="0">
                    <a:srgbClr val="000000"/>
                  </a:outerShdw>
                </a:effectLst>
              </a:rPr>
              <a:t>I</a:t>
            </a:r>
            <a:r>
              <a:rPr lang="en-US" sz="3600" b="1" cap="none" spc="0" dirty="0" err="1" smtClean="0">
                <a:ln w="17780" cmpd="sng">
                  <a:solidFill>
                    <a:srgbClr val="FFFFFF"/>
                  </a:solidFill>
                  <a:prstDash val="solid"/>
                  <a:miter lim="800000"/>
                </a:ln>
                <a:solidFill>
                  <a:srgbClr val="FFFF00"/>
                </a:solidFill>
                <a:effectLst>
                  <a:outerShdw blurRad="50800" algn="tl" rotWithShape="0">
                    <a:srgbClr val="000000"/>
                  </a:outerShdw>
                </a:effectLst>
              </a:rPr>
              <a:t>taliana</a:t>
            </a:r>
            <a:endParaRPr lang="en-US" sz="3600" b="1" cap="none" spc="0" dirty="0">
              <a:ln w="17780" cmpd="sng">
                <a:solidFill>
                  <a:srgbClr val="FFFFFF"/>
                </a:solidFill>
                <a:prstDash val="solid"/>
                <a:miter lim="800000"/>
              </a:ln>
              <a:solidFill>
                <a:srgbClr val="FFFF00"/>
              </a:solidFill>
              <a:effectLst>
                <a:outerShdw blurRad="50800" algn="tl" rotWithShape="0">
                  <a:srgbClr val="000000"/>
                </a:outerShdw>
              </a:effectLst>
            </a:endParaRPr>
          </a:p>
        </p:txBody>
      </p:sp>
    </p:spTree>
  </p:cSld>
  <p:clrMapOvr>
    <a:masterClrMapping/>
  </p:clrMapOvr>
  <p:transition spd="slow">
    <p:split orient="ver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romania_fisico_politica.jpg"/>
          <p:cNvPicPr>
            <a:picLocks noChangeAspect="1"/>
          </p:cNvPicPr>
          <p:nvPr/>
        </p:nvPicPr>
        <p:blipFill>
          <a:blip r:embed="rId2"/>
          <a:stretch>
            <a:fillRect/>
          </a:stretch>
        </p:blipFill>
        <p:spPr>
          <a:xfrm>
            <a:off x="0" y="228600"/>
            <a:ext cx="9144000" cy="5943601"/>
          </a:xfrm>
          <a:prstGeom prst="rect">
            <a:avLst/>
          </a:prstGeom>
        </p:spPr>
      </p:pic>
      <p:sp>
        <p:nvSpPr>
          <p:cNvPr id="4" name="Rectangle 3"/>
          <p:cNvSpPr>
            <a:spLocks noChangeAspect="1"/>
          </p:cNvSpPr>
          <p:nvPr/>
        </p:nvSpPr>
        <p:spPr>
          <a:xfrm rot="-2040000">
            <a:off x="0" y="3124200"/>
            <a:ext cx="7994496" cy="923330"/>
          </a:xfrm>
          <a:prstGeom prst="rect">
            <a:avLst/>
          </a:prstGeom>
          <a:noFill/>
          <a:ln w="15875">
            <a:solidFill>
              <a:schemeClr val="accent1">
                <a:lumMod val="50000"/>
                <a:alpha val="0"/>
              </a:schemeClr>
            </a:solidFill>
          </a:ln>
        </p:spPr>
        <p:txBody>
          <a:bodyPr wrap="none" lIns="91440" tIns="45720" rIns="91440" bIns="45720">
            <a:spAutoFit/>
          </a:bodyPr>
          <a:lstStyle/>
          <a:p>
            <a:pPr algn="ctr"/>
            <a:r>
              <a:rPr lang="en-US" sz="5400" b="1" dirty="0" smtClean="0">
                <a:ln w="10541" cmpd="sng">
                  <a:solidFill>
                    <a:schemeClr val="accent1">
                      <a:shade val="88000"/>
                      <a:satMod val="110000"/>
                    </a:schemeClr>
                  </a:solidFill>
                  <a:prstDash val="solid"/>
                </a:ln>
                <a:solidFill>
                  <a:srgbClr val="FF0000"/>
                </a:solidFill>
              </a:rPr>
              <a:t>La </a:t>
            </a:r>
            <a:r>
              <a:rPr lang="en-US" sz="5400" b="1" dirty="0" err="1" smtClean="0">
                <a:ln w="10541" cmpd="sng">
                  <a:solidFill>
                    <a:schemeClr val="accent1">
                      <a:shade val="88000"/>
                      <a:satMod val="110000"/>
                    </a:schemeClr>
                  </a:solidFill>
                  <a:prstDash val="solid"/>
                </a:ln>
                <a:solidFill>
                  <a:srgbClr val="FF0000"/>
                </a:solidFill>
              </a:rPr>
              <a:t>revedere</a:t>
            </a:r>
            <a:r>
              <a:rPr lang="en-US" sz="5400" b="1" dirty="0" smtClean="0">
                <a:ln w="10541" cmpd="sng">
                  <a:solidFill>
                    <a:schemeClr val="accent1">
                      <a:shade val="88000"/>
                      <a:satMod val="110000"/>
                    </a:schemeClr>
                  </a:solidFill>
                  <a:prstDash val="solid"/>
                </a:ln>
                <a:solidFill>
                  <a:srgbClr val="FF0000"/>
                </a:solidFill>
              </a:rPr>
              <a:t> </a:t>
            </a:r>
            <a:r>
              <a:rPr lang="en-US" sz="5400" b="1" dirty="0" err="1" smtClean="0">
                <a:ln w="10541" cmpd="sng">
                  <a:solidFill>
                    <a:schemeClr val="accent1">
                      <a:shade val="88000"/>
                      <a:satMod val="110000"/>
                    </a:schemeClr>
                  </a:solidFill>
                  <a:prstDash val="solid"/>
                </a:ln>
                <a:solidFill>
                  <a:srgbClr val="FF0000"/>
                </a:solidFill>
              </a:rPr>
              <a:t>în</a:t>
            </a:r>
            <a:r>
              <a:rPr lang="en-US" sz="5400" b="1" dirty="0" smtClean="0">
                <a:ln w="10541" cmpd="sng">
                  <a:solidFill>
                    <a:schemeClr val="accent1">
                      <a:shade val="88000"/>
                      <a:satMod val="110000"/>
                    </a:schemeClr>
                  </a:solidFill>
                  <a:prstDash val="solid"/>
                </a:ln>
                <a:solidFill>
                  <a:srgbClr val="FF0000"/>
                </a:solidFill>
              </a:rPr>
              <a:t> </a:t>
            </a:r>
            <a:r>
              <a:rPr lang="en-US" sz="5400" b="1" dirty="0" err="1" smtClean="0">
                <a:ln w="10541" cmpd="sng">
                  <a:solidFill>
                    <a:schemeClr val="accent1">
                      <a:shade val="88000"/>
                      <a:satMod val="110000"/>
                    </a:schemeClr>
                  </a:solidFill>
                  <a:prstDash val="solid"/>
                </a:ln>
                <a:solidFill>
                  <a:srgbClr val="FF0000"/>
                </a:solidFill>
              </a:rPr>
              <a:t>România</a:t>
            </a:r>
            <a:endParaRPr lang="en-US" sz="5400" b="1" cap="none" spc="0" dirty="0">
              <a:ln w="10541" cmpd="sng">
                <a:solidFill>
                  <a:schemeClr val="accent1">
                    <a:shade val="88000"/>
                    <a:satMod val="110000"/>
                  </a:schemeClr>
                </a:solidFill>
                <a:prstDash val="solid"/>
              </a:ln>
              <a:solidFill>
                <a:srgbClr val="FF0000"/>
              </a:solidFill>
              <a:effectLst/>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ChangeArrowheads="1"/>
          </p:cNvSpPr>
          <p:nvPr/>
        </p:nvSpPr>
        <p:spPr bwMode="auto">
          <a:xfrm>
            <a:off x="34925" y="188913"/>
            <a:ext cx="91440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lnSpc>
                <a:spcPct val="90000"/>
              </a:lnSpc>
            </a:pPr>
            <a:r>
              <a:rPr lang="it-IT" sz="2400" b="1"/>
              <a:t>Il Network Internazionale del Gruppo Intesa Sanpaolo</a:t>
            </a:r>
          </a:p>
        </p:txBody>
      </p:sp>
      <p:sp>
        <p:nvSpPr>
          <p:cNvPr id="6" name="Rettangolo 5"/>
          <p:cNvSpPr/>
          <p:nvPr/>
        </p:nvSpPr>
        <p:spPr>
          <a:xfrm>
            <a:off x="7092950" y="4702175"/>
            <a:ext cx="1547813" cy="2889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sp>
        <p:nvSpPr>
          <p:cNvPr id="7" name="Rettangolo 6"/>
          <p:cNvSpPr/>
          <p:nvPr/>
        </p:nvSpPr>
        <p:spPr>
          <a:xfrm>
            <a:off x="3457575" y="4016375"/>
            <a:ext cx="863600" cy="152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p>
        </p:txBody>
      </p:sp>
      <p:pic>
        <p:nvPicPr>
          <p:cNvPr id="16389" name="Picture 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600" y="609600"/>
            <a:ext cx="8302625" cy="5519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278844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250825" y="257175"/>
            <a:ext cx="91440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r>
              <a:rPr lang="it-IT" sz="2400" b="1" dirty="0"/>
              <a:t>Presenza Intesa Sanpaolo Est Europa e CSI </a:t>
            </a:r>
          </a:p>
        </p:txBody>
      </p:sp>
      <p:sp>
        <p:nvSpPr>
          <p:cNvPr id="11267" name="Rectangle 6"/>
          <p:cNvSpPr>
            <a:spLocks noChangeArrowheads="1"/>
          </p:cNvSpPr>
          <p:nvPr/>
        </p:nvSpPr>
        <p:spPr bwMode="auto">
          <a:xfrm>
            <a:off x="701675" y="6264275"/>
            <a:ext cx="8010525" cy="44450"/>
          </a:xfrm>
          <a:prstGeom prst="rect">
            <a:avLst/>
          </a:prstGeom>
          <a:solidFill>
            <a:srgbClr val="FD69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544" y="692696"/>
            <a:ext cx="8095633" cy="4717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Box 120"/>
          <p:cNvSpPr txBox="1">
            <a:spLocks noChangeArrowheads="1"/>
          </p:cNvSpPr>
          <p:nvPr/>
        </p:nvSpPr>
        <p:spPr bwMode="auto">
          <a:xfrm>
            <a:off x="228600" y="4724400"/>
            <a:ext cx="4572000" cy="10772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Wingdings" pitchFamily="2" charset="2"/>
              <a:buBlip>
                <a:blip r:embed="rId3"/>
              </a:buBlip>
            </a:pPr>
            <a:r>
              <a:rPr lang="it-IT" sz="1600" dirty="0"/>
              <a:t>Selettiva presenza nel retail banking nei </a:t>
            </a:r>
            <a:r>
              <a:rPr lang="it-IT" sz="1600" dirty="0" smtClean="0"/>
              <a:t>Paesi del </a:t>
            </a:r>
            <a:r>
              <a:rPr lang="it-IT" sz="1600" dirty="0"/>
              <a:t>Centro-Est Europa e nel Medio Oriente e </a:t>
            </a:r>
            <a:r>
              <a:rPr lang="it-IT" sz="1600" dirty="0" smtClean="0"/>
              <a:t>Nord </a:t>
            </a:r>
            <a:r>
              <a:rPr lang="it-IT" sz="1600" dirty="0"/>
              <a:t>Africa, con 8,3 milioni di clienti oltre </a:t>
            </a:r>
            <a:r>
              <a:rPr lang="it-IT" sz="1600" dirty="0" smtClean="0"/>
              <a:t>1.500 filiali </a:t>
            </a:r>
            <a:r>
              <a:rPr lang="it-IT" sz="1600" dirty="0"/>
              <a:t>in 12 </a:t>
            </a:r>
            <a:r>
              <a:rPr lang="it-IT" sz="1600" dirty="0" smtClean="0"/>
              <a:t>Paesi</a:t>
            </a:r>
            <a:endParaRPr lang="it-IT" sz="1600" dirty="0"/>
          </a:p>
        </p:txBody>
      </p:sp>
      <p:sp>
        <p:nvSpPr>
          <p:cNvPr id="7" name="Text Box 120"/>
          <p:cNvSpPr txBox="1">
            <a:spLocks noChangeArrowheads="1"/>
          </p:cNvSpPr>
          <p:nvPr/>
        </p:nvSpPr>
        <p:spPr bwMode="auto">
          <a:xfrm>
            <a:off x="4800600" y="4800600"/>
            <a:ext cx="4114800" cy="8309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marL="285750" indent="-2857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Wingdings" pitchFamily="2" charset="2"/>
              <a:buBlip>
                <a:blip r:embed="rId3"/>
              </a:buBlip>
            </a:pPr>
            <a:r>
              <a:rPr lang="it-IT" sz="1600" dirty="0" smtClean="0"/>
              <a:t>Rete </a:t>
            </a:r>
            <a:r>
              <a:rPr lang="it-IT" sz="1600" dirty="0"/>
              <a:t>internazionale con presenza in 29 </a:t>
            </a:r>
            <a:r>
              <a:rPr lang="it-IT" sz="1600" dirty="0" smtClean="0"/>
              <a:t>Paesi per </a:t>
            </a:r>
            <a:r>
              <a:rPr lang="it-IT" sz="1600" dirty="0"/>
              <a:t>sostenere le attività della </a:t>
            </a:r>
            <a:r>
              <a:rPr lang="it-IT" sz="1600" dirty="0" smtClean="0"/>
              <a:t>clientela corporate </a:t>
            </a:r>
            <a:r>
              <a:rPr lang="it-IT" sz="1600" dirty="0"/>
              <a:t>all’estero.  </a:t>
            </a:r>
          </a:p>
        </p:txBody>
      </p:sp>
    </p:spTree>
    <p:extLst>
      <p:ext uri="{BB962C8B-B14F-4D97-AF65-F5344CB8AC3E}">
        <p14:creationId xmlns:p14="http://schemas.microsoft.com/office/powerpoint/2010/main" val="17610836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p:cNvSpPr>
            <a:spLocks noChangeArrowheads="1"/>
          </p:cNvSpPr>
          <p:nvPr/>
        </p:nvSpPr>
        <p:spPr bwMode="auto">
          <a:xfrm>
            <a:off x="701675" y="6264275"/>
            <a:ext cx="8010525" cy="44450"/>
          </a:xfrm>
          <a:prstGeom prst="rect">
            <a:avLst/>
          </a:prstGeom>
          <a:solidFill>
            <a:srgbClr val="FD69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pic>
        <p:nvPicPr>
          <p:cNvPr id="8" name="Picture 2" descr="http://t1.gstatic.com/images?q=tbn:ANd9GcTatUlwWXYSQHnC56urYNYl3DVG0CkZY6V4CysEvPk8WpSlrgWTCg"/>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76638" y="2952518"/>
            <a:ext cx="1716087" cy="166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uppo 8"/>
          <p:cNvGrpSpPr/>
          <p:nvPr/>
        </p:nvGrpSpPr>
        <p:grpSpPr>
          <a:xfrm>
            <a:off x="3450480" y="1412776"/>
            <a:ext cx="2090060" cy="1045030"/>
            <a:chOff x="1727277" y="71108"/>
            <a:chExt cx="2090060" cy="1045030"/>
          </a:xfrm>
          <a:scene3d>
            <a:camera prst="orthographicFront">
              <a:rot lat="0" lon="0" rev="0"/>
            </a:camera>
            <a:lightRig rig="balanced" dir="t">
              <a:rot lat="0" lon="0" rev="8700000"/>
            </a:lightRig>
          </a:scene3d>
        </p:grpSpPr>
        <p:sp>
          <p:nvSpPr>
            <p:cNvPr id="10" name="Rettangolo arrotondato 9"/>
            <p:cNvSpPr/>
            <p:nvPr/>
          </p:nvSpPr>
          <p:spPr>
            <a:xfrm>
              <a:off x="1727277" y="71108"/>
              <a:ext cx="2090060" cy="1045030"/>
            </a:xfrm>
            <a:prstGeom prst="roundRect">
              <a:avLst>
                <a:gd name="adj" fmla="val 10000"/>
              </a:avLst>
            </a:prstGeom>
            <a:solidFill>
              <a:srgbClr val="FF9933"/>
            </a:solidFill>
            <a:ln>
              <a:solidFill>
                <a:schemeClr val="bg1"/>
              </a:solidFill>
            </a:ln>
            <a:effectLst>
              <a:outerShdw blurRad="44450" dist="27940" dir="5400000" algn="ctr">
                <a:srgbClr val="000000">
                  <a:alpha val="32000"/>
                </a:srgbClr>
              </a:outerShdw>
            </a:effectLst>
            <a:sp3d>
              <a:bevelT w="190500" h="38100"/>
            </a:sp3d>
          </p:spPr>
          <p:style>
            <a:lnRef idx="2">
              <a:scrgbClr r="0" g="0" b="0"/>
            </a:lnRef>
            <a:fillRef idx="1">
              <a:scrgbClr r="0" g="0" b="0"/>
            </a:fillRef>
            <a:effectRef idx="0">
              <a:scrgbClr r="0" g="0" b="0"/>
            </a:effectRef>
            <a:fontRef idx="minor">
              <a:schemeClr val="lt1"/>
            </a:fontRef>
          </p:style>
        </p:sp>
        <p:sp>
          <p:nvSpPr>
            <p:cNvPr id="11" name="Rettangolo 10"/>
            <p:cNvSpPr/>
            <p:nvPr/>
          </p:nvSpPr>
          <p:spPr>
            <a:xfrm>
              <a:off x="1757885" y="101716"/>
              <a:ext cx="2028844" cy="983814"/>
            </a:xfrm>
            <a:prstGeom prst="rect">
              <a:avLst/>
            </a:prstGeom>
            <a:sp3d/>
          </p:spPr>
          <p:style>
            <a:lnRef idx="0">
              <a:scrgbClr r="0" g="0" b="0"/>
            </a:lnRef>
            <a:fillRef idx="0">
              <a:scrgbClr r="0" g="0" b="0"/>
            </a:fillRef>
            <a:effectRef idx="0">
              <a:scrgbClr r="0" g="0" b="0"/>
            </a:effectRef>
            <a:fontRef idx="minor">
              <a:schemeClr val="lt1"/>
            </a:fontRef>
          </p:style>
          <p:txBody>
            <a:bodyPr lIns="53340" tIns="53340" rIns="53340" bIns="53340" spcCol="1270" anchor="ctr"/>
            <a:lstStyle/>
            <a:p>
              <a:pPr algn="ctr" defTabSz="622300">
                <a:lnSpc>
                  <a:spcPct val="90000"/>
                </a:lnSpc>
                <a:spcAft>
                  <a:spcPct val="35000"/>
                </a:spcAft>
                <a:defRPr/>
              </a:pPr>
              <a:r>
                <a:rPr lang="it-IT" sz="1400" b="1" u="none" dirty="0"/>
                <a:t>Presenza in</a:t>
              </a:r>
              <a:br>
                <a:rPr lang="it-IT" sz="1400" b="1" u="none" dirty="0"/>
              </a:br>
              <a:r>
                <a:rPr lang="it-IT" sz="1400" b="1" u="none" dirty="0">
                  <a:solidFill>
                    <a:schemeClr val="bg1"/>
                  </a:solidFill>
                </a:rPr>
                <a:t>40 Paesi </a:t>
              </a:r>
            </a:p>
          </p:txBody>
        </p:sp>
      </p:grpSp>
      <p:grpSp>
        <p:nvGrpSpPr>
          <p:cNvPr id="12" name="Gruppo 11"/>
          <p:cNvGrpSpPr/>
          <p:nvPr/>
        </p:nvGrpSpPr>
        <p:grpSpPr>
          <a:xfrm>
            <a:off x="1536872" y="4400194"/>
            <a:ext cx="2129632" cy="1045030"/>
            <a:chOff x="-68728" y="3060325"/>
            <a:chExt cx="2129632" cy="1045030"/>
          </a:xfrm>
          <a:scene3d>
            <a:camera prst="orthographicFront">
              <a:rot lat="0" lon="0" rev="0"/>
            </a:camera>
            <a:lightRig rig="balanced" dir="t">
              <a:rot lat="0" lon="0" rev="8700000"/>
            </a:lightRig>
          </a:scene3d>
        </p:grpSpPr>
        <p:sp>
          <p:nvSpPr>
            <p:cNvPr id="13" name="Rettangolo arrotondato 12"/>
            <p:cNvSpPr/>
            <p:nvPr/>
          </p:nvSpPr>
          <p:spPr>
            <a:xfrm>
              <a:off x="-68728" y="3060325"/>
              <a:ext cx="2090060" cy="1045030"/>
            </a:xfrm>
            <a:prstGeom prst="roundRect">
              <a:avLst>
                <a:gd name="adj" fmla="val 10000"/>
              </a:avLst>
            </a:prstGeom>
            <a:solidFill>
              <a:srgbClr val="00B050"/>
            </a:solidFill>
            <a:ln>
              <a:solidFill>
                <a:schemeClr val="bg1"/>
              </a:solidFill>
            </a:ln>
            <a:effectLst>
              <a:outerShdw blurRad="44450" dist="27940" dir="5400000" algn="ctr">
                <a:srgbClr val="000000">
                  <a:alpha val="32000"/>
                </a:srgbClr>
              </a:outerShdw>
            </a:effectLst>
            <a:sp3d>
              <a:bevelT w="190500" h="38100"/>
            </a:sp3d>
          </p:spPr>
          <p:style>
            <a:lnRef idx="2">
              <a:scrgbClr r="0" g="0" b="0"/>
            </a:lnRef>
            <a:fillRef idx="1">
              <a:scrgbClr r="0" g="0" b="0"/>
            </a:fillRef>
            <a:effectRef idx="0">
              <a:scrgbClr r="0" g="0" b="0"/>
            </a:effectRef>
            <a:fontRef idx="minor">
              <a:schemeClr val="lt1"/>
            </a:fontRef>
          </p:style>
        </p:sp>
        <p:sp>
          <p:nvSpPr>
            <p:cNvPr id="14" name="Rettangolo 13"/>
            <p:cNvSpPr/>
            <p:nvPr/>
          </p:nvSpPr>
          <p:spPr>
            <a:xfrm>
              <a:off x="32060" y="3090933"/>
              <a:ext cx="2028844" cy="983814"/>
            </a:xfrm>
            <a:prstGeom prst="rect">
              <a:avLst/>
            </a:prstGeom>
            <a:sp3d/>
          </p:spPr>
          <p:style>
            <a:lnRef idx="0">
              <a:scrgbClr r="0" g="0" b="0"/>
            </a:lnRef>
            <a:fillRef idx="0">
              <a:scrgbClr r="0" g="0" b="0"/>
            </a:fillRef>
            <a:effectRef idx="0">
              <a:scrgbClr r="0" g="0" b="0"/>
            </a:effectRef>
            <a:fontRef idx="minor">
              <a:schemeClr val="lt1"/>
            </a:fontRef>
          </p:style>
          <p:txBody>
            <a:bodyPr lIns="53340" tIns="53340" rIns="53340" bIns="53340" spcCol="1270" anchor="ctr"/>
            <a:lstStyle/>
            <a:p>
              <a:pPr algn="ctr" defTabSz="622300">
                <a:lnSpc>
                  <a:spcPct val="90000"/>
                </a:lnSpc>
                <a:spcAft>
                  <a:spcPct val="35000"/>
                </a:spcAft>
                <a:defRPr/>
              </a:pPr>
              <a:r>
                <a:rPr lang="it-IT" sz="1400" b="1" u="none" dirty="0" err="1"/>
                <a:t>Italian</a:t>
              </a:r>
              <a:r>
                <a:rPr lang="it-IT" sz="1400" b="1" u="none" dirty="0"/>
                <a:t> Desks </a:t>
              </a:r>
              <a:endParaRPr lang="it-IT" sz="1400" b="1" u="none" dirty="0">
                <a:solidFill>
                  <a:schemeClr val="bg1"/>
                </a:solidFill>
              </a:endParaRPr>
            </a:p>
          </p:txBody>
        </p:sp>
      </p:grpSp>
      <p:grpSp>
        <p:nvGrpSpPr>
          <p:cNvPr id="15" name="Gruppo 14"/>
          <p:cNvGrpSpPr/>
          <p:nvPr/>
        </p:nvGrpSpPr>
        <p:grpSpPr>
          <a:xfrm>
            <a:off x="5334020" y="4400194"/>
            <a:ext cx="2090060" cy="1045030"/>
            <a:chOff x="3453103" y="3060325"/>
            <a:chExt cx="2090060" cy="1045030"/>
          </a:xfrm>
          <a:scene3d>
            <a:camera prst="orthographicFront">
              <a:rot lat="0" lon="0" rev="0"/>
            </a:camera>
            <a:lightRig rig="balanced" dir="t">
              <a:rot lat="0" lon="0" rev="8700000"/>
            </a:lightRig>
          </a:scene3d>
        </p:grpSpPr>
        <p:sp>
          <p:nvSpPr>
            <p:cNvPr id="16" name="Rettangolo arrotondato 15"/>
            <p:cNvSpPr/>
            <p:nvPr/>
          </p:nvSpPr>
          <p:spPr>
            <a:xfrm>
              <a:off x="3453103" y="3060325"/>
              <a:ext cx="2090060" cy="1045030"/>
            </a:xfrm>
            <a:prstGeom prst="roundRect">
              <a:avLst>
                <a:gd name="adj" fmla="val 10000"/>
              </a:avLst>
            </a:prstGeom>
            <a:solidFill>
              <a:schemeClr val="bg1">
                <a:lumMod val="65000"/>
              </a:schemeClr>
            </a:solidFill>
            <a:ln>
              <a:solidFill>
                <a:schemeClr val="bg1"/>
              </a:solidFill>
            </a:ln>
            <a:effectLst>
              <a:outerShdw blurRad="44450" dist="27940" dir="5400000" algn="ctr">
                <a:srgbClr val="000000">
                  <a:alpha val="32000"/>
                </a:srgbClr>
              </a:outerShdw>
            </a:effectLst>
            <a:sp3d>
              <a:bevelT w="190500" h="38100"/>
            </a:sp3d>
          </p:spPr>
          <p:style>
            <a:lnRef idx="2">
              <a:scrgbClr r="0" g="0" b="0"/>
            </a:lnRef>
            <a:fillRef idx="1">
              <a:scrgbClr r="0" g="0" b="0"/>
            </a:fillRef>
            <a:effectRef idx="0">
              <a:scrgbClr r="0" g="0" b="0"/>
            </a:effectRef>
            <a:fontRef idx="minor">
              <a:schemeClr val="lt1"/>
            </a:fontRef>
          </p:style>
        </p:sp>
        <p:sp>
          <p:nvSpPr>
            <p:cNvPr id="17" name="Rettangolo 16"/>
            <p:cNvSpPr/>
            <p:nvPr/>
          </p:nvSpPr>
          <p:spPr>
            <a:xfrm>
              <a:off x="3496871" y="3121541"/>
              <a:ext cx="2028844" cy="983814"/>
            </a:xfrm>
            <a:prstGeom prst="rect">
              <a:avLst/>
            </a:prstGeom>
            <a:sp3d/>
          </p:spPr>
          <p:style>
            <a:lnRef idx="0">
              <a:scrgbClr r="0" g="0" b="0"/>
            </a:lnRef>
            <a:fillRef idx="0">
              <a:scrgbClr r="0" g="0" b="0"/>
            </a:fillRef>
            <a:effectRef idx="0">
              <a:scrgbClr r="0" g="0" b="0"/>
            </a:effectRef>
            <a:fontRef idx="minor">
              <a:schemeClr val="lt1"/>
            </a:fontRef>
          </p:style>
          <p:txBody>
            <a:bodyPr lIns="53340" tIns="53340" rIns="53340" bIns="53340" spcCol="1270" anchor="ctr"/>
            <a:lstStyle/>
            <a:p>
              <a:pPr algn="ctr" defTabSz="622300">
                <a:lnSpc>
                  <a:spcPct val="90000"/>
                </a:lnSpc>
                <a:spcAft>
                  <a:spcPct val="35000"/>
                </a:spcAft>
                <a:defRPr/>
              </a:pPr>
              <a:r>
                <a:rPr lang="it-IT" sz="1400" b="1" u="none" dirty="0">
                  <a:solidFill>
                    <a:schemeClr val="bg1"/>
                  </a:solidFill>
                </a:rPr>
                <a:t>Servizio Internazionalizzazione Imprese</a:t>
              </a:r>
            </a:p>
          </p:txBody>
        </p:sp>
      </p:grpSp>
      <p:grpSp>
        <p:nvGrpSpPr>
          <p:cNvPr id="18" name="Gruppo 17"/>
          <p:cNvGrpSpPr/>
          <p:nvPr/>
        </p:nvGrpSpPr>
        <p:grpSpPr>
          <a:xfrm>
            <a:off x="2555777" y="2221494"/>
            <a:ext cx="319276" cy="2394722"/>
            <a:chOff x="790481" y="627479"/>
            <a:chExt cx="319276" cy="2797795"/>
          </a:xfrm>
          <a:scene3d>
            <a:camera prst="orthographicFront">
              <a:rot lat="0" lon="0" rev="0"/>
            </a:camera>
            <a:lightRig rig="balanced" dir="t">
              <a:rot lat="0" lon="0" rev="8700000"/>
            </a:lightRig>
          </a:scene3d>
        </p:grpSpPr>
        <p:sp>
          <p:nvSpPr>
            <p:cNvPr id="19" name="Freccia bidirezionale orizzontale 18"/>
            <p:cNvSpPr/>
            <p:nvPr/>
          </p:nvSpPr>
          <p:spPr>
            <a:xfrm rot="18804354">
              <a:off x="-448780" y="1866740"/>
              <a:ext cx="2797795" cy="319276"/>
            </a:xfrm>
            <a:prstGeom prst="leftRightArrow">
              <a:avLst>
                <a:gd name="adj1" fmla="val 60000"/>
                <a:gd name="adj2" fmla="val 50000"/>
              </a:avLst>
            </a:prstGeom>
            <a:solidFill>
              <a:schemeClr val="bg1">
                <a:lumMod val="95000"/>
              </a:schemeClr>
            </a:solidFill>
            <a:ln w="3175">
              <a:solidFill>
                <a:schemeClr val="bg1">
                  <a:lumMod val="75000"/>
                </a:schemeClr>
              </a:solidFill>
            </a:ln>
            <a:effectLst>
              <a:outerShdw blurRad="44450" dist="27940" dir="5400000" algn="ctr">
                <a:srgbClr val="000000">
                  <a:alpha val="32000"/>
                </a:srgbClr>
              </a:outerShdw>
            </a:effectLst>
            <a:sp3d>
              <a:bevelT w="190500" h="38100"/>
            </a:sp3d>
          </p:spPr>
          <p:style>
            <a:lnRef idx="0">
              <a:scrgbClr r="0" g="0" b="0"/>
            </a:lnRef>
            <a:fillRef idx="1">
              <a:scrgbClr r="0" g="0" b="0"/>
            </a:fillRef>
            <a:effectRef idx="0">
              <a:scrgbClr r="0" g="0" b="0"/>
            </a:effectRef>
            <a:fontRef idx="minor">
              <a:schemeClr val="lt1"/>
            </a:fontRef>
          </p:style>
        </p:sp>
        <p:sp>
          <p:nvSpPr>
            <p:cNvPr id="20" name="Freccia bidirezionale orizzontale 4"/>
            <p:cNvSpPr/>
            <p:nvPr/>
          </p:nvSpPr>
          <p:spPr>
            <a:xfrm rot="18804354">
              <a:off x="-352997" y="1930595"/>
              <a:ext cx="2606229" cy="191566"/>
            </a:xfrm>
            <a:prstGeom prst="rect">
              <a:avLst/>
            </a:prstGeom>
            <a:sp3d/>
          </p:spPr>
          <p:style>
            <a:lnRef idx="0">
              <a:scrgbClr r="0" g="0" b="0"/>
            </a:lnRef>
            <a:fillRef idx="0">
              <a:scrgbClr r="0" g="0" b="0"/>
            </a:fillRef>
            <a:effectRef idx="0">
              <a:scrgbClr r="0" g="0" b="0"/>
            </a:effectRef>
            <a:fontRef idx="minor">
              <a:schemeClr val="lt1"/>
            </a:fontRef>
          </p:style>
          <p:txBody>
            <a:bodyPr lIns="0" tIns="0" rIns="0" bIns="0" spcCol="1270" anchor="ctr"/>
            <a:lstStyle/>
            <a:p>
              <a:pPr defTabSz="488950">
                <a:lnSpc>
                  <a:spcPct val="90000"/>
                </a:lnSpc>
                <a:spcAft>
                  <a:spcPct val="35000"/>
                </a:spcAft>
                <a:defRPr/>
              </a:pPr>
              <a:endParaRPr lang="it-IT" sz="1100"/>
            </a:p>
          </p:txBody>
        </p:sp>
      </p:grpSp>
      <p:grpSp>
        <p:nvGrpSpPr>
          <p:cNvPr id="21" name="Gruppo 20"/>
          <p:cNvGrpSpPr/>
          <p:nvPr/>
        </p:nvGrpSpPr>
        <p:grpSpPr>
          <a:xfrm rot="5617028">
            <a:off x="6059394" y="2250475"/>
            <a:ext cx="319276" cy="2394723"/>
            <a:chOff x="790480" y="627480"/>
            <a:chExt cx="319276" cy="2797795"/>
          </a:xfrm>
          <a:scene3d>
            <a:camera prst="orthographicFront">
              <a:rot lat="0" lon="0" rev="0"/>
            </a:camera>
            <a:lightRig rig="balanced" dir="t">
              <a:rot lat="0" lon="0" rev="8700000"/>
            </a:lightRig>
          </a:scene3d>
        </p:grpSpPr>
        <p:sp>
          <p:nvSpPr>
            <p:cNvPr id="22" name="Freccia bidirezionale orizzontale 21"/>
            <p:cNvSpPr/>
            <p:nvPr/>
          </p:nvSpPr>
          <p:spPr>
            <a:xfrm rot="18804354">
              <a:off x="-448780" y="1866740"/>
              <a:ext cx="2797795" cy="319276"/>
            </a:xfrm>
            <a:prstGeom prst="leftRightArrow">
              <a:avLst>
                <a:gd name="adj1" fmla="val 60000"/>
                <a:gd name="adj2" fmla="val 50000"/>
              </a:avLst>
            </a:prstGeom>
            <a:solidFill>
              <a:schemeClr val="bg1">
                <a:lumMod val="95000"/>
              </a:schemeClr>
            </a:solidFill>
            <a:ln w="3175">
              <a:solidFill>
                <a:schemeClr val="bg1">
                  <a:lumMod val="75000"/>
                </a:schemeClr>
              </a:solidFill>
            </a:ln>
            <a:effectLst>
              <a:outerShdw blurRad="44450" dist="27940" dir="5400000" algn="ctr">
                <a:srgbClr val="000000">
                  <a:alpha val="32000"/>
                </a:srgbClr>
              </a:outerShdw>
            </a:effectLst>
            <a:sp3d>
              <a:bevelT w="190500" h="38100"/>
            </a:sp3d>
          </p:spPr>
          <p:style>
            <a:lnRef idx="0">
              <a:scrgbClr r="0" g="0" b="0"/>
            </a:lnRef>
            <a:fillRef idx="1">
              <a:scrgbClr r="0" g="0" b="0"/>
            </a:fillRef>
            <a:effectRef idx="0">
              <a:scrgbClr r="0" g="0" b="0"/>
            </a:effectRef>
            <a:fontRef idx="minor">
              <a:schemeClr val="lt1"/>
            </a:fontRef>
          </p:style>
        </p:sp>
        <p:sp>
          <p:nvSpPr>
            <p:cNvPr id="23" name="Freccia bidirezionale orizzontale 4"/>
            <p:cNvSpPr/>
            <p:nvPr/>
          </p:nvSpPr>
          <p:spPr>
            <a:xfrm rot="18804354">
              <a:off x="-352997" y="1930595"/>
              <a:ext cx="2606229" cy="191566"/>
            </a:xfrm>
            <a:prstGeom prst="rect">
              <a:avLst/>
            </a:prstGeom>
            <a:sp3d/>
          </p:spPr>
          <p:style>
            <a:lnRef idx="0">
              <a:scrgbClr r="0" g="0" b="0"/>
            </a:lnRef>
            <a:fillRef idx="0">
              <a:scrgbClr r="0" g="0" b="0"/>
            </a:fillRef>
            <a:effectRef idx="0">
              <a:scrgbClr r="0" g="0" b="0"/>
            </a:effectRef>
            <a:fontRef idx="minor">
              <a:schemeClr val="lt1"/>
            </a:fontRef>
          </p:style>
          <p:txBody>
            <a:bodyPr lIns="0" tIns="0" rIns="0" bIns="0" spcCol="1270" anchor="ctr"/>
            <a:lstStyle/>
            <a:p>
              <a:pPr defTabSz="488950">
                <a:lnSpc>
                  <a:spcPct val="90000"/>
                </a:lnSpc>
                <a:spcAft>
                  <a:spcPct val="35000"/>
                </a:spcAft>
                <a:defRPr/>
              </a:pPr>
              <a:endParaRPr lang="it-IT" sz="1100"/>
            </a:p>
          </p:txBody>
        </p:sp>
      </p:grpSp>
      <p:grpSp>
        <p:nvGrpSpPr>
          <p:cNvPr id="24" name="Gruppo 23"/>
          <p:cNvGrpSpPr/>
          <p:nvPr/>
        </p:nvGrpSpPr>
        <p:grpSpPr>
          <a:xfrm rot="2785880">
            <a:off x="4301215" y="4204193"/>
            <a:ext cx="319276" cy="1316505"/>
            <a:chOff x="790480" y="627480"/>
            <a:chExt cx="319276" cy="2797795"/>
          </a:xfrm>
          <a:scene3d>
            <a:camera prst="orthographicFront">
              <a:rot lat="0" lon="0" rev="0"/>
            </a:camera>
            <a:lightRig rig="balanced" dir="t">
              <a:rot lat="0" lon="0" rev="8700000"/>
            </a:lightRig>
          </a:scene3d>
        </p:grpSpPr>
        <p:sp>
          <p:nvSpPr>
            <p:cNvPr id="25" name="Freccia bidirezionale orizzontale 24"/>
            <p:cNvSpPr/>
            <p:nvPr/>
          </p:nvSpPr>
          <p:spPr>
            <a:xfrm rot="18804354">
              <a:off x="-448780" y="1866740"/>
              <a:ext cx="2797795" cy="319276"/>
            </a:xfrm>
            <a:prstGeom prst="leftRightArrow">
              <a:avLst>
                <a:gd name="adj1" fmla="val 60000"/>
                <a:gd name="adj2" fmla="val 50000"/>
              </a:avLst>
            </a:prstGeom>
            <a:solidFill>
              <a:schemeClr val="bg1">
                <a:lumMod val="95000"/>
              </a:schemeClr>
            </a:solidFill>
            <a:ln w="3175">
              <a:solidFill>
                <a:schemeClr val="bg1">
                  <a:lumMod val="75000"/>
                </a:schemeClr>
              </a:solidFill>
            </a:ln>
            <a:effectLst>
              <a:outerShdw blurRad="44450" dist="27940" dir="5400000" algn="ctr">
                <a:srgbClr val="000000">
                  <a:alpha val="32000"/>
                </a:srgbClr>
              </a:outerShdw>
            </a:effectLst>
            <a:sp3d>
              <a:bevelT w="190500" h="38100"/>
            </a:sp3d>
          </p:spPr>
          <p:style>
            <a:lnRef idx="0">
              <a:scrgbClr r="0" g="0" b="0"/>
            </a:lnRef>
            <a:fillRef idx="1">
              <a:scrgbClr r="0" g="0" b="0"/>
            </a:fillRef>
            <a:effectRef idx="0">
              <a:scrgbClr r="0" g="0" b="0"/>
            </a:effectRef>
            <a:fontRef idx="minor">
              <a:schemeClr val="lt1"/>
            </a:fontRef>
          </p:style>
        </p:sp>
        <p:sp>
          <p:nvSpPr>
            <p:cNvPr id="26" name="Freccia bidirezionale orizzontale 4"/>
            <p:cNvSpPr/>
            <p:nvPr/>
          </p:nvSpPr>
          <p:spPr>
            <a:xfrm rot="18804354">
              <a:off x="-352997" y="1930595"/>
              <a:ext cx="2606229" cy="191566"/>
            </a:xfrm>
            <a:prstGeom prst="rect">
              <a:avLst/>
            </a:prstGeom>
            <a:sp3d/>
          </p:spPr>
          <p:style>
            <a:lnRef idx="0">
              <a:scrgbClr r="0" g="0" b="0"/>
            </a:lnRef>
            <a:fillRef idx="0">
              <a:scrgbClr r="0" g="0" b="0"/>
            </a:fillRef>
            <a:effectRef idx="0">
              <a:scrgbClr r="0" g="0" b="0"/>
            </a:effectRef>
            <a:fontRef idx="minor">
              <a:schemeClr val="lt1"/>
            </a:fontRef>
          </p:style>
          <p:txBody>
            <a:bodyPr lIns="0" tIns="0" rIns="0" bIns="0" spcCol="1270" anchor="ctr"/>
            <a:lstStyle/>
            <a:p>
              <a:pPr defTabSz="488950">
                <a:lnSpc>
                  <a:spcPct val="90000"/>
                </a:lnSpc>
                <a:spcAft>
                  <a:spcPct val="35000"/>
                </a:spcAft>
                <a:defRPr/>
              </a:pPr>
              <a:endParaRPr lang="it-IT" sz="1100"/>
            </a:p>
          </p:txBody>
        </p:sp>
      </p:grpSp>
      <p:sp>
        <p:nvSpPr>
          <p:cNvPr id="14347" name="Rectangle 3"/>
          <p:cNvSpPr>
            <a:spLocks noChangeArrowheads="1"/>
          </p:cNvSpPr>
          <p:nvPr/>
        </p:nvSpPr>
        <p:spPr bwMode="auto">
          <a:xfrm>
            <a:off x="339725" y="358775"/>
            <a:ext cx="8281988" cy="774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eaLnBrk="0" hangingPunct="0"/>
            <a:r>
              <a:rPr lang="it-IT" sz="2400" b="1" u="none" dirty="0"/>
              <a:t>Punti di forza della Rete Internazionale del Gruppo </a:t>
            </a:r>
          </a:p>
        </p:txBody>
      </p:sp>
    </p:spTree>
    <p:extLst>
      <p:ext uri="{BB962C8B-B14F-4D97-AF65-F5344CB8AC3E}">
        <p14:creationId xmlns:p14="http://schemas.microsoft.com/office/powerpoint/2010/main" val="5856889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5"/>
          <p:cNvSpPr>
            <a:spLocks noChangeArrowheads="1"/>
          </p:cNvSpPr>
          <p:nvPr/>
        </p:nvSpPr>
        <p:spPr bwMode="auto">
          <a:xfrm>
            <a:off x="701675" y="6264275"/>
            <a:ext cx="8010525" cy="44450"/>
          </a:xfrm>
          <a:prstGeom prst="rect">
            <a:avLst/>
          </a:prstGeom>
          <a:solidFill>
            <a:srgbClr val="FD69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31" name="AutoShape 15"/>
          <p:cNvSpPr>
            <a:spLocks noChangeArrowheads="1"/>
          </p:cNvSpPr>
          <p:nvPr>
            <p:custDataLst>
              <p:tags r:id="rId1"/>
            </p:custDataLst>
          </p:nvPr>
        </p:nvSpPr>
        <p:spPr bwMode="gray">
          <a:xfrm>
            <a:off x="631825" y="1520825"/>
            <a:ext cx="7869238" cy="1338263"/>
          </a:xfrm>
          <a:prstGeom prst="roundRect">
            <a:avLst>
              <a:gd name="adj" fmla="val 2194"/>
            </a:avLst>
          </a:prstGeom>
          <a:solidFill>
            <a:schemeClr val="bg1">
              <a:lumMod val="85000"/>
            </a:schemeClr>
          </a:solidFill>
          <a:ln w="9525" algn="ctr">
            <a:solidFill>
              <a:schemeClr val="bg1"/>
            </a:solidFill>
            <a:round/>
            <a:headEnd/>
            <a:tailEnd/>
          </a:ln>
        </p:spPr>
        <p:txBody>
          <a:bodyPr anchor="ctr"/>
          <a:lstStyle/>
          <a:p>
            <a:pPr marL="92075" algn="ctr">
              <a:lnSpc>
                <a:spcPct val="120000"/>
              </a:lnSpc>
              <a:buFont typeface="Wingdings" pitchFamily="2" charset="2"/>
              <a:buNone/>
            </a:pPr>
            <a:r>
              <a:rPr lang="it-IT" sz="1600" b="1" dirty="0" smtClean="0"/>
              <a:t>Gli specialisti </a:t>
            </a:r>
            <a:r>
              <a:rPr lang="it-IT" sz="1600" b="1" dirty="0"/>
              <a:t>del S.I.I. </a:t>
            </a:r>
            <a:r>
              <a:rPr lang="it-IT" sz="1600" dirty="0"/>
              <a:t>si occupano di</a:t>
            </a:r>
            <a:br>
              <a:rPr lang="it-IT" sz="1600" dirty="0"/>
            </a:br>
            <a:r>
              <a:rPr lang="it-IT" sz="1600" dirty="0"/>
              <a:t>investimenti commerciali/produttivi di aziende italiane all’estero </a:t>
            </a:r>
            <a:br>
              <a:rPr lang="it-IT" sz="1600" dirty="0"/>
            </a:br>
            <a:r>
              <a:rPr lang="it-IT" sz="1600" dirty="0"/>
              <a:t>gruppi multinazionali in Italia, </a:t>
            </a:r>
            <a:br>
              <a:rPr lang="it-IT" sz="1600" dirty="0"/>
            </a:br>
            <a:r>
              <a:rPr lang="it-IT" sz="1600" dirty="0" err="1"/>
              <a:t>scouting</a:t>
            </a:r>
            <a:r>
              <a:rPr lang="it-IT" sz="1600" dirty="0"/>
              <a:t> di mercati esteri ed assistenza commerciale di gruppi esteri in </a:t>
            </a:r>
            <a:r>
              <a:rPr lang="it-IT" sz="1600" dirty="0" smtClean="0"/>
              <a:t>Italia</a:t>
            </a:r>
            <a:endParaRPr lang="it-IT" sz="1600" dirty="0"/>
          </a:p>
        </p:txBody>
      </p:sp>
      <p:sp>
        <p:nvSpPr>
          <p:cNvPr id="7" name="Rectangle 2"/>
          <p:cNvSpPr>
            <a:spLocks noChangeArrowheads="1"/>
          </p:cNvSpPr>
          <p:nvPr/>
        </p:nvSpPr>
        <p:spPr bwMode="gray">
          <a:xfrm>
            <a:off x="4887035" y="3464830"/>
            <a:ext cx="3942148" cy="576064"/>
          </a:xfrm>
          <a:prstGeom prst="rect">
            <a:avLst/>
          </a:prstGeom>
          <a:solidFill>
            <a:srgbClr val="1F357B"/>
          </a:solidFill>
          <a:ln w="28575">
            <a:solidFill>
              <a:schemeClr val="accent2">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0">
            <a:schemeClr val="accent6"/>
          </a:lnRef>
          <a:fillRef idx="3">
            <a:schemeClr val="accent6"/>
          </a:fillRef>
          <a:effectRef idx="3">
            <a:schemeClr val="accent6"/>
          </a:effectRef>
          <a:fontRef idx="minor">
            <a:schemeClr val="lt1"/>
          </a:fontRef>
        </p:style>
        <p:txBody>
          <a:bodyPr wrap="none" anchor="ctr"/>
          <a:lstStyle/>
          <a:p>
            <a:pPr>
              <a:buFont typeface="Wingdings" pitchFamily="2" charset="2"/>
              <a:buNone/>
              <a:defRPr/>
            </a:pPr>
            <a:r>
              <a:rPr lang="en-US" sz="1400" b="1" dirty="0">
                <a:solidFill>
                  <a:schemeClr val="bg1"/>
                </a:solidFill>
                <a:effectLst>
                  <a:outerShdw blurRad="38100" dist="38100" dir="2700000" algn="tl">
                    <a:srgbClr val="000000"/>
                  </a:outerShdw>
                </a:effectLst>
                <a:ea typeface="ＭＳ Ｐゴシック" pitchFamily="34" charset="-128"/>
              </a:rPr>
              <a:t>	</a:t>
            </a:r>
            <a:r>
              <a:rPr lang="en-US" sz="1400" b="1" dirty="0">
                <a:solidFill>
                  <a:schemeClr val="bg1"/>
                </a:solidFill>
                <a:ea typeface="ＭＳ Ｐゴシック" pitchFamily="34" charset="-128"/>
              </a:rPr>
              <a:t>UFFICIO SVILUPPO </a:t>
            </a:r>
          </a:p>
          <a:p>
            <a:pPr>
              <a:buFont typeface="Wingdings" pitchFamily="2" charset="2"/>
              <a:buNone/>
              <a:defRPr/>
            </a:pPr>
            <a:r>
              <a:rPr lang="en-US" sz="1400" b="1" dirty="0">
                <a:solidFill>
                  <a:schemeClr val="bg1"/>
                </a:solidFill>
                <a:ea typeface="ＭＳ Ｐゴシック" pitchFamily="34" charset="-128"/>
              </a:rPr>
              <a:t>             INTERNAZIONALIZZAZIONE</a:t>
            </a:r>
            <a:r>
              <a:rPr lang="en-US" sz="1400" b="1" dirty="0">
                <a:solidFill>
                  <a:schemeClr val="bg1"/>
                </a:solidFill>
                <a:effectLst>
                  <a:outerShdw blurRad="38100" dist="38100" dir="2700000" algn="tl">
                    <a:srgbClr val="000000"/>
                  </a:outerShdw>
                </a:effectLst>
                <a:ea typeface="ＭＳ Ｐゴシック" pitchFamily="34" charset="-128"/>
              </a:rPr>
              <a:t>	</a:t>
            </a:r>
            <a:endParaRPr lang="it-IT" sz="1400" b="1" dirty="0">
              <a:solidFill>
                <a:schemeClr val="bg1"/>
              </a:solidFill>
              <a:effectLst>
                <a:outerShdw blurRad="38100" dist="38100" dir="2700000" algn="tl">
                  <a:srgbClr val="000000"/>
                </a:outerShdw>
              </a:effectLst>
              <a:ea typeface="ＭＳ Ｐゴシック" pitchFamily="34" charset="-128"/>
            </a:endParaRPr>
          </a:p>
        </p:txBody>
      </p:sp>
      <p:sp>
        <p:nvSpPr>
          <p:cNvPr id="8" name="Rectangle 2"/>
          <p:cNvSpPr>
            <a:spLocks noChangeArrowheads="1"/>
          </p:cNvSpPr>
          <p:nvPr/>
        </p:nvSpPr>
        <p:spPr bwMode="gray">
          <a:xfrm>
            <a:off x="386535" y="3474005"/>
            <a:ext cx="3942148" cy="576064"/>
          </a:xfrm>
          <a:prstGeom prst="rect">
            <a:avLst/>
          </a:prstGeom>
          <a:solidFill>
            <a:srgbClr val="1F357B"/>
          </a:solidFill>
          <a:ln w="28575">
            <a:solidFill>
              <a:schemeClr val="accent2">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p:spPr>
        <p:style>
          <a:lnRef idx="0">
            <a:schemeClr val="accent6"/>
          </a:lnRef>
          <a:fillRef idx="3">
            <a:schemeClr val="accent6"/>
          </a:fillRef>
          <a:effectRef idx="3">
            <a:schemeClr val="accent6"/>
          </a:effectRef>
          <a:fontRef idx="minor">
            <a:schemeClr val="lt1"/>
          </a:fontRef>
        </p:style>
        <p:txBody>
          <a:bodyPr wrap="none" anchor="ctr"/>
          <a:lstStyle/>
          <a:p>
            <a:pPr>
              <a:buFont typeface="Wingdings" pitchFamily="2" charset="2"/>
              <a:buNone/>
              <a:defRPr/>
            </a:pPr>
            <a:r>
              <a:rPr lang="en-US" sz="1400" b="1" dirty="0">
                <a:solidFill>
                  <a:schemeClr val="bg1"/>
                </a:solidFill>
                <a:effectLst>
                  <a:outerShdw blurRad="38100" dist="38100" dir="2700000" algn="tl">
                    <a:srgbClr val="000000"/>
                  </a:outerShdw>
                </a:effectLst>
                <a:ea typeface="ＭＳ Ｐゴシック" pitchFamily="34" charset="-128"/>
              </a:rPr>
              <a:t>	</a:t>
            </a:r>
            <a:r>
              <a:rPr lang="en-US" sz="1400" b="1" dirty="0">
                <a:solidFill>
                  <a:schemeClr val="bg1"/>
                </a:solidFill>
                <a:ea typeface="ＭＳ Ｐゴシック" pitchFamily="34" charset="-128"/>
              </a:rPr>
              <a:t>UFFICIO SUPPORTO</a:t>
            </a:r>
          </a:p>
          <a:p>
            <a:pPr>
              <a:buFont typeface="Wingdings" pitchFamily="2" charset="2"/>
              <a:buNone/>
              <a:defRPr/>
            </a:pPr>
            <a:r>
              <a:rPr lang="en-US" sz="1400" b="1" dirty="0">
                <a:solidFill>
                  <a:schemeClr val="bg1"/>
                </a:solidFill>
                <a:ea typeface="ＭＳ Ｐゴシック" pitchFamily="34" charset="-128"/>
              </a:rPr>
              <a:t>                    BUSINESS ESTERO</a:t>
            </a:r>
            <a:endParaRPr lang="it-IT" sz="1400" b="1" dirty="0">
              <a:solidFill>
                <a:schemeClr val="bg1"/>
              </a:solidFill>
              <a:ea typeface="ＭＳ Ｐゴシック" pitchFamily="34" charset="-128"/>
            </a:endParaRPr>
          </a:p>
        </p:txBody>
      </p:sp>
      <p:cxnSp>
        <p:nvCxnSpPr>
          <p:cNvPr id="11" name="Connettore 2 10"/>
          <p:cNvCxnSpPr/>
          <p:nvPr/>
        </p:nvCxnSpPr>
        <p:spPr>
          <a:xfrm flipH="1">
            <a:off x="2333475" y="2888766"/>
            <a:ext cx="2232720" cy="546671"/>
          </a:xfrm>
          <a:prstGeom prst="straightConnector1">
            <a:avLst/>
          </a:prstGeom>
          <a:ln w="38100">
            <a:solidFill>
              <a:schemeClr val="bg1">
                <a:lumMod val="65000"/>
              </a:schemeClr>
            </a:solidFill>
            <a:tailEnd type="triangl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12" name="Connettore 2 11"/>
          <p:cNvCxnSpPr/>
          <p:nvPr/>
        </p:nvCxnSpPr>
        <p:spPr>
          <a:xfrm>
            <a:off x="4566195" y="2888766"/>
            <a:ext cx="2168774" cy="546671"/>
          </a:xfrm>
          <a:prstGeom prst="straightConnector1">
            <a:avLst/>
          </a:prstGeom>
          <a:ln w="38100">
            <a:solidFill>
              <a:schemeClr val="bg1">
                <a:lumMod val="65000"/>
              </a:schemeClr>
            </a:solidFill>
            <a:tailEnd type="triangle"/>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sp>
        <p:nvSpPr>
          <p:cNvPr id="15" name="Rettangolo arrotondato 14"/>
          <p:cNvSpPr/>
          <p:nvPr/>
        </p:nvSpPr>
        <p:spPr>
          <a:xfrm>
            <a:off x="3198813" y="863600"/>
            <a:ext cx="2735262" cy="360363"/>
          </a:xfrm>
          <a:prstGeom prst="roundRect">
            <a:avLst/>
          </a:prstGeom>
          <a:solidFill>
            <a:schemeClr val="bg1">
              <a:lumMod val="85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Wingdings" pitchFamily="2" charset="2"/>
              <a:buNone/>
              <a:defRPr/>
            </a:pPr>
            <a:r>
              <a:rPr lang="it-IT" sz="1400" b="1" dirty="0">
                <a:solidFill>
                  <a:schemeClr val="tx1"/>
                </a:solidFill>
              </a:rPr>
              <a:t>INTERNAZIONALIZZAZIONE</a:t>
            </a:r>
          </a:p>
        </p:txBody>
      </p:sp>
      <p:sp>
        <p:nvSpPr>
          <p:cNvPr id="22541" name="CasellaDiTesto 7"/>
          <p:cNvSpPr txBox="1">
            <a:spLocks noChangeArrowheads="1"/>
          </p:cNvSpPr>
          <p:nvPr/>
        </p:nvSpPr>
        <p:spPr bwMode="auto">
          <a:xfrm>
            <a:off x="306388" y="158750"/>
            <a:ext cx="84963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Wingdings" pitchFamily="2" charset="2"/>
              <a:buNone/>
            </a:pPr>
            <a:r>
              <a:rPr lang="it-IT" sz="2400" b="1" dirty="0">
                <a:ea typeface="ＭＳ Ｐゴシック" pitchFamily="-28" charset="-128"/>
              </a:rPr>
              <a:t>Il Servizio Internazionalizzazione Imprese (</a:t>
            </a:r>
            <a:r>
              <a:rPr lang="it-IT" sz="2400" b="1" dirty="0" smtClean="0">
                <a:ea typeface="ＭＳ Ｐゴシック" pitchFamily="-28" charset="-128"/>
              </a:rPr>
              <a:t>S.I.I.)</a:t>
            </a:r>
            <a:endParaRPr lang="en-GB" sz="2400" dirty="0">
              <a:ea typeface="ＭＳ Ｐゴシック" pitchFamily="-28" charset="-128"/>
            </a:endParaRPr>
          </a:p>
        </p:txBody>
      </p:sp>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3"/>
          <p:cNvSpPr>
            <a:spLocks noChangeArrowheads="1"/>
          </p:cNvSpPr>
          <p:nvPr/>
        </p:nvSpPr>
        <p:spPr bwMode="auto">
          <a:xfrm>
            <a:off x="701675" y="6264275"/>
            <a:ext cx="8010525" cy="44450"/>
          </a:xfrm>
          <a:prstGeom prst="rect">
            <a:avLst/>
          </a:prstGeom>
          <a:solidFill>
            <a:srgbClr val="FD69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sp>
        <p:nvSpPr>
          <p:cNvPr id="21507" name="Rectangle 2"/>
          <p:cNvSpPr>
            <a:spLocks noChangeArrowheads="1"/>
          </p:cNvSpPr>
          <p:nvPr/>
        </p:nvSpPr>
        <p:spPr bwMode="auto">
          <a:xfrm>
            <a:off x="242888" y="115888"/>
            <a:ext cx="91440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buFont typeface="Wingdings" pitchFamily="2" charset="2"/>
              <a:buNone/>
            </a:pPr>
            <a:r>
              <a:rPr lang="it-IT" sz="2400" b="1" dirty="0" smtClean="0"/>
              <a:t>Le fasi del processo di internazionalizzazione</a:t>
            </a:r>
            <a:endParaRPr lang="it-IT" sz="2400" b="1" dirty="0"/>
          </a:p>
        </p:txBody>
      </p:sp>
      <p:pic>
        <p:nvPicPr>
          <p:cNvPr id="28" name="Picture 7"/>
          <p:cNvPicPr>
            <a:picLocks noChangeAspect="1" noChangeArrowheads="1"/>
          </p:cNvPicPr>
          <p:nvPr/>
        </p:nvPicPr>
        <p:blipFill>
          <a:blip r:embed="rId2"/>
          <a:srcRect/>
          <a:stretch>
            <a:fillRect/>
          </a:stretch>
        </p:blipFill>
        <p:spPr bwMode="auto">
          <a:xfrm>
            <a:off x="4949825" y="5343065"/>
            <a:ext cx="3762375" cy="881523"/>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509" name="Rectangle 3"/>
          <p:cNvSpPr>
            <a:spLocks noChangeArrowheads="1"/>
          </p:cNvSpPr>
          <p:nvPr/>
        </p:nvSpPr>
        <p:spPr bwMode="auto">
          <a:xfrm>
            <a:off x="539750" y="6264275"/>
            <a:ext cx="8010525" cy="44450"/>
          </a:xfrm>
          <a:prstGeom prst="rect">
            <a:avLst/>
          </a:prstGeom>
          <a:solidFill>
            <a:srgbClr val="FD691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a:p>
        </p:txBody>
      </p:sp>
      <p:sp>
        <p:nvSpPr>
          <p:cNvPr id="43" name="Rettangolo arrotondato 42"/>
          <p:cNvSpPr/>
          <p:nvPr/>
        </p:nvSpPr>
        <p:spPr>
          <a:xfrm>
            <a:off x="296862" y="674694"/>
            <a:ext cx="8496300" cy="864096"/>
          </a:xfrm>
          <a:prstGeom prst="roundRect">
            <a:avLst/>
          </a:prstGeom>
          <a:solidFill>
            <a:schemeClr val="bg1"/>
          </a:solidFill>
          <a:ln>
            <a:solidFill>
              <a:schemeClr val="bg1">
                <a:lumMod val="8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Clr>
                <a:srgbClr val="FF4215"/>
              </a:buClr>
              <a:buFont typeface="Wingdings" pitchFamily="2" charset="2"/>
              <a:buNone/>
              <a:defRPr/>
            </a:pPr>
            <a:r>
              <a:rPr lang="it-IT" sz="1600" dirty="0">
                <a:solidFill>
                  <a:schemeClr val="tx1"/>
                </a:solidFill>
                <a:ea typeface="ＭＳ Ｐゴシック" pitchFamily="34" charset="-128"/>
              </a:rPr>
              <a:t>Da una prima fase in cui viene fornita assistenza alla penetrazione commerciale </a:t>
            </a:r>
            <a:r>
              <a:rPr lang="it-IT" sz="1600" dirty="0" smtClean="0">
                <a:solidFill>
                  <a:schemeClr val="tx1"/>
                </a:solidFill>
                <a:ea typeface="ＭＳ Ｐゴシック" pitchFamily="34" charset="-128"/>
              </a:rPr>
              <a:t>l’offerta di strumenti e servizi finanziari evolve dal supporto </a:t>
            </a:r>
            <a:r>
              <a:rPr lang="it-IT" sz="1600" dirty="0">
                <a:solidFill>
                  <a:schemeClr val="tx1"/>
                </a:solidFill>
                <a:ea typeface="ＭＳ Ｐゴシック" pitchFamily="34" charset="-128"/>
              </a:rPr>
              <a:t>commerciale, fino all’esecuzione di investimenti oltre confine e alla gestione finanziaria di consociate estere.</a:t>
            </a:r>
          </a:p>
        </p:txBody>
      </p:sp>
      <p:sp>
        <p:nvSpPr>
          <p:cNvPr id="26" name="Text Box 12"/>
          <p:cNvSpPr txBox="1">
            <a:spLocks noChangeArrowheads="1"/>
          </p:cNvSpPr>
          <p:nvPr/>
        </p:nvSpPr>
        <p:spPr bwMode="auto">
          <a:xfrm rot="3329766">
            <a:off x="5750718" y="3802857"/>
            <a:ext cx="1370013" cy="825500"/>
          </a:xfrm>
          <a:prstGeom prst="rect">
            <a:avLst/>
          </a:prstGeom>
          <a:noFill/>
          <a:ln>
            <a:noFill/>
          </a:ln>
          <a:effectLst/>
          <a:extLst>
            <a:ext uri="{909E8E84-426E-40DD-AFC4-6F175D3DCCD1}">
              <a14:hiddenFill xmlns:a14="http://schemas.microsoft.com/office/drawing/2010/main">
                <a:solidFill>
                  <a:srgbClr val="FD6917"/>
                </a:solidFill>
              </a14:hiddenFill>
            </a:ext>
            <a:ext uri="{91240B29-F687-4F45-9708-019B960494DF}">
              <a14:hiddenLine xmlns:a14="http://schemas.microsoft.com/office/drawing/2010/main" w="19050"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000">
                <a:solidFill>
                  <a:schemeClr val="tx1"/>
                </a:solidFill>
                <a:latin typeface="Arial" charset="0"/>
                <a:ea typeface="ＭＳ Ｐゴシック" charset="-128"/>
              </a:defRPr>
            </a:lvl1pPr>
            <a:lvl2pPr marL="742950" indent="-285750" eaLnBrk="0" hangingPunct="0">
              <a:defRPr sz="2000">
                <a:solidFill>
                  <a:schemeClr val="tx1"/>
                </a:solidFill>
                <a:latin typeface="Arial" charset="0"/>
                <a:ea typeface="ＭＳ Ｐゴシック" charset="-128"/>
              </a:defRPr>
            </a:lvl2pPr>
            <a:lvl3pPr marL="1143000" indent="-228600" eaLnBrk="0" hangingPunct="0">
              <a:defRPr sz="2000">
                <a:solidFill>
                  <a:schemeClr val="tx1"/>
                </a:solidFill>
                <a:latin typeface="Arial" charset="0"/>
                <a:ea typeface="ＭＳ Ｐゴシック" charset="-128"/>
              </a:defRPr>
            </a:lvl3pPr>
            <a:lvl4pPr marL="1600200" indent="-228600" eaLnBrk="0" hangingPunct="0">
              <a:defRPr sz="2000">
                <a:solidFill>
                  <a:schemeClr val="tx1"/>
                </a:solidFill>
                <a:latin typeface="Arial" charset="0"/>
                <a:ea typeface="ＭＳ Ｐゴシック" charset="-128"/>
              </a:defRPr>
            </a:lvl4pPr>
            <a:lvl5pPr marL="2057400" indent="-228600" eaLnBrk="0" hangingPunct="0">
              <a:defRPr sz="2000">
                <a:solidFill>
                  <a:schemeClr val="tx1"/>
                </a:solidFill>
                <a:latin typeface="Arial" charset="0"/>
                <a:ea typeface="ＭＳ Ｐゴシック" charset="-128"/>
              </a:defRPr>
            </a:lvl5pPr>
            <a:lvl6pPr marL="25146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charset="0"/>
                <a:ea typeface="ＭＳ Ｐゴシック" charset="-128"/>
              </a:defRPr>
            </a:lvl6pPr>
            <a:lvl7pPr marL="29718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charset="0"/>
                <a:ea typeface="ＭＳ Ｐゴシック" charset="-128"/>
              </a:defRPr>
            </a:lvl7pPr>
            <a:lvl8pPr marL="34290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charset="0"/>
                <a:ea typeface="ＭＳ Ｐゴシック" charset="-128"/>
              </a:defRPr>
            </a:lvl8pPr>
            <a:lvl9pPr marL="3886200" indent="-228600" eaLnBrk="0" fontAlgn="base" hangingPunct="0">
              <a:spcBef>
                <a:spcPct val="0"/>
              </a:spcBef>
              <a:spcAft>
                <a:spcPct val="50000"/>
              </a:spcAft>
              <a:buClr>
                <a:srgbClr val="FF6633"/>
              </a:buClr>
              <a:buSzPct val="100000"/>
              <a:buFont typeface="Wingdings" pitchFamily="2" charset="2"/>
              <a:buChar char="•"/>
              <a:defRPr sz="2000">
                <a:solidFill>
                  <a:schemeClr val="tx1"/>
                </a:solidFill>
                <a:latin typeface="Arial" charset="0"/>
                <a:ea typeface="ＭＳ Ｐゴシック" charset="-128"/>
              </a:defRPr>
            </a:lvl9pPr>
          </a:lstStyle>
          <a:p>
            <a:pPr eaLnBrk="1" hangingPunct="1">
              <a:buFont typeface="Wingdings" pitchFamily="2" charset="2"/>
              <a:buNone/>
            </a:pPr>
            <a:r>
              <a:rPr lang="it-IT" sz="1600" b="1" dirty="0">
                <a:solidFill>
                  <a:schemeClr val="bg1"/>
                </a:solidFill>
                <a:latin typeface="Calibri" pitchFamily="34" charset="0"/>
                <a:cs typeface="Arial" charset="0"/>
              </a:rPr>
              <a:t>Assistenza Operazione     Commerciale</a:t>
            </a:r>
          </a:p>
        </p:txBody>
      </p:sp>
      <p:graphicFrame>
        <p:nvGraphicFramePr>
          <p:cNvPr id="39" name="Segnaposto contenuto 3"/>
          <p:cNvGraphicFramePr>
            <a:graphicFrameLocks noGrp="1"/>
          </p:cNvGraphicFramePr>
          <p:nvPr>
            <p:ph idx="1"/>
            <p:extLst>
              <p:ext uri="{D42A27DB-BD31-4B8C-83A1-F6EECF244321}">
                <p14:modId xmlns:p14="http://schemas.microsoft.com/office/powerpoint/2010/main" val="2181442447"/>
              </p:ext>
            </p:extLst>
          </p:nvPr>
        </p:nvGraphicFramePr>
        <p:xfrm>
          <a:off x="457200" y="1700808"/>
          <a:ext cx="8435280" cy="46079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6220131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5"/>
          <p:cNvGrpSpPr>
            <a:grpSpLocks/>
          </p:cNvGrpSpPr>
          <p:nvPr/>
        </p:nvGrpSpPr>
        <p:grpSpPr bwMode="auto">
          <a:xfrm>
            <a:off x="533400" y="2743200"/>
            <a:ext cx="2519363" cy="3074160"/>
            <a:chOff x="204" y="3200"/>
            <a:chExt cx="1633" cy="275"/>
          </a:xfrm>
          <a:solidFill>
            <a:srgbClr val="1F357B"/>
          </a:solidFill>
          <a:scene3d>
            <a:camera prst="orthographicFront">
              <a:rot lat="0" lon="0" rev="0"/>
            </a:camera>
            <a:lightRig rig="balanced" dir="t">
              <a:rot lat="0" lon="0" rev="8700000"/>
            </a:lightRig>
          </a:scene3d>
        </p:grpSpPr>
        <p:sp>
          <p:nvSpPr>
            <p:cNvPr id="15" name="Rectangle 16"/>
            <p:cNvSpPr>
              <a:spLocks noChangeArrowheads="1"/>
            </p:cNvSpPr>
            <p:nvPr/>
          </p:nvSpPr>
          <p:spPr bwMode="auto">
            <a:xfrm>
              <a:off x="204" y="3200"/>
              <a:ext cx="1633" cy="275"/>
            </a:xfrm>
            <a:prstGeom prst="rect">
              <a:avLst/>
            </a:prstGeom>
            <a:grpFill/>
            <a:ln w="9525" algn="ctr">
              <a:solidFill>
                <a:schemeClr val="bg1"/>
              </a:solidFill>
              <a:miter lim="800000"/>
              <a:headEnd/>
              <a:tailEnd/>
            </a:ln>
            <a:effectLst>
              <a:outerShdw blurRad="44450" dist="27940" dir="5400000" algn="ctr">
                <a:srgbClr val="000000">
                  <a:alpha val="32000"/>
                </a:srgbClr>
              </a:outerShdw>
            </a:effectLst>
            <a:sp3d>
              <a:bevelT w="190500" h="38100"/>
            </a:sp3d>
          </p:spPr>
          <p:txBody>
            <a:bodyPr wrap="none" anchor="ctr"/>
            <a:lstStyle/>
            <a:p>
              <a:pPr algn="ctr">
                <a:buFont typeface="Wingdings" charset="2"/>
                <a:buNone/>
                <a:defRPr/>
              </a:pPr>
              <a:endParaRPr lang="en-US" sz="1600" b="1">
                <a:solidFill>
                  <a:schemeClr val="bg1"/>
                </a:solidFill>
                <a:ea typeface="MS PGothic" pitchFamily="34" charset="-128"/>
              </a:endParaRPr>
            </a:p>
          </p:txBody>
        </p:sp>
        <p:sp>
          <p:nvSpPr>
            <p:cNvPr id="16" name="Rectangle 17"/>
            <p:cNvSpPr>
              <a:spLocks noChangeArrowheads="1"/>
            </p:cNvSpPr>
            <p:nvPr/>
          </p:nvSpPr>
          <p:spPr bwMode="gray">
            <a:xfrm>
              <a:off x="235" y="3270"/>
              <a:ext cx="1511" cy="117"/>
            </a:xfrm>
            <a:prstGeom prst="rect">
              <a:avLst/>
            </a:prstGeom>
            <a:grpFill/>
            <a:ln w="9525" algn="ctr">
              <a:solidFill>
                <a:schemeClr val="bg1"/>
              </a:solidFill>
              <a:miter lim="800000"/>
              <a:headEnd/>
              <a:tailEnd/>
            </a:ln>
            <a:effectLst>
              <a:outerShdw blurRad="44450" dist="27940" dir="5400000" algn="ctr">
                <a:srgbClr val="000000">
                  <a:alpha val="32000"/>
                </a:srgbClr>
              </a:outerShdw>
            </a:effectLst>
            <a:sp3d>
              <a:bevelT w="190500" h="38100"/>
            </a:sp3d>
            <a:extLst/>
          </p:spPr>
          <p:txBody>
            <a:bodyPr lIns="0" tIns="0" rIns="0" bIns="0">
              <a:spAutoFit/>
            </a:bodyPr>
            <a:lstStyle/>
            <a:p>
              <a:pPr marL="1588" lvl="1" indent="9525" algn="ctr" defTabSz="912813">
                <a:buSzPct val="120000"/>
                <a:buFont typeface="Wingdings" charset="2"/>
                <a:buNone/>
                <a:defRPr/>
              </a:pPr>
              <a:r>
                <a:rPr lang="it-IT" sz="1600" b="1" dirty="0">
                  <a:solidFill>
                    <a:schemeClr val="bg1"/>
                  </a:solidFill>
                  <a:ea typeface="MS PGothic" pitchFamily="34" charset="-128"/>
                </a:rPr>
                <a:t>EST EUROPA</a:t>
              </a:r>
            </a:p>
          </p:txBody>
        </p:sp>
      </p:grpSp>
      <p:sp>
        <p:nvSpPr>
          <p:cNvPr id="20" name="Rectangle 32"/>
          <p:cNvSpPr>
            <a:spLocks noChangeArrowheads="1"/>
          </p:cNvSpPr>
          <p:nvPr/>
        </p:nvSpPr>
        <p:spPr bwMode="auto">
          <a:xfrm>
            <a:off x="179512" y="179388"/>
            <a:ext cx="8893175" cy="774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Font typeface="Wingdings" pitchFamily="2" charset="2"/>
              <a:buNone/>
            </a:pPr>
            <a:r>
              <a:rPr lang="it-IT" sz="2400" b="1" dirty="0"/>
              <a:t>Ufficio Sviluppo Internazionalizzazione – </a:t>
            </a:r>
            <a:r>
              <a:rPr lang="it-IT" b="1" dirty="0"/>
              <a:t>Contatti </a:t>
            </a:r>
            <a:r>
              <a:rPr lang="it-IT" b="1" dirty="0" smtClean="0"/>
              <a:t>Desk Est Europa</a:t>
            </a:r>
            <a:endParaRPr lang="it-IT" b="1" dirty="0"/>
          </a:p>
        </p:txBody>
      </p:sp>
      <p:sp>
        <p:nvSpPr>
          <p:cNvPr id="21" name="Rectangle 25"/>
          <p:cNvSpPr>
            <a:spLocks noChangeArrowheads="1"/>
          </p:cNvSpPr>
          <p:nvPr>
            <p:custDataLst>
              <p:tags r:id="rId1"/>
            </p:custDataLst>
          </p:nvPr>
        </p:nvSpPr>
        <p:spPr bwMode="auto">
          <a:xfrm>
            <a:off x="533400" y="762000"/>
            <a:ext cx="5937250" cy="1440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1113" lvl="1" defTabSz="912813">
              <a:lnSpc>
                <a:spcPct val="90000"/>
              </a:lnSpc>
              <a:spcBef>
                <a:spcPct val="20000"/>
              </a:spcBef>
              <a:spcAft>
                <a:spcPct val="10000"/>
              </a:spcAft>
              <a:buClr>
                <a:srgbClr val="FF6600"/>
              </a:buClr>
              <a:buFont typeface="Wingdings" pitchFamily="2" charset="2"/>
              <a:buNone/>
              <a:defRPr/>
            </a:pPr>
            <a:r>
              <a:rPr lang="it-IT" sz="2400" b="1" dirty="0">
                <a:cs typeface="Arial" pitchFamily="34" charset="0"/>
              </a:rPr>
              <a:t>Responsabile: Andrea Fiori</a:t>
            </a:r>
            <a:br>
              <a:rPr lang="it-IT" sz="2400" b="1" dirty="0">
                <a:cs typeface="Arial" pitchFamily="34" charset="0"/>
              </a:rPr>
            </a:br>
            <a:r>
              <a:rPr lang="it-IT" sz="2400" dirty="0" err="1">
                <a:cs typeface="Arial" pitchFamily="34" charset="0"/>
              </a:rPr>
              <a:t>Tel</a:t>
            </a:r>
            <a:r>
              <a:rPr lang="it-IT" sz="2400" dirty="0">
                <a:cs typeface="Arial" pitchFamily="34" charset="0"/>
              </a:rPr>
              <a:t> 049 6539771 </a:t>
            </a:r>
            <a:r>
              <a:rPr lang="it-IT" sz="2400" dirty="0">
                <a:cs typeface="Arial" pitchFamily="34" charset="0"/>
                <a:hlinkClick r:id="rId4"/>
              </a:rPr>
              <a:t>andrea.fiori@intesasanpaolo.com</a:t>
            </a:r>
            <a:endParaRPr lang="it-IT" sz="2400" dirty="0">
              <a:cs typeface="Arial" pitchFamily="34" charset="0"/>
            </a:endParaRPr>
          </a:p>
          <a:p>
            <a:pPr marL="195263" lvl="1" indent="-184150" defTabSz="912813">
              <a:lnSpc>
                <a:spcPct val="90000"/>
              </a:lnSpc>
              <a:spcBef>
                <a:spcPct val="20000"/>
              </a:spcBef>
              <a:spcAft>
                <a:spcPct val="10000"/>
              </a:spcAft>
              <a:buClr>
                <a:srgbClr val="FF6600"/>
              </a:buClr>
              <a:defRPr/>
            </a:pPr>
            <a:endParaRPr lang="it-IT" sz="2400" dirty="0">
              <a:cs typeface="Arial" pitchFamily="34" charset="0"/>
            </a:endParaRPr>
          </a:p>
        </p:txBody>
      </p:sp>
      <p:pic>
        <p:nvPicPr>
          <p:cNvPr id="22" name="Picture 2" descr="http://t1.gstatic.com/images?q=tbn:ANd9GcTatUlwWXYSQHnC56urYNYl3DVG0CkZY6V4CysEvPk8WpSlrgWTCg"/>
          <p:cNvPicPr>
            <a:picLocks noChangeAspect="1" noChangeArrowheads="1"/>
          </p:cNvPicPr>
          <p:nvPr/>
        </p:nvPicPr>
        <p:blipFill>
          <a:blip r:embed="rId5">
            <a:extLst>
              <a:ext uri="{BEBA8EAE-BF5A-486C-A8C5-ECC9F3942E4B}">
                <a14:imgProps xmlns:a14="http://schemas.microsoft.com/office/drawing/2010/main">
                  <a14:imgLayer r:embed="rId6">
                    <a14:imgEffect>
                      <a14:sharpenSoften amount="-50000"/>
                    </a14:imgEffect>
                    <a14:imgEffect>
                      <a14:colorTemperature colorTemp="4375"/>
                    </a14:imgEffect>
                    <a14:imgEffect>
                      <a14:saturation sat="55000"/>
                    </a14:imgEffect>
                    <a14:imgEffect>
                      <a14:brightnessContrast bright="7000" contrast="17000"/>
                    </a14:imgEffect>
                  </a14:imgLayer>
                </a14:imgProps>
              </a:ext>
              <a:ext uri="{28A0092B-C50C-407E-A947-70E740481C1C}">
                <a14:useLocalDpi xmlns:a14="http://schemas.microsoft.com/office/drawing/2010/main" val="0"/>
              </a:ext>
            </a:extLst>
          </a:blip>
          <a:srcRect/>
          <a:stretch>
            <a:fillRect/>
          </a:stretch>
        </p:blipFill>
        <p:spPr bwMode="auto">
          <a:xfrm>
            <a:off x="7917508" y="669692"/>
            <a:ext cx="1221543" cy="118404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4"/>
          <p:cNvSpPr>
            <a:spLocks noChangeArrowheads="1"/>
          </p:cNvSpPr>
          <p:nvPr>
            <p:custDataLst>
              <p:tags r:id="rId2"/>
            </p:custDataLst>
          </p:nvPr>
        </p:nvSpPr>
        <p:spPr bwMode="auto">
          <a:xfrm>
            <a:off x="3276600" y="2590800"/>
            <a:ext cx="6084888" cy="3214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95263" lvl="1" indent="-184150" defTabSz="912813">
              <a:lnSpc>
                <a:spcPct val="90000"/>
              </a:lnSpc>
              <a:spcBef>
                <a:spcPct val="20000"/>
              </a:spcBef>
              <a:spcAft>
                <a:spcPct val="10000"/>
              </a:spcAft>
              <a:buClr>
                <a:srgbClr val="FF6600"/>
              </a:buClr>
              <a:buBlip>
                <a:blip r:embed="rId7"/>
              </a:buBlip>
            </a:pPr>
            <a:r>
              <a:rPr lang="it-IT" sz="2400" dirty="0" smtClean="0">
                <a:latin typeface="+mn-lt"/>
              </a:rPr>
              <a:t>Daniele </a:t>
            </a:r>
            <a:r>
              <a:rPr lang="it-IT" sz="2400" dirty="0">
                <a:latin typeface="+mn-lt"/>
              </a:rPr>
              <a:t>Bordina - </a:t>
            </a:r>
            <a:r>
              <a:rPr lang="it-IT" sz="2400" dirty="0" err="1">
                <a:latin typeface="+mn-lt"/>
              </a:rPr>
              <a:t>Tel</a:t>
            </a:r>
            <a:r>
              <a:rPr lang="it-IT" sz="2400" dirty="0">
                <a:latin typeface="+mn-lt"/>
              </a:rPr>
              <a:t> 049 6539758 </a:t>
            </a:r>
            <a:r>
              <a:rPr lang="it-IT" sz="2400" dirty="0">
                <a:latin typeface="+mn-lt"/>
                <a:hlinkClick r:id="rId8"/>
              </a:rPr>
              <a:t>daniele.bordina@intesasanpaolo.com</a:t>
            </a:r>
            <a:endParaRPr lang="it-IT" sz="2400" dirty="0">
              <a:latin typeface="+mn-lt"/>
            </a:endParaRPr>
          </a:p>
          <a:p>
            <a:pPr marL="195263" lvl="1" indent="-184150" defTabSz="912813">
              <a:lnSpc>
                <a:spcPct val="90000"/>
              </a:lnSpc>
              <a:spcBef>
                <a:spcPct val="20000"/>
              </a:spcBef>
              <a:spcAft>
                <a:spcPct val="10000"/>
              </a:spcAft>
              <a:buClr>
                <a:srgbClr val="FF6600"/>
              </a:buClr>
              <a:buBlip>
                <a:blip r:embed="rId7"/>
              </a:buBlip>
            </a:pPr>
            <a:r>
              <a:rPr lang="it-IT" sz="2400" dirty="0" smtClean="0">
                <a:latin typeface="+mn-lt"/>
              </a:rPr>
              <a:t>Alessandra </a:t>
            </a:r>
            <a:r>
              <a:rPr lang="it-IT" sz="2400" dirty="0">
                <a:latin typeface="+mn-lt"/>
              </a:rPr>
              <a:t>Barbetti </a:t>
            </a:r>
            <a:r>
              <a:rPr lang="it-IT" sz="2400" dirty="0" err="1">
                <a:latin typeface="+mn-lt"/>
              </a:rPr>
              <a:t>Tel</a:t>
            </a:r>
            <a:r>
              <a:rPr lang="it-IT" sz="2400" dirty="0">
                <a:latin typeface="+mn-lt"/>
              </a:rPr>
              <a:t> 049 6539769 </a:t>
            </a:r>
            <a:r>
              <a:rPr lang="it-IT" sz="2400" dirty="0" smtClean="0">
                <a:latin typeface="+mn-lt"/>
                <a:hlinkClick r:id="rId9"/>
              </a:rPr>
              <a:t>alessandra.barbetti@intesasanpaolo.com</a:t>
            </a:r>
            <a:endParaRPr lang="it-IT" sz="2400" dirty="0" smtClean="0">
              <a:latin typeface="+mn-lt"/>
            </a:endParaRPr>
          </a:p>
          <a:p>
            <a:pPr marL="195263" lvl="1" indent="-184150" defTabSz="912813">
              <a:lnSpc>
                <a:spcPct val="90000"/>
              </a:lnSpc>
              <a:spcBef>
                <a:spcPct val="20000"/>
              </a:spcBef>
              <a:spcAft>
                <a:spcPct val="10000"/>
              </a:spcAft>
              <a:buClr>
                <a:srgbClr val="FF6600"/>
              </a:buClr>
              <a:buBlip>
                <a:blip r:embed="rId7"/>
              </a:buBlip>
            </a:pPr>
            <a:r>
              <a:rPr lang="it-IT" sz="2400" dirty="0">
                <a:latin typeface="+mn-lt"/>
              </a:rPr>
              <a:t>Roberto Gallo – </a:t>
            </a:r>
            <a:r>
              <a:rPr lang="it-IT" sz="2400" dirty="0" err="1">
                <a:latin typeface="+mn-lt"/>
              </a:rPr>
              <a:t>Tel</a:t>
            </a:r>
            <a:r>
              <a:rPr lang="it-IT" sz="2400" dirty="0">
                <a:latin typeface="+mn-lt"/>
              </a:rPr>
              <a:t> 049 6539764 </a:t>
            </a:r>
            <a:r>
              <a:rPr lang="it-IT" sz="2400" dirty="0" smtClean="0">
                <a:latin typeface="+mn-lt"/>
                <a:hlinkClick r:id="rId10"/>
              </a:rPr>
              <a:t>roberto.gallo@intesasanpaolo.com</a:t>
            </a:r>
            <a:endParaRPr lang="it-IT" sz="2400" dirty="0" smtClean="0">
              <a:latin typeface="+mn-lt"/>
            </a:endParaRPr>
          </a:p>
          <a:p>
            <a:pPr marL="195263" lvl="1" indent="-184150" defTabSz="912813">
              <a:lnSpc>
                <a:spcPct val="90000"/>
              </a:lnSpc>
              <a:spcBef>
                <a:spcPct val="20000"/>
              </a:spcBef>
              <a:spcAft>
                <a:spcPct val="10000"/>
              </a:spcAft>
              <a:buClr>
                <a:srgbClr val="FF6600"/>
              </a:buClr>
              <a:buBlip>
                <a:blip r:embed="rId7"/>
              </a:buBlip>
            </a:pPr>
            <a:r>
              <a:rPr lang="it-IT" sz="2400" dirty="0">
                <a:ea typeface="ＭＳ Ｐゴシック" pitchFamily="34" charset="-128"/>
              </a:rPr>
              <a:t>Cecilia Ventura – Tel. 049 6539745 </a:t>
            </a:r>
            <a:r>
              <a:rPr lang="it-IT" sz="2400" dirty="0">
                <a:ea typeface="ＭＳ Ｐゴシック" pitchFamily="34" charset="-128"/>
                <a:hlinkClick r:id="rId11"/>
              </a:rPr>
              <a:t>cecilia.ventura@intesasanpaolo.com</a:t>
            </a:r>
            <a:endParaRPr lang="it-IT" sz="2400" dirty="0">
              <a:ea typeface="ＭＳ Ｐゴシック" pitchFamily="34" charset="-128"/>
            </a:endParaRPr>
          </a:p>
          <a:p>
            <a:pPr marL="195263" lvl="1" indent="-184150" defTabSz="912813">
              <a:lnSpc>
                <a:spcPct val="90000"/>
              </a:lnSpc>
              <a:spcBef>
                <a:spcPct val="20000"/>
              </a:spcBef>
              <a:spcAft>
                <a:spcPct val="10000"/>
              </a:spcAft>
              <a:buClr>
                <a:srgbClr val="FF6600"/>
              </a:buClr>
              <a:buBlip>
                <a:blip r:embed="rId7"/>
              </a:buBlip>
            </a:pPr>
            <a:endParaRPr lang="it-IT" sz="1100" dirty="0">
              <a:latin typeface="+mn-lt"/>
            </a:endParaRPr>
          </a:p>
        </p:txBody>
      </p:sp>
      <p:sp>
        <p:nvSpPr>
          <p:cNvPr id="10" name="Rectangle 9"/>
          <p:cNvSpPr/>
          <p:nvPr/>
        </p:nvSpPr>
        <p:spPr>
          <a:xfrm>
            <a:off x="1524000" y="1828800"/>
            <a:ext cx="6248400" cy="646331"/>
          </a:xfrm>
          <a:prstGeom prst="rect">
            <a:avLst/>
          </a:prstGeom>
          <a:noFill/>
          <a:effectLst>
            <a:outerShdw blurRad="50800" dist="50800" dir="5400000" algn="ctr" rotWithShape="0">
              <a:srgbClr val="000000">
                <a:alpha val="56000"/>
              </a:srgbClr>
            </a:outerShdw>
          </a:effectLst>
          <a:scene3d>
            <a:camera prst="orthographicFront">
              <a:rot lat="0" lon="0" rev="1200000"/>
            </a:camera>
            <a:lightRig rig="threePt" dir="t"/>
          </a:scene3d>
        </p:spPr>
        <p:txBody>
          <a:bodyPr wrap="square" lIns="91440" tIns="45720" rIns="91440" bIns="45720">
            <a:spAutoFit/>
          </a:bodyPr>
          <a:lstStyle/>
          <a:p>
            <a:pPr algn="ctr"/>
            <a:r>
              <a:rPr lang="en-US" sz="3600" b="1" cap="none" spc="0"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TRAMITE BANCA ITALIANA</a:t>
            </a:r>
            <a:endParaRPr lang="en-US" sz="36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11" name="Rectangle 10"/>
          <p:cNvSpPr/>
          <p:nvPr/>
        </p:nvSpPr>
        <p:spPr>
          <a:xfrm>
            <a:off x="1524000" y="1905000"/>
            <a:ext cx="6324600" cy="609600"/>
          </a:xfrm>
          <a:prstGeom prst="rect">
            <a:avLst/>
          </a:prstGeom>
          <a:solidFill>
            <a:srgbClr val="FFFF00">
              <a:alpha val="31000"/>
            </a:srgbClr>
          </a:solidFill>
          <a:scene3d>
            <a:camera prst="orthographicFront">
              <a:rot lat="0" lon="0" rev="1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00781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TYLE" val="AcnStamp"/>
  <p:tag name="DATE" val="15/11/07 17.28.08"/>
</p:tagLst>
</file>

<file path=ppt/tags/tag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pelAtfgRkWqSMFutuB5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pelAtfgRkWqSMFutuB5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pelAtfgRkWqSMFutuB5jw"/>
</p:tagLst>
</file>

<file path=ppt/tags/tag2.xml><?xml version="1.0" encoding="utf-8"?>
<p:tagLst xmlns:a="http://schemas.openxmlformats.org/drawingml/2006/main" xmlns:r="http://schemas.openxmlformats.org/officeDocument/2006/relationships" xmlns:p="http://schemas.openxmlformats.org/presentationml/2006/main">
  <p:tag name="STYLE" val="AcnStpConnector"/>
  <p:tag name="DATE" val="15/11/07 17.28.08"/>
</p:tagLst>
</file>

<file path=ppt/tags/tag3.xml><?xml version="1.0" encoding="utf-8"?>
<p:tagLst xmlns:a="http://schemas.openxmlformats.org/drawingml/2006/main" xmlns:r="http://schemas.openxmlformats.org/officeDocument/2006/relationships" xmlns:p="http://schemas.openxmlformats.org/presentationml/2006/main">
  <p:tag name="STYLE" val="AcnStpConnector"/>
  <p:tag name="DATE" val="15/11/07 17.28.0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59W0y2Wg02JzLUf7cPB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X7ZoFuKXUW1c7kSMF3s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7ZoFuKXUW1c7kSMF3sOA"/>
</p:tagLst>
</file>

<file path=ppt/tags/tag7.xml><?xml version="1.0" encoding="utf-8"?>
<p:tagLst xmlns:a="http://schemas.openxmlformats.org/drawingml/2006/main" xmlns:r="http://schemas.openxmlformats.org/officeDocument/2006/relationships" xmlns:p="http://schemas.openxmlformats.org/presentationml/2006/main">
  <p:tag name="NAME" val="SingleBoatShape"/>
</p:tagLst>
</file>

<file path=ppt/tags/tag8.xml><?xml version="1.0" encoding="utf-8"?>
<p:tagLst xmlns:a="http://schemas.openxmlformats.org/drawingml/2006/main" xmlns:r="http://schemas.openxmlformats.org/officeDocument/2006/relationships" xmlns:p="http://schemas.openxmlformats.org/presentationml/2006/main">
  <p:tag name="NAME" val="SingleBoatShape"/>
</p:tagLst>
</file>

<file path=ppt/tags/tag9.xml><?xml version="1.0" encoding="utf-8"?>
<p:tagLst xmlns:a="http://schemas.openxmlformats.org/drawingml/2006/main" xmlns:r="http://schemas.openxmlformats.org/officeDocument/2006/relationships" xmlns:p="http://schemas.openxmlformats.org/presentationml/2006/main">
  <p:tag name="NAME" val="SingleBoatShape"/>
</p:tagLst>
</file>

<file path=ppt/theme/theme1.xml><?xml version="1.0" encoding="utf-8"?>
<a:theme xmlns:a="http://schemas.openxmlformats.org/drawingml/2006/main" name="2_Struttura predefinita">
  <a:themeElements>
    <a:clrScheme name="2_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Struttura predefinit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Universal Template_IT">
  <a:themeElements>
    <a:clrScheme name="3_Universal Template_IT 3">
      <a:dk1>
        <a:srgbClr val="000000"/>
      </a:dk1>
      <a:lt1>
        <a:srgbClr val="FFFFFF"/>
      </a:lt1>
      <a:dk2>
        <a:srgbClr val="000000"/>
      </a:dk2>
      <a:lt2>
        <a:srgbClr val="FFFFFF"/>
      </a:lt2>
      <a:accent1>
        <a:srgbClr val="FFCC00"/>
      </a:accent1>
      <a:accent2>
        <a:srgbClr val="333399"/>
      </a:accent2>
      <a:accent3>
        <a:srgbClr val="FFFFFF"/>
      </a:accent3>
      <a:accent4>
        <a:srgbClr val="000000"/>
      </a:accent4>
      <a:accent5>
        <a:srgbClr val="FFE2AA"/>
      </a:accent5>
      <a:accent6>
        <a:srgbClr val="2D2D8A"/>
      </a:accent6>
      <a:hlink>
        <a:srgbClr val="909090"/>
      </a:hlink>
      <a:folHlink>
        <a:srgbClr val="CC0000"/>
      </a:folHlink>
    </a:clrScheme>
    <a:fontScheme name="3_Universal Template_I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Universal Template_IT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3_Universal Template_IT 2">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3_Universal Template_IT 3">
        <a:dk1>
          <a:srgbClr val="000000"/>
        </a:dk1>
        <a:lt1>
          <a:srgbClr val="FFFFFF"/>
        </a:lt1>
        <a:dk2>
          <a:srgbClr val="000000"/>
        </a:dk2>
        <a:lt2>
          <a:srgbClr val="FFFFFF"/>
        </a:lt2>
        <a:accent1>
          <a:srgbClr val="FFCC00"/>
        </a:accent1>
        <a:accent2>
          <a:srgbClr val="333399"/>
        </a:accent2>
        <a:accent3>
          <a:srgbClr val="FFFFFF"/>
        </a:accent3>
        <a:accent4>
          <a:srgbClr val="000000"/>
        </a:accent4>
        <a:accent5>
          <a:srgbClr val="FFE2AA"/>
        </a:accent5>
        <a:accent6>
          <a:srgbClr val="2D2D8A"/>
        </a:accent6>
        <a:hlink>
          <a:srgbClr val="909090"/>
        </a:hlink>
        <a:folHlink>
          <a:srgbClr val="CC0000"/>
        </a:folHlink>
      </a:clrScheme>
      <a:clrMap bg1="lt1" tx1="dk1" bg2="lt2" tx2="dk2" accent1="accent1" accent2="accent2" accent3="accent3" accent4="accent4" accent5="accent5" accent6="accent6" hlink="hlink" folHlink="folHlink"/>
    </a:extraClrScheme>
    <a:extraClrScheme>
      <a:clrScheme name="3_Universal Template_IT 4">
        <a:dk1>
          <a:srgbClr val="000000"/>
        </a:dk1>
        <a:lt1>
          <a:srgbClr val="FFFFFF"/>
        </a:lt1>
        <a:dk2>
          <a:srgbClr val="000000"/>
        </a:dk2>
        <a:lt2>
          <a:srgbClr val="FFFFFF"/>
        </a:lt2>
        <a:accent1>
          <a:srgbClr val="333399"/>
        </a:accent1>
        <a:accent2>
          <a:srgbClr val="FFCC00"/>
        </a:accent2>
        <a:accent3>
          <a:srgbClr val="FFFFFF"/>
        </a:accent3>
        <a:accent4>
          <a:srgbClr val="000000"/>
        </a:accent4>
        <a:accent5>
          <a:srgbClr val="ADADCA"/>
        </a:accent5>
        <a:accent6>
          <a:srgbClr val="E7B900"/>
        </a:accent6>
        <a:hlink>
          <a:srgbClr val="909090"/>
        </a:hlink>
        <a:folHlink>
          <a:srgbClr val="CC0000"/>
        </a:folHlink>
      </a:clrScheme>
      <a:clrMap bg1="lt1" tx1="dk1" bg2="lt2" tx2="dk2" accent1="accent1" accent2="accent2" accent3="accent3" accent4="accent4" accent5="accent5" accent6="accent6" hlink="hlink" folHlink="folHlink"/>
    </a:extraClrScheme>
    <a:extraClrScheme>
      <a:clrScheme name="3_Universal Template_IT 5">
        <a:dk1>
          <a:srgbClr val="000000"/>
        </a:dk1>
        <a:lt1>
          <a:srgbClr val="FFFFFF"/>
        </a:lt1>
        <a:dk2>
          <a:srgbClr val="000000"/>
        </a:dk2>
        <a:lt2>
          <a:srgbClr val="FFFFFF"/>
        </a:lt2>
        <a:accent1>
          <a:srgbClr val="808080"/>
        </a:accent1>
        <a:accent2>
          <a:srgbClr val="333399"/>
        </a:accent2>
        <a:accent3>
          <a:srgbClr val="FFFFFF"/>
        </a:accent3>
        <a:accent4>
          <a:srgbClr val="000000"/>
        </a:accent4>
        <a:accent5>
          <a:srgbClr val="C0C0C0"/>
        </a:accent5>
        <a:accent6>
          <a:srgbClr val="2D2D8A"/>
        </a:accent6>
        <a:hlink>
          <a:srgbClr val="FFCC00"/>
        </a:hlink>
        <a:folHlink>
          <a:srgbClr val="CC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resentazione vuota">
  <a:themeElements>
    <a:clrScheme name="Custom 3">
      <a:dk1>
        <a:srgbClr val="000000"/>
      </a:dk1>
      <a:lt1>
        <a:srgbClr val="FFFFFF"/>
      </a:lt1>
      <a:dk2>
        <a:srgbClr val="000000"/>
      </a:dk2>
      <a:lt2>
        <a:srgbClr val="808080"/>
      </a:lt2>
      <a:accent1>
        <a:srgbClr val="00B050"/>
      </a:accent1>
      <a:accent2>
        <a:srgbClr val="007272"/>
      </a:accent2>
      <a:accent3>
        <a:srgbClr val="FFFFFF"/>
      </a:accent3>
      <a:accent4>
        <a:srgbClr val="FFC000"/>
      </a:accent4>
      <a:accent5>
        <a:srgbClr val="336600"/>
      </a:accent5>
      <a:accent6>
        <a:srgbClr val="FF6600"/>
      </a:accent6>
      <a:hlink>
        <a:srgbClr val="00B050"/>
      </a:hlink>
      <a:folHlink>
        <a:srgbClr val="99CC00"/>
      </a:folHlink>
    </a:clrScheme>
    <a:fontScheme name="Presentazione vuota">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1600" b="0" i="0" u="none" strike="noStrike" cap="none" normalizeH="0" baseline="0" smtClean="0">
            <a:ln>
              <a:noFill/>
            </a:ln>
            <a:solidFill>
              <a:schemeClr val="tx1"/>
            </a:solidFill>
            <a:effectLst/>
            <a:latin typeface="Arial" charset="0"/>
            <a:ea typeface="ＭＳ Ｐゴシック" pitchFamily="12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1600" b="0" i="0" u="none" strike="noStrike" cap="none" normalizeH="0" baseline="0" smtClean="0">
            <a:ln>
              <a:noFill/>
            </a:ln>
            <a:solidFill>
              <a:schemeClr val="tx1"/>
            </a:solidFill>
            <a:effectLst/>
            <a:latin typeface="Arial" charset="0"/>
            <a:ea typeface="ＭＳ Ｐゴシック" pitchFamily="124" charset="-128"/>
          </a:defRPr>
        </a:defPPr>
      </a:lstStyle>
    </a:lnDef>
  </a:objectDefaults>
  <a:extraClrSchemeLst>
    <a:extraClrScheme>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zione vuo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zione vuo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zione vuo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zione vuo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zione vuo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zione vuota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zione vuo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zione vuo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zione vuo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zione vuo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zione vuo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Presentazione vuota">
  <a:themeElements>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zione vuota">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1600" b="0" i="0" u="none" strike="noStrike" cap="none" normalizeH="0" baseline="0" smtClean="0">
            <a:ln>
              <a:noFill/>
            </a:ln>
            <a:solidFill>
              <a:schemeClr val="tx1"/>
            </a:solidFill>
            <a:effectLst/>
            <a:latin typeface="Arial" charset="0"/>
            <a:ea typeface="ＭＳ Ｐゴシック" pitchFamily="12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it-IT" sz="1600" b="0" i="0" u="none" strike="noStrike" cap="none" normalizeH="0" baseline="0" smtClean="0">
            <a:ln>
              <a:noFill/>
            </a:ln>
            <a:solidFill>
              <a:schemeClr val="tx1"/>
            </a:solidFill>
            <a:effectLst/>
            <a:latin typeface="Arial" charset="0"/>
            <a:ea typeface="ＭＳ Ｐゴシック" pitchFamily="124" charset="-128"/>
          </a:defRPr>
        </a:defPPr>
      </a:lstStyle>
    </a:lnDef>
  </a:objectDefaults>
  <a:extraClrSchemeLst>
    <a:extraClrScheme>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esentazione vuo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esentazione vuo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esentazione vuo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esentazione vuo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esentazione vuo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esentazione vuota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esentazione vuo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esentazione vuo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esentazione vuo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esentazione vuo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esentazione vuo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zione vuota">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zione vuota">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zione vuota">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zione vuota">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zione vuota">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Presentazione vuo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esentazione vuota">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798</TotalTime>
  <Words>1332</Words>
  <Application>Microsoft Office PowerPoint</Application>
  <PresentationFormat>Presentazione su schermo (4:3)</PresentationFormat>
  <Paragraphs>297</Paragraphs>
  <Slides>32</Slides>
  <Notes>3</Notes>
  <HiddenSlides>0</HiddenSlides>
  <MMClips>0</MMClips>
  <ScaleCrop>false</ScaleCrop>
  <HeadingPairs>
    <vt:vector size="4" baseType="variant">
      <vt:variant>
        <vt:lpstr>Tema</vt:lpstr>
      </vt:variant>
      <vt:variant>
        <vt:i4>4</vt:i4>
      </vt:variant>
      <vt:variant>
        <vt:lpstr>Titoli diapositive</vt:lpstr>
      </vt:variant>
      <vt:variant>
        <vt:i4>32</vt:i4>
      </vt:variant>
    </vt:vector>
  </HeadingPairs>
  <TitlesOfParts>
    <vt:vector size="36" baseType="lpstr">
      <vt:lpstr>2_Struttura predefinita</vt:lpstr>
      <vt:lpstr>3_Universal Template_IT</vt:lpstr>
      <vt:lpstr>Presentazione vuota</vt:lpstr>
      <vt:lpstr>1_Presentazione vuota</vt:lpstr>
      <vt:lpstr>Presentazione standard di PowerPoint</vt:lpstr>
      <vt:lpstr>Presentazione standard di PowerPoint</vt:lpstr>
      <vt:lpstr>Intesa Sanpaolo International network</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ntesa Sanpaolo Romania – brief history</vt:lpstr>
      <vt:lpstr>Intesa Sanpaolo Romania coverage </vt:lpstr>
      <vt:lpstr>Presentazione standard di PowerPoint</vt:lpstr>
      <vt:lpstr>Presentazione standard di PowerPoint</vt:lpstr>
      <vt:lpstr>Uno sguardo sul sistema bancario Rumen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ONTATTI  INTESA SANPAOLOBANK ROMANIA</vt:lpstr>
      <vt:lpstr>Presentazione standard di PowerPoint</vt:lpstr>
    </vt:vector>
  </TitlesOfParts>
  <Company>&lt;Banca Intesa&g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U023528</dc:creator>
  <cp:lastModifiedBy>uexp</cp:lastModifiedBy>
  <cp:revision>604</cp:revision>
  <cp:lastPrinted>2011-11-23T08:21:55Z</cp:lastPrinted>
  <dcterms:created xsi:type="dcterms:W3CDTF">2011-02-14T19:14:35Z</dcterms:created>
  <dcterms:modified xsi:type="dcterms:W3CDTF">2012-11-13T15:50:43Z</dcterms:modified>
</cp:coreProperties>
</file>